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theme/theme3.xml" ContentType="application/vnd.openxmlformats-officedocument.theme+xml"/>
  <Override PartName="/ppt/tags/tag7.xml" ContentType="application/vnd.openxmlformats-officedocument.presentationml.tags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theme/theme4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heme/theme5.xml" ContentType="application/vnd.openxmlformats-officedocument.theme+xml"/>
  <Override PartName="/ppt/theme/theme6.xml" ContentType="application/vnd.openxmlformats-officedocument.them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5.xml" ContentType="application/vnd.openxmlformats-officedocument.presentationml.tags+xml"/>
  <Override PartName="/ppt/notesSlides/notesSlide3.xml" ContentType="application/vnd.openxmlformats-officedocument.presentationml.notesSlide+xml"/>
  <Override PartName="/ppt/tags/tag16.xml" ContentType="application/vnd.openxmlformats-officedocument.presentationml.tags+xml"/>
  <Override PartName="/ppt/notesSlides/notesSlide4.xml" ContentType="application/vnd.openxmlformats-officedocument.presentationml.notesSlide+xml"/>
  <Override PartName="/ppt/tags/tag17.xml" ContentType="application/vnd.openxmlformats-officedocument.presentationml.tags+xml"/>
  <Override PartName="/ppt/notesSlides/notesSlide5.xml" ContentType="application/vnd.openxmlformats-officedocument.presentationml.notesSlide+xml"/>
  <Override PartName="/ppt/tags/tag18.xml" ContentType="application/vnd.openxmlformats-officedocument.presentationml.tags+xml"/>
  <Override PartName="/ppt/notesSlides/notesSlide6.xml" ContentType="application/vnd.openxmlformats-officedocument.presentationml.notesSlide+xml"/>
  <Override PartName="/ppt/tags/tag19.xml" ContentType="application/vnd.openxmlformats-officedocument.presentationml.tags+xml"/>
  <Override PartName="/ppt/notesSlides/notesSlide7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20.xml" ContentType="application/vnd.openxmlformats-officedocument.presentationml.tags+xml"/>
  <Override PartName="/ppt/notesSlides/notesSlide8.xml" ContentType="application/vnd.openxmlformats-officedocument.presentationml.notesSlide+xml"/>
  <Override PartName="/ppt/tags/tag21.xml" ContentType="application/vnd.openxmlformats-officedocument.presentationml.tags+xml"/>
  <Override PartName="/ppt/notesSlides/notesSlide9.xml" ContentType="application/vnd.openxmlformats-officedocument.presentationml.notesSlide+xml"/>
  <Override PartName="/ppt/tags/tag22.xml" ContentType="application/vnd.openxmlformats-officedocument.presentationml.tags+xml"/>
  <Override PartName="/ppt/notesSlides/notesSlide10.xml" ContentType="application/vnd.openxmlformats-officedocument.presentationml.notesSlide+xml"/>
  <Override PartName="/ppt/tags/tag23.xml" ContentType="application/vnd.openxmlformats-officedocument.presentationml.tags+xml"/>
  <Override PartName="/ppt/notesSlides/notesSlide11.xml" ContentType="application/vnd.openxmlformats-officedocument.presentationml.notesSlide+xml"/>
  <Override PartName="/ppt/tags/tag24.xml" ContentType="application/vnd.openxmlformats-officedocument.presentationml.tags+xml"/>
  <Override PartName="/ppt/notesSlides/notesSlide12.xml" ContentType="application/vnd.openxmlformats-officedocument.presentationml.notesSlide+xml"/>
  <Override PartName="/ppt/tags/tag25.xml" ContentType="application/vnd.openxmlformats-officedocument.presentationml.tags+xml"/>
  <Override PartName="/ppt/notesSlides/notesSlide13.xml" ContentType="application/vnd.openxmlformats-officedocument.presentationml.notesSlide+xml"/>
  <Override PartName="/ppt/tags/tag26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metadata" ContentType="application/binary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 autoCompressPictures="0">
  <p:sldMasterIdLst>
    <p:sldMasterId id="2147483669" r:id="rId4"/>
    <p:sldMasterId id="2147483978" r:id="rId5"/>
    <p:sldMasterId id="2147484009" r:id="rId6"/>
    <p:sldMasterId id="2147484038" r:id="rId7"/>
  </p:sldMasterIdLst>
  <p:notesMasterIdLst>
    <p:notesMasterId r:id="rId22"/>
  </p:notesMasterIdLst>
  <p:handoutMasterIdLst>
    <p:handoutMasterId r:id="rId23"/>
  </p:handoutMasterIdLst>
  <p:sldIdLst>
    <p:sldId id="366" r:id="rId8"/>
    <p:sldId id="2145707548" r:id="rId9"/>
    <p:sldId id="2147476076" r:id="rId10"/>
    <p:sldId id="2147476088" r:id="rId11"/>
    <p:sldId id="2147476066" r:id="rId12"/>
    <p:sldId id="2147476068" r:id="rId13"/>
    <p:sldId id="2147476102" r:id="rId14"/>
    <p:sldId id="2147476098" r:id="rId15"/>
    <p:sldId id="2147476070" r:id="rId16"/>
    <p:sldId id="2147476099" r:id="rId17"/>
    <p:sldId id="2147476097" r:id="rId18"/>
    <p:sldId id="2147476100" r:id="rId19"/>
    <p:sldId id="2147476101" r:id="rId20"/>
    <p:sldId id="2147476056" r:id="rId21"/>
  </p:sldIdLst>
  <p:sldSz cx="12192000" cy="6858000"/>
  <p:notesSz cx="6858000" cy="9144000"/>
  <p:custDataLst>
    <p:tags r:id="rId24"/>
  </p:custData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521415D9-36F7-43E2-AB2F-B90AF26B5E84}">
      <p14:sectionLst xmlns:p14="http://schemas.microsoft.com/office/powerpoint/2010/main">
        <p14:section name="Abertura" id="{964CF7AE-A22C-4F6B-A4AD-A67C7FB54937}">
          <p14:sldIdLst>
            <p14:sldId id="366"/>
          </p14:sldIdLst>
        </p14:section>
        <p14:section name="Cultura 360" id="{F1072E4E-DDEB-47B1-9025-B8206BC6D954}">
          <p14:sldIdLst>
            <p14:sldId id="2145707548"/>
          </p14:sldIdLst>
        </p14:section>
        <p14:section name="Agenda" id="{D4C17DFB-5D47-4E6A-961C-F02E9586A911}">
          <p14:sldIdLst>
            <p14:sldId id="2147476076"/>
            <p14:sldId id="2147476088"/>
            <p14:sldId id="2147476066"/>
            <p14:sldId id="2147476068"/>
            <p14:sldId id="2147476102"/>
            <p14:sldId id="2147476098"/>
            <p14:sldId id="2147476070"/>
            <p14:sldId id="2147476099"/>
            <p14:sldId id="2147476097"/>
            <p14:sldId id="2147476100"/>
            <p14:sldId id="2147476101"/>
            <p14:sldId id="2147476056"/>
          </p14:sldIdLst>
        </p14:section>
        <p14:section name="Seção sem Título" id="{FFA1A95A-9238-4AF2-9FFD-2B5A755D322E}">
          <p14:sldIdLst/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  <p:ext uri="GoogleSlidesCustomDataVersion2">
      <go:slidesCustomData xmlns="" xmlns:mc="http://schemas.openxmlformats.org/markup-compatibility/2006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xmlns:go="http://customooxmlschemas.google.com/" r:id="rId123" roundtripDataSignature="AMtx7mjboUX23JKyGu8cG+cCGBhk/OPlig==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9D2B5C5F-3A43-53EF-37EC-94AFC2354791}" name="Paula Silva Ramos" initials="PR" userId="S::paula.ramos@auraminerals.com::e818b6e3-45cd-45a0-8c70-bdea56885cd0" providerId="AD"/>
  <p188:author id="{CB4E93E3-1001-6F31-F746-3B281B48CA0D}" name="Vinicius Campos Da Silva" initials="VC" userId="S::vinicius.silva@auraminerals.com::7b851eff-a574-40c8-9b4a-ba2b88e8ae0f" providerId="AD"/>
  <p188:author id="{DC12E2FE-A28D-9C1A-A1B3-F21A11CF541A}" name="Saymon Ricardo de OIiveira Sousa" initials="SS" userId="S::saymon.sousa@auraminerals.com::4bccc1a5-7418-4eb1-b967-6ce5f0b0fd7b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4614D"/>
    <a:srgbClr val="2D3D70"/>
    <a:srgbClr val="F3F5FA"/>
    <a:srgbClr val="CCD1DF"/>
    <a:srgbClr val="F3D8D8"/>
    <a:srgbClr val="E6E9EF"/>
    <a:srgbClr val="B0B7C1"/>
    <a:srgbClr val="11534F"/>
    <a:srgbClr val="7F7F7F"/>
    <a:srgbClr val="4C6C9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AB3FBDF-3BFA-4535-B8D5-FEDA98124A84}" v="24" dt="2025-10-01T16:45:42.923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Estilo Claro 2 - Ênfase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>
        <p:scale>
          <a:sx n="66" d="100"/>
          <a:sy n="66" d="100"/>
        </p:scale>
        <p:origin x="2196" y="87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3" Type="http://schemas.openxmlformats.org/officeDocument/2006/relationships/customXml" Target="../customXml/item3.xml"/><Relationship Id="rId21" Type="http://schemas.openxmlformats.org/officeDocument/2006/relationships/slide" Target="slides/slide14.xml"/><Relationship Id="rId125" Type="http://schemas.openxmlformats.org/officeDocument/2006/relationships/viewProps" Target="viewProps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124" Type="http://schemas.openxmlformats.org/officeDocument/2006/relationships/presProps" Target="presProps.xml"/><Relationship Id="rId129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0" Type="http://schemas.openxmlformats.org/officeDocument/2006/relationships/slide" Target="slides/slide13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4.xml"/><Relationship Id="rId24" Type="http://schemas.openxmlformats.org/officeDocument/2006/relationships/tags" Target="tags/tag1.xml"/><Relationship Id="rId123" Type="http://customschemas.google.com/relationships/presentationmetadata" Target="metadata"/><Relationship Id="rId128" Type="http://schemas.microsoft.com/office/2016/11/relationships/changesInfo" Target="changesInfos/changesInfo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8.xml"/><Relationship Id="rId23" Type="http://schemas.openxmlformats.org/officeDocument/2006/relationships/handoutMaster" Target="handoutMasters/handoutMaster1.xml"/><Relationship Id="rId127" Type="http://schemas.openxmlformats.org/officeDocument/2006/relationships/tableStyles" Target="tableStyles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130" Type="http://schemas.microsoft.com/office/2018/10/relationships/authors" Target="author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notesMaster" Target="notesMasters/notesMaster1.xml"/><Relationship Id="rId126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Luiza Murta Gatti" userId="d45e09de-ce01-4207-86a4-99141bb0f581" providerId="ADAL" clId="{92FF4DB3-8997-43D6-B302-962CFC8CC6BA}"/>
    <pc:docChg chg="custSel modSld">
      <pc:chgData name="Luiza Murta Gatti" userId="d45e09de-ce01-4207-86a4-99141bb0f581" providerId="ADAL" clId="{92FF4DB3-8997-43D6-B302-962CFC8CC6BA}" dt="2025-05-27T11:10:17.754" v="1769" actId="729"/>
      <pc:docMkLst>
        <pc:docMk/>
      </pc:docMkLst>
      <pc:sldChg chg="addSp modSp">
        <pc:chgData name="Luiza Murta Gatti" userId="d45e09de-ce01-4207-86a4-99141bb0f581" providerId="ADAL" clId="{92FF4DB3-8997-43D6-B302-962CFC8CC6BA}" dt="2025-05-26T17:31:47.424" v="14"/>
        <pc:sldMkLst>
          <pc:docMk/>
          <pc:sldMk cId="2346081389" sldId="2147476061"/>
        </pc:sldMkLst>
      </pc:sldChg>
      <pc:sldChg chg="addSp modSp">
        <pc:chgData name="Luiza Murta Gatti" userId="d45e09de-ce01-4207-86a4-99141bb0f581" providerId="ADAL" clId="{92FF4DB3-8997-43D6-B302-962CFC8CC6BA}" dt="2025-05-26T17:31:46.397" v="13"/>
        <pc:sldMkLst>
          <pc:docMk/>
          <pc:sldMk cId="1507077525" sldId="2147476062"/>
        </pc:sldMkLst>
      </pc:sldChg>
      <pc:sldChg chg="addSp modSp">
        <pc:chgData name="Luiza Murta Gatti" userId="d45e09de-ce01-4207-86a4-99141bb0f581" providerId="ADAL" clId="{92FF4DB3-8997-43D6-B302-962CFC8CC6BA}" dt="2025-05-26T17:31:49.981" v="15"/>
        <pc:sldMkLst>
          <pc:docMk/>
          <pc:sldMk cId="1786416786" sldId="2147476064"/>
        </pc:sldMkLst>
      </pc:sldChg>
      <pc:sldChg chg="addSp delSp modSp mod modShow">
        <pc:chgData name="Luiza Murta Gatti" userId="d45e09de-ce01-4207-86a4-99141bb0f581" providerId="ADAL" clId="{92FF4DB3-8997-43D6-B302-962CFC8CC6BA}" dt="2025-05-27T11:10:17.754" v="1769" actId="729"/>
        <pc:sldMkLst>
          <pc:docMk/>
          <pc:sldMk cId="1751631981" sldId="2147476067"/>
        </pc:sldMkLst>
      </pc:sldChg>
      <pc:sldChg chg="addSp modSp">
        <pc:chgData name="Luiza Murta Gatti" userId="d45e09de-ce01-4207-86a4-99141bb0f581" providerId="ADAL" clId="{92FF4DB3-8997-43D6-B302-962CFC8CC6BA}" dt="2025-05-26T17:31:42.275" v="12"/>
        <pc:sldMkLst>
          <pc:docMk/>
          <pc:sldMk cId="536017777" sldId="2147476068"/>
        </pc:sldMkLst>
      </pc:sldChg>
      <pc:sldChg chg="addSp modSp">
        <pc:chgData name="Luiza Murta Gatti" userId="d45e09de-ce01-4207-86a4-99141bb0f581" providerId="ADAL" clId="{92FF4DB3-8997-43D6-B302-962CFC8CC6BA}" dt="2025-05-26T17:31:40.456" v="11"/>
        <pc:sldMkLst>
          <pc:docMk/>
          <pc:sldMk cId="1551639993" sldId="2147476070"/>
        </pc:sldMkLst>
      </pc:sldChg>
      <pc:sldChg chg="addSp modSp">
        <pc:chgData name="Luiza Murta Gatti" userId="d45e09de-ce01-4207-86a4-99141bb0f581" providerId="ADAL" clId="{92FF4DB3-8997-43D6-B302-962CFC8CC6BA}" dt="2025-05-26T17:31:38.483" v="10"/>
        <pc:sldMkLst>
          <pc:docMk/>
          <pc:sldMk cId="1784135998" sldId="2147476072"/>
        </pc:sldMkLst>
      </pc:sldChg>
      <pc:sldChg chg="addSp modSp mod">
        <pc:chgData name="Luiza Murta Gatti" userId="d45e09de-ce01-4207-86a4-99141bb0f581" providerId="ADAL" clId="{92FF4DB3-8997-43D6-B302-962CFC8CC6BA}" dt="2025-05-26T17:31:34.716" v="9" actId="20577"/>
        <pc:sldMkLst>
          <pc:docMk/>
          <pc:sldMk cId="3477093161" sldId="2147476074"/>
        </pc:sldMkLst>
      </pc:sldChg>
      <pc:sldChg chg="addSp modSp">
        <pc:chgData name="Luiza Murta Gatti" userId="d45e09de-ce01-4207-86a4-99141bb0f581" providerId="ADAL" clId="{92FF4DB3-8997-43D6-B302-962CFC8CC6BA}" dt="2025-05-26T17:31:52.068" v="16"/>
        <pc:sldMkLst>
          <pc:docMk/>
          <pc:sldMk cId="3275613916" sldId="2147476083"/>
        </pc:sldMkLst>
      </pc:sldChg>
    </pc:docChg>
  </pc:docChgLst>
  <pc:docChgLst>
    <pc:chgData name="Jackson Ferreira Da Silva" userId="9ea8c8b7-cc4b-4700-b864-019dadec6956" providerId="ADAL" clId="{32C54F82-2CE2-4AC0-931D-9561D7061C8A}"/>
    <pc:docChg chg="sldOrd">
      <pc:chgData name="Jackson Ferreira Da Silva" userId="9ea8c8b7-cc4b-4700-b864-019dadec6956" providerId="ADAL" clId="{32C54F82-2CE2-4AC0-931D-9561D7061C8A}" dt="2025-07-28T16:58:23.818" v="0" actId="20578"/>
      <pc:docMkLst>
        <pc:docMk/>
      </pc:docMkLst>
      <pc:sldChg chg="ord">
        <pc:chgData name="Jackson Ferreira Da Silva" userId="9ea8c8b7-cc4b-4700-b864-019dadec6956" providerId="ADAL" clId="{32C54F82-2CE2-4AC0-931D-9561D7061C8A}" dt="2025-07-28T16:58:23.818" v="0" actId="20578"/>
        <pc:sldMkLst>
          <pc:docMk/>
          <pc:sldMk cId="3182178181" sldId="2145707548"/>
        </pc:sldMkLst>
      </pc:sldChg>
    </pc:docChg>
  </pc:docChgLst>
  <pc:docChgLst>
    <pc:chgData name="Ilea Nascimento Paixao" userId="9ce6c8e6-41b1-48ee-a963-5f1712941bd6" providerId="ADAL" clId="{43A851D2-DCE9-4CF5-AEF8-C9039B60BA1D}"/>
    <pc:docChg chg="undo redo custSel addSld delSld modSld sldOrd modSection">
      <pc:chgData name="Ilea Nascimento Paixao" userId="9ce6c8e6-41b1-48ee-a963-5f1712941bd6" providerId="ADAL" clId="{43A851D2-DCE9-4CF5-AEF8-C9039B60BA1D}" dt="2025-10-01T16:45:57.103" v="490" actId="20577"/>
      <pc:docMkLst>
        <pc:docMk/>
      </pc:docMkLst>
      <pc:sldChg chg="addSp modSp mod">
        <pc:chgData name="Ilea Nascimento Paixao" userId="9ce6c8e6-41b1-48ee-a963-5f1712941bd6" providerId="ADAL" clId="{43A851D2-DCE9-4CF5-AEF8-C9039B60BA1D}" dt="2025-10-01T16:44:58.776" v="461" actId="20577"/>
        <pc:sldMkLst>
          <pc:docMk/>
          <pc:sldMk cId="1411299618" sldId="366"/>
        </pc:sldMkLst>
        <pc:spChg chg="add mod">
          <ac:chgData name="Ilea Nascimento Paixao" userId="9ce6c8e6-41b1-48ee-a963-5f1712941bd6" providerId="ADAL" clId="{43A851D2-DCE9-4CF5-AEF8-C9039B60BA1D}" dt="2025-10-01T16:44:58.776" v="461" actId="20577"/>
          <ac:spMkLst>
            <pc:docMk/>
            <pc:sldMk cId="1411299618" sldId="366"/>
            <ac:spMk id="2" creationId="{706C3F8F-D069-1EC3-6299-8FC64345A7FD}"/>
          </ac:spMkLst>
        </pc:spChg>
        <pc:spChg chg="mod">
          <ac:chgData name="Ilea Nascimento Paixao" userId="9ce6c8e6-41b1-48ee-a963-5f1712941bd6" providerId="ADAL" clId="{43A851D2-DCE9-4CF5-AEF8-C9039B60BA1D}" dt="2025-09-24T20:01:18.364" v="257" actId="20577"/>
          <ac:spMkLst>
            <pc:docMk/>
            <pc:sldMk cId="1411299618" sldId="366"/>
            <ac:spMk id="27" creationId="{C7987A9D-066D-C382-B54D-FCB50DCA7896}"/>
          </ac:spMkLst>
        </pc:spChg>
        <pc:spChg chg="mod">
          <ac:chgData name="Ilea Nascimento Paixao" userId="9ce6c8e6-41b1-48ee-a963-5f1712941bd6" providerId="ADAL" clId="{43A851D2-DCE9-4CF5-AEF8-C9039B60BA1D}" dt="2025-09-10T14:52:16.991" v="210" actId="207"/>
          <ac:spMkLst>
            <pc:docMk/>
            <pc:sldMk cId="1411299618" sldId="366"/>
            <ac:spMk id="46" creationId="{D98919FC-8AFD-7281-ED76-DD622BC18E03}"/>
          </ac:spMkLst>
        </pc:spChg>
      </pc:sldChg>
      <pc:sldChg chg="addSp modSp del mod modShow">
        <pc:chgData name="Ilea Nascimento Paixao" userId="9ce6c8e6-41b1-48ee-a963-5f1712941bd6" providerId="ADAL" clId="{43A851D2-DCE9-4CF5-AEF8-C9039B60BA1D}" dt="2025-10-01T16:44:21.812" v="442" actId="47"/>
        <pc:sldMkLst>
          <pc:docMk/>
          <pc:sldMk cId="37563515" sldId="2147476059"/>
        </pc:sldMkLst>
        <pc:spChg chg="add mod">
          <ac:chgData name="Ilea Nascimento Paixao" userId="9ce6c8e6-41b1-48ee-a963-5f1712941bd6" providerId="ADAL" clId="{43A851D2-DCE9-4CF5-AEF8-C9039B60BA1D}" dt="2025-09-24T19:57:37.577" v="253" actId="1076"/>
          <ac:spMkLst>
            <pc:docMk/>
            <pc:sldMk cId="37563515" sldId="2147476059"/>
            <ac:spMk id="2" creationId="{89EE1BFE-C603-C96B-C421-06D41D868A88}"/>
          </ac:spMkLst>
        </pc:spChg>
      </pc:sldChg>
      <pc:sldChg chg="modSp add mod">
        <pc:chgData name="Ilea Nascimento Paixao" userId="9ce6c8e6-41b1-48ee-a963-5f1712941bd6" providerId="ADAL" clId="{43A851D2-DCE9-4CF5-AEF8-C9039B60BA1D}" dt="2025-09-25T12:54:12.966" v="378" actId="404"/>
        <pc:sldMkLst>
          <pc:docMk/>
          <pc:sldMk cId="3935931302" sldId="2147476066"/>
        </pc:sldMkLst>
        <pc:graphicFrameChg chg="modGraphic">
          <ac:chgData name="Ilea Nascimento Paixao" userId="9ce6c8e6-41b1-48ee-a963-5f1712941bd6" providerId="ADAL" clId="{43A851D2-DCE9-4CF5-AEF8-C9039B60BA1D}" dt="2025-09-25T12:54:12.966" v="378" actId="404"/>
          <ac:graphicFrameMkLst>
            <pc:docMk/>
            <pc:sldMk cId="3935931302" sldId="2147476066"/>
            <ac:graphicFrameMk id="9" creationId="{6113143D-5212-E0C6-2CB0-F80A74050471}"/>
          </ac:graphicFrameMkLst>
        </pc:graphicFrameChg>
      </pc:sldChg>
      <pc:sldChg chg="addSp delSp modSp mod">
        <pc:chgData name="Ilea Nascimento Paixao" userId="9ce6c8e6-41b1-48ee-a963-5f1712941bd6" providerId="ADAL" clId="{43A851D2-DCE9-4CF5-AEF8-C9039B60BA1D}" dt="2025-10-01T16:43:43.345" v="431"/>
        <pc:sldMkLst>
          <pc:docMk/>
          <pc:sldMk cId="4186453584" sldId="2147476067"/>
        </pc:sldMkLst>
        <pc:spChg chg="add del mod">
          <ac:chgData name="Ilea Nascimento Paixao" userId="9ce6c8e6-41b1-48ee-a963-5f1712941bd6" providerId="ADAL" clId="{43A851D2-DCE9-4CF5-AEF8-C9039B60BA1D}" dt="2025-10-01T16:41:56.899" v="385" actId="478"/>
          <ac:spMkLst>
            <pc:docMk/>
            <pc:sldMk cId="4186453584" sldId="2147476067"/>
            <ac:spMk id="3" creationId="{79138346-C7C7-519D-4240-B83EF8DC484A}"/>
          </ac:spMkLst>
        </pc:spChg>
        <pc:spChg chg="add del mod">
          <ac:chgData name="Ilea Nascimento Paixao" userId="9ce6c8e6-41b1-48ee-a963-5f1712941bd6" providerId="ADAL" clId="{43A851D2-DCE9-4CF5-AEF8-C9039B60BA1D}" dt="2025-10-01T16:41:56.899" v="385" actId="478"/>
          <ac:spMkLst>
            <pc:docMk/>
            <pc:sldMk cId="4186453584" sldId="2147476067"/>
            <ac:spMk id="4" creationId="{B3B29976-B4BC-AFC5-2E26-EC1C66852E9A}"/>
          </ac:spMkLst>
        </pc:spChg>
        <pc:spChg chg="del">
          <ac:chgData name="Ilea Nascimento Paixao" userId="9ce6c8e6-41b1-48ee-a963-5f1712941bd6" providerId="ADAL" clId="{43A851D2-DCE9-4CF5-AEF8-C9039B60BA1D}" dt="2025-10-01T16:41:56.899" v="385" actId="478"/>
          <ac:spMkLst>
            <pc:docMk/>
            <pc:sldMk cId="4186453584" sldId="2147476067"/>
            <ac:spMk id="5" creationId="{68EFA442-CBAE-ECEB-37A1-A6B15EE322A8}"/>
          </ac:spMkLst>
        </pc:spChg>
        <pc:spChg chg="add mod">
          <ac:chgData name="Ilea Nascimento Paixao" userId="9ce6c8e6-41b1-48ee-a963-5f1712941bd6" providerId="ADAL" clId="{43A851D2-DCE9-4CF5-AEF8-C9039B60BA1D}" dt="2025-10-01T16:43:43.345" v="431"/>
          <ac:spMkLst>
            <pc:docMk/>
            <pc:sldMk cId="4186453584" sldId="2147476067"/>
            <ac:spMk id="7" creationId="{90091FFC-0644-F972-3B77-C39BC3A4785A}"/>
          </ac:spMkLst>
        </pc:spChg>
        <pc:spChg chg="add mod">
          <ac:chgData name="Ilea Nascimento Paixao" userId="9ce6c8e6-41b1-48ee-a963-5f1712941bd6" providerId="ADAL" clId="{43A851D2-DCE9-4CF5-AEF8-C9039B60BA1D}" dt="2025-10-01T16:43:43.345" v="431"/>
          <ac:spMkLst>
            <pc:docMk/>
            <pc:sldMk cId="4186453584" sldId="2147476067"/>
            <ac:spMk id="8" creationId="{318458C4-20B9-C038-6A95-E52DC455CB98}"/>
          </ac:spMkLst>
        </pc:spChg>
        <pc:spChg chg="mod">
          <ac:chgData name="Ilea Nascimento Paixao" userId="9ce6c8e6-41b1-48ee-a963-5f1712941bd6" providerId="ADAL" clId="{43A851D2-DCE9-4CF5-AEF8-C9039B60BA1D}" dt="2025-10-01T16:43:37.642" v="429" actId="1076"/>
          <ac:spMkLst>
            <pc:docMk/>
            <pc:sldMk cId="4186453584" sldId="2147476067"/>
            <ac:spMk id="9" creationId="{FA6071E0-28E7-E17D-8DEE-EAF23D2BAF76}"/>
          </ac:spMkLst>
        </pc:spChg>
        <pc:spChg chg="add mod">
          <ac:chgData name="Ilea Nascimento Paixao" userId="9ce6c8e6-41b1-48ee-a963-5f1712941bd6" providerId="ADAL" clId="{43A851D2-DCE9-4CF5-AEF8-C9039B60BA1D}" dt="2025-10-01T16:43:43.345" v="431"/>
          <ac:spMkLst>
            <pc:docMk/>
            <pc:sldMk cId="4186453584" sldId="2147476067"/>
            <ac:spMk id="11" creationId="{E233C16D-5BE1-D535-CF65-EB3B42B78E17}"/>
          </ac:spMkLst>
        </pc:spChg>
        <pc:spChg chg="del">
          <ac:chgData name="Ilea Nascimento Paixao" userId="9ce6c8e6-41b1-48ee-a963-5f1712941bd6" providerId="ADAL" clId="{43A851D2-DCE9-4CF5-AEF8-C9039B60BA1D}" dt="2025-10-01T16:41:56.899" v="385" actId="478"/>
          <ac:spMkLst>
            <pc:docMk/>
            <pc:sldMk cId="4186453584" sldId="2147476067"/>
            <ac:spMk id="24" creationId="{E6418D87-CA06-478D-DCD9-601FEA39C92E}"/>
          </ac:spMkLst>
        </pc:spChg>
        <pc:spChg chg="del">
          <ac:chgData name="Ilea Nascimento Paixao" userId="9ce6c8e6-41b1-48ee-a963-5f1712941bd6" providerId="ADAL" clId="{43A851D2-DCE9-4CF5-AEF8-C9039B60BA1D}" dt="2025-10-01T16:41:56.899" v="385" actId="478"/>
          <ac:spMkLst>
            <pc:docMk/>
            <pc:sldMk cId="4186453584" sldId="2147476067"/>
            <ac:spMk id="1095" creationId="{7501021F-562D-D5DC-2DB2-209C2EB82C82}"/>
          </ac:spMkLst>
        </pc:spChg>
        <pc:spChg chg="del">
          <ac:chgData name="Ilea Nascimento Paixao" userId="9ce6c8e6-41b1-48ee-a963-5f1712941bd6" providerId="ADAL" clId="{43A851D2-DCE9-4CF5-AEF8-C9039B60BA1D}" dt="2025-10-01T16:41:56.899" v="385" actId="478"/>
          <ac:spMkLst>
            <pc:docMk/>
            <pc:sldMk cId="4186453584" sldId="2147476067"/>
            <ac:spMk id="1107" creationId="{8FAB3B63-BB16-2EA9-453A-BC882469D3FC}"/>
          </ac:spMkLst>
        </pc:spChg>
        <pc:spChg chg="del">
          <ac:chgData name="Ilea Nascimento Paixao" userId="9ce6c8e6-41b1-48ee-a963-5f1712941bd6" providerId="ADAL" clId="{43A851D2-DCE9-4CF5-AEF8-C9039B60BA1D}" dt="2025-10-01T16:41:56.899" v="385" actId="478"/>
          <ac:spMkLst>
            <pc:docMk/>
            <pc:sldMk cId="4186453584" sldId="2147476067"/>
            <ac:spMk id="1111" creationId="{7A599DD3-A99D-3FE2-8F32-3ECAD0A92AEC}"/>
          </ac:spMkLst>
        </pc:spChg>
        <pc:spChg chg="del">
          <ac:chgData name="Ilea Nascimento Paixao" userId="9ce6c8e6-41b1-48ee-a963-5f1712941bd6" providerId="ADAL" clId="{43A851D2-DCE9-4CF5-AEF8-C9039B60BA1D}" dt="2025-10-01T16:41:56.899" v="385" actId="478"/>
          <ac:spMkLst>
            <pc:docMk/>
            <pc:sldMk cId="4186453584" sldId="2147476067"/>
            <ac:spMk id="1114" creationId="{2325715E-FF4F-65A0-B530-C26BB4490940}"/>
          </ac:spMkLst>
        </pc:spChg>
        <pc:spChg chg="del">
          <ac:chgData name="Ilea Nascimento Paixao" userId="9ce6c8e6-41b1-48ee-a963-5f1712941bd6" providerId="ADAL" clId="{43A851D2-DCE9-4CF5-AEF8-C9039B60BA1D}" dt="2025-10-01T16:41:56.899" v="385" actId="478"/>
          <ac:spMkLst>
            <pc:docMk/>
            <pc:sldMk cId="4186453584" sldId="2147476067"/>
            <ac:spMk id="1118" creationId="{4D54BB4A-1604-1A6E-F0FE-2B164622F6FB}"/>
          </ac:spMkLst>
        </pc:spChg>
        <pc:spChg chg="del">
          <ac:chgData name="Ilea Nascimento Paixao" userId="9ce6c8e6-41b1-48ee-a963-5f1712941bd6" providerId="ADAL" clId="{43A851D2-DCE9-4CF5-AEF8-C9039B60BA1D}" dt="2025-10-01T16:41:56.899" v="385" actId="478"/>
          <ac:spMkLst>
            <pc:docMk/>
            <pc:sldMk cId="4186453584" sldId="2147476067"/>
            <ac:spMk id="1131" creationId="{93B44760-6954-FA16-5162-FBA17532CEF3}"/>
          </ac:spMkLst>
        </pc:spChg>
        <pc:spChg chg="del">
          <ac:chgData name="Ilea Nascimento Paixao" userId="9ce6c8e6-41b1-48ee-a963-5f1712941bd6" providerId="ADAL" clId="{43A851D2-DCE9-4CF5-AEF8-C9039B60BA1D}" dt="2025-10-01T16:43:43.009" v="430" actId="478"/>
          <ac:spMkLst>
            <pc:docMk/>
            <pc:sldMk cId="4186453584" sldId="2147476067"/>
            <ac:spMk id="1139" creationId="{66189ED4-7DEB-E6C4-1A45-D133F7528261}"/>
          </ac:spMkLst>
        </pc:spChg>
        <pc:spChg chg="del">
          <ac:chgData name="Ilea Nascimento Paixao" userId="9ce6c8e6-41b1-48ee-a963-5f1712941bd6" providerId="ADAL" clId="{43A851D2-DCE9-4CF5-AEF8-C9039B60BA1D}" dt="2025-10-01T16:43:43.009" v="430" actId="478"/>
          <ac:spMkLst>
            <pc:docMk/>
            <pc:sldMk cId="4186453584" sldId="2147476067"/>
            <ac:spMk id="1140" creationId="{63A486AD-8C34-AFDF-9115-0688A31F0572}"/>
          </ac:spMkLst>
        </pc:spChg>
        <pc:spChg chg="del mod">
          <ac:chgData name="Ilea Nascimento Paixao" userId="9ce6c8e6-41b1-48ee-a963-5f1712941bd6" providerId="ADAL" clId="{43A851D2-DCE9-4CF5-AEF8-C9039B60BA1D}" dt="2025-10-01T16:43:43.009" v="430" actId="478"/>
          <ac:spMkLst>
            <pc:docMk/>
            <pc:sldMk cId="4186453584" sldId="2147476067"/>
            <ac:spMk id="1141" creationId="{0C77A1D3-454E-53C1-C51F-5531031E41F8}"/>
          </ac:spMkLst>
        </pc:spChg>
        <pc:spChg chg="del">
          <ac:chgData name="Ilea Nascimento Paixao" userId="9ce6c8e6-41b1-48ee-a963-5f1712941bd6" providerId="ADAL" clId="{43A851D2-DCE9-4CF5-AEF8-C9039B60BA1D}" dt="2025-10-01T16:41:58.999" v="386" actId="478"/>
          <ac:spMkLst>
            <pc:docMk/>
            <pc:sldMk cId="4186453584" sldId="2147476067"/>
            <ac:spMk id="1144" creationId="{AD3EC4C9-623B-9305-BB11-5045CAB84995}"/>
          </ac:spMkLst>
        </pc:spChg>
      </pc:sldChg>
      <pc:sldChg chg="addSp delSp modSp mod">
        <pc:chgData name="Ilea Nascimento Paixao" userId="9ce6c8e6-41b1-48ee-a963-5f1712941bd6" providerId="ADAL" clId="{43A851D2-DCE9-4CF5-AEF8-C9039B60BA1D}" dt="2025-10-01T16:43:31.323" v="427" actId="20577"/>
        <pc:sldMkLst>
          <pc:docMk/>
          <pc:sldMk cId="1551884443" sldId="2147476068"/>
        </pc:sldMkLst>
        <pc:spChg chg="add mod">
          <ac:chgData name="Ilea Nascimento Paixao" userId="9ce6c8e6-41b1-48ee-a963-5f1712941bd6" providerId="ADAL" clId="{43A851D2-DCE9-4CF5-AEF8-C9039B60BA1D}" dt="2025-10-01T16:43:14.544" v="392"/>
          <ac:spMkLst>
            <pc:docMk/>
            <pc:sldMk cId="1551884443" sldId="2147476068"/>
            <ac:spMk id="2" creationId="{CEA5CF4F-143C-4504-A556-6F2B1D5C9234}"/>
          </ac:spMkLst>
        </pc:spChg>
        <pc:spChg chg="add mod">
          <ac:chgData name="Ilea Nascimento Paixao" userId="9ce6c8e6-41b1-48ee-a963-5f1712941bd6" providerId="ADAL" clId="{43A851D2-DCE9-4CF5-AEF8-C9039B60BA1D}" dt="2025-10-01T16:43:14.544" v="392"/>
          <ac:spMkLst>
            <pc:docMk/>
            <pc:sldMk cId="1551884443" sldId="2147476068"/>
            <ac:spMk id="3" creationId="{B218F255-16F5-C8D2-ACDD-70791870AE0E}"/>
          </ac:spMkLst>
        </pc:spChg>
        <pc:spChg chg="add mod">
          <ac:chgData name="Ilea Nascimento Paixao" userId="9ce6c8e6-41b1-48ee-a963-5f1712941bd6" providerId="ADAL" clId="{43A851D2-DCE9-4CF5-AEF8-C9039B60BA1D}" dt="2025-10-01T16:43:14.544" v="392"/>
          <ac:spMkLst>
            <pc:docMk/>
            <pc:sldMk cId="1551884443" sldId="2147476068"/>
            <ac:spMk id="4" creationId="{99BB3C35-F576-D131-295C-158AB844C6D1}"/>
          </ac:spMkLst>
        </pc:spChg>
        <pc:spChg chg="add mod">
          <ac:chgData name="Ilea Nascimento Paixao" userId="9ce6c8e6-41b1-48ee-a963-5f1712941bd6" providerId="ADAL" clId="{43A851D2-DCE9-4CF5-AEF8-C9039B60BA1D}" dt="2025-10-01T16:43:31.323" v="427" actId="20577"/>
          <ac:spMkLst>
            <pc:docMk/>
            <pc:sldMk cId="1551884443" sldId="2147476068"/>
            <ac:spMk id="5" creationId="{141C3D12-C682-561F-8432-07A3133A697B}"/>
          </ac:spMkLst>
        </pc:spChg>
      </pc:sldChg>
      <pc:sldChg chg="addSp delSp modSp mod">
        <pc:chgData name="Ilea Nascimento Paixao" userId="9ce6c8e6-41b1-48ee-a963-5f1712941bd6" providerId="ADAL" clId="{43A851D2-DCE9-4CF5-AEF8-C9039B60BA1D}" dt="2025-10-01T16:44:05.219" v="434"/>
        <pc:sldMkLst>
          <pc:docMk/>
          <pc:sldMk cId="1551639993" sldId="2147476070"/>
        </pc:sldMkLst>
        <pc:spChg chg="add mod">
          <ac:chgData name="Ilea Nascimento Paixao" userId="9ce6c8e6-41b1-48ee-a963-5f1712941bd6" providerId="ADAL" clId="{43A851D2-DCE9-4CF5-AEF8-C9039B60BA1D}" dt="2025-10-01T16:44:05.219" v="434"/>
          <ac:spMkLst>
            <pc:docMk/>
            <pc:sldMk cId="1551639993" sldId="2147476070"/>
            <ac:spMk id="2" creationId="{4151881F-809E-6D29-AC92-C10B45E7ACD5}"/>
          </ac:spMkLst>
        </pc:spChg>
        <pc:spChg chg="add mod">
          <ac:chgData name="Ilea Nascimento Paixao" userId="9ce6c8e6-41b1-48ee-a963-5f1712941bd6" providerId="ADAL" clId="{43A851D2-DCE9-4CF5-AEF8-C9039B60BA1D}" dt="2025-10-01T16:44:05.219" v="434"/>
          <ac:spMkLst>
            <pc:docMk/>
            <pc:sldMk cId="1551639993" sldId="2147476070"/>
            <ac:spMk id="3" creationId="{12C88EB1-3EB3-CB66-16FB-510AE53717D8}"/>
          </ac:spMkLst>
        </pc:spChg>
        <pc:spChg chg="add mod">
          <ac:chgData name="Ilea Nascimento Paixao" userId="9ce6c8e6-41b1-48ee-a963-5f1712941bd6" providerId="ADAL" clId="{43A851D2-DCE9-4CF5-AEF8-C9039B60BA1D}" dt="2025-10-01T16:44:05.219" v="434"/>
          <ac:spMkLst>
            <pc:docMk/>
            <pc:sldMk cId="1551639993" sldId="2147476070"/>
            <ac:spMk id="4" creationId="{9EB305E9-B3D1-3498-48A4-F3518EC7C196}"/>
          </ac:spMkLst>
        </pc:spChg>
        <pc:spChg chg="mod">
          <ac:chgData name="Ilea Nascimento Paixao" userId="9ce6c8e6-41b1-48ee-a963-5f1712941bd6" providerId="ADAL" clId="{43A851D2-DCE9-4CF5-AEF8-C9039B60BA1D}" dt="2025-09-10T14:28:10.130" v="31" actId="20577"/>
          <ac:spMkLst>
            <pc:docMk/>
            <pc:sldMk cId="1551639993" sldId="2147476070"/>
            <ac:spMk id="9" creationId="{ED7B1F93-9026-B2AC-69E3-F128F786FD8B}"/>
          </ac:spMkLst>
        </pc:spChg>
      </pc:sldChg>
      <pc:sldChg chg="delSp modSp del mod ord">
        <pc:chgData name="Ilea Nascimento Paixao" userId="9ce6c8e6-41b1-48ee-a963-5f1712941bd6" providerId="ADAL" clId="{43A851D2-DCE9-4CF5-AEF8-C9039B60BA1D}" dt="2025-10-01T16:42:38.618" v="387" actId="47"/>
        <pc:sldMkLst>
          <pc:docMk/>
          <pc:sldMk cId="3495175925" sldId="2147476075"/>
        </pc:sldMkLst>
        <pc:spChg chg="mod">
          <ac:chgData name="Ilea Nascimento Paixao" userId="9ce6c8e6-41b1-48ee-a963-5f1712941bd6" providerId="ADAL" clId="{43A851D2-DCE9-4CF5-AEF8-C9039B60BA1D}" dt="2025-09-10T14:24:48.545" v="0" actId="207"/>
          <ac:spMkLst>
            <pc:docMk/>
            <pc:sldMk cId="3495175925" sldId="2147476075"/>
            <ac:spMk id="61" creationId="{F10752A5-4537-8692-5E2A-CBF7DA9F57A2}"/>
          </ac:spMkLst>
        </pc:spChg>
        <pc:spChg chg="mod">
          <ac:chgData name="Ilea Nascimento Paixao" userId="9ce6c8e6-41b1-48ee-a963-5f1712941bd6" providerId="ADAL" clId="{43A851D2-DCE9-4CF5-AEF8-C9039B60BA1D}" dt="2025-09-10T14:28:29.317" v="61" actId="113"/>
          <ac:spMkLst>
            <pc:docMk/>
            <pc:sldMk cId="3495175925" sldId="2147476075"/>
            <ac:spMk id="73" creationId="{5F4EF362-C372-C45D-20A8-659ED49FCF3A}"/>
          </ac:spMkLst>
        </pc:spChg>
      </pc:sldChg>
      <pc:sldChg chg="modSp mod">
        <pc:chgData name="Ilea Nascimento Paixao" userId="9ce6c8e6-41b1-48ee-a963-5f1712941bd6" providerId="ADAL" clId="{43A851D2-DCE9-4CF5-AEF8-C9039B60BA1D}" dt="2025-10-01T16:44:51.453" v="452"/>
        <pc:sldMkLst>
          <pc:docMk/>
          <pc:sldMk cId="3057699117" sldId="2147476076"/>
        </pc:sldMkLst>
        <pc:spChg chg="mod">
          <ac:chgData name="Ilea Nascimento Paixao" userId="9ce6c8e6-41b1-48ee-a963-5f1712941bd6" providerId="ADAL" clId="{43A851D2-DCE9-4CF5-AEF8-C9039B60BA1D}" dt="2025-10-01T16:44:51.453" v="452"/>
          <ac:spMkLst>
            <pc:docMk/>
            <pc:sldMk cId="3057699117" sldId="2147476076"/>
            <ac:spMk id="3" creationId="{DC7322FD-4CE3-7C4A-87A6-B67DF0920182}"/>
          </ac:spMkLst>
        </pc:spChg>
        <pc:spChg chg="mod">
          <ac:chgData name="Ilea Nascimento Paixao" userId="9ce6c8e6-41b1-48ee-a963-5f1712941bd6" providerId="ADAL" clId="{43A851D2-DCE9-4CF5-AEF8-C9039B60BA1D}" dt="2025-10-01T16:44:49.270" v="451"/>
          <ac:spMkLst>
            <pc:docMk/>
            <pc:sldMk cId="3057699117" sldId="2147476076"/>
            <ac:spMk id="16" creationId="{1EBFF354-709A-5DBA-A7A3-3619343439BA}"/>
          </ac:spMkLst>
        </pc:spChg>
        <pc:spChg chg="mod">
          <ac:chgData name="Ilea Nascimento Paixao" userId="9ce6c8e6-41b1-48ee-a963-5f1712941bd6" providerId="ADAL" clId="{43A851D2-DCE9-4CF5-AEF8-C9039B60BA1D}" dt="2025-10-01T16:42:43.774" v="388"/>
          <ac:spMkLst>
            <pc:docMk/>
            <pc:sldMk cId="3057699117" sldId="2147476076"/>
            <ac:spMk id="71" creationId="{35A6ADF1-1A4E-F65E-E7A3-D912ABFB94E7}"/>
          </ac:spMkLst>
        </pc:spChg>
        <pc:spChg chg="mod">
          <ac:chgData name="Ilea Nascimento Paixao" userId="9ce6c8e6-41b1-48ee-a963-5f1712941bd6" providerId="ADAL" clId="{43A851D2-DCE9-4CF5-AEF8-C9039B60BA1D}" dt="2025-10-01T16:42:47.534" v="389"/>
          <ac:spMkLst>
            <pc:docMk/>
            <pc:sldMk cId="3057699117" sldId="2147476076"/>
            <ac:spMk id="72" creationId="{34650754-1DAC-73A6-3DD6-9F7FC4F2BF81}"/>
          </ac:spMkLst>
        </pc:spChg>
        <pc:spChg chg="mod">
          <ac:chgData name="Ilea Nascimento Paixao" userId="9ce6c8e6-41b1-48ee-a963-5f1712941bd6" providerId="ADAL" clId="{43A851D2-DCE9-4CF5-AEF8-C9039B60BA1D}" dt="2025-10-01T16:44:31.374" v="443"/>
          <ac:spMkLst>
            <pc:docMk/>
            <pc:sldMk cId="3057699117" sldId="2147476076"/>
            <ac:spMk id="73" creationId="{E6192410-FFC3-98AA-F3EF-EF783F24C0AF}"/>
          </ac:spMkLst>
        </pc:spChg>
        <pc:spChg chg="mod">
          <ac:chgData name="Ilea Nascimento Paixao" userId="9ce6c8e6-41b1-48ee-a963-5f1712941bd6" providerId="ADAL" clId="{43A851D2-DCE9-4CF5-AEF8-C9039B60BA1D}" dt="2025-10-01T16:44:36.155" v="449" actId="20577"/>
          <ac:spMkLst>
            <pc:docMk/>
            <pc:sldMk cId="3057699117" sldId="2147476076"/>
            <ac:spMk id="75" creationId="{D7D8C698-3E03-6D5E-B1D1-D09745586432}"/>
          </ac:spMkLst>
        </pc:spChg>
        <pc:spChg chg="mod">
          <ac:chgData name="Ilea Nascimento Paixao" userId="9ce6c8e6-41b1-48ee-a963-5f1712941bd6" providerId="ADAL" clId="{43A851D2-DCE9-4CF5-AEF8-C9039B60BA1D}" dt="2025-10-01T16:44:38.494" v="450" actId="20577"/>
          <ac:spMkLst>
            <pc:docMk/>
            <pc:sldMk cId="3057699117" sldId="2147476076"/>
            <ac:spMk id="76" creationId="{2A847A84-C824-CCF0-2FE4-B6CF5D11FFBF}"/>
          </ac:spMkLst>
        </pc:spChg>
      </pc:sldChg>
      <pc:sldChg chg="add del mod modShow">
        <pc:chgData name="Ilea Nascimento Paixao" userId="9ce6c8e6-41b1-48ee-a963-5f1712941bd6" providerId="ADAL" clId="{43A851D2-DCE9-4CF5-AEF8-C9039B60BA1D}" dt="2025-10-01T16:44:08.710" v="436" actId="47"/>
        <pc:sldMkLst>
          <pc:docMk/>
          <pc:sldMk cId="4189478863" sldId="2147476084"/>
        </pc:sldMkLst>
      </pc:sldChg>
      <pc:sldChg chg="add del mod modShow">
        <pc:chgData name="Ilea Nascimento Paixao" userId="9ce6c8e6-41b1-48ee-a963-5f1712941bd6" providerId="ADAL" clId="{43A851D2-DCE9-4CF5-AEF8-C9039B60BA1D}" dt="2025-10-01T16:44:10.685" v="438" actId="47"/>
        <pc:sldMkLst>
          <pc:docMk/>
          <pc:sldMk cId="1533456921" sldId="2147476085"/>
        </pc:sldMkLst>
      </pc:sldChg>
      <pc:sldChg chg="add del mod modShow">
        <pc:chgData name="Ilea Nascimento Paixao" userId="9ce6c8e6-41b1-48ee-a963-5f1712941bd6" providerId="ADAL" clId="{43A851D2-DCE9-4CF5-AEF8-C9039B60BA1D}" dt="2025-10-01T16:44:09.112" v="437" actId="47"/>
        <pc:sldMkLst>
          <pc:docMk/>
          <pc:sldMk cId="444902347" sldId="2147476087"/>
        </pc:sldMkLst>
      </pc:sldChg>
      <pc:sldChg chg="addSp delSp modSp mod ord">
        <pc:chgData name="Ilea Nascimento Paixao" userId="9ce6c8e6-41b1-48ee-a963-5f1712941bd6" providerId="ADAL" clId="{43A851D2-DCE9-4CF5-AEF8-C9039B60BA1D}" dt="2025-10-01T16:43:49.484" v="433"/>
        <pc:sldMkLst>
          <pc:docMk/>
          <pc:sldMk cId="691844096" sldId="2147476088"/>
        </pc:sldMkLst>
        <pc:spChg chg="add del mod">
          <ac:chgData name="Ilea Nascimento Paixao" userId="9ce6c8e6-41b1-48ee-a963-5f1712941bd6" providerId="ADAL" clId="{43A851D2-DCE9-4CF5-AEF8-C9039B60BA1D}" dt="2025-10-01T16:43:49.124" v="432" actId="478"/>
          <ac:spMkLst>
            <pc:docMk/>
            <pc:sldMk cId="691844096" sldId="2147476088"/>
            <ac:spMk id="2" creationId="{1D489994-EE81-911E-787F-1EFCD6802E2E}"/>
          </ac:spMkLst>
        </pc:spChg>
        <pc:spChg chg="add del mod">
          <ac:chgData name="Ilea Nascimento Paixao" userId="9ce6c8e6-41b1-48ee-a963-5f1712941bd6" providerId="ADAL" clId="{43A851D2-DCE9-4CF5-AEF8-C9039B60BA1D}" dt="2025-10-01T16:43:49.124" v="432" actId="478"/>
          <ac:spMkLst>
            <pc:docMk/>
            <pc:sldMk cId="691844096" sldId="2147476088"/>
            <ac:spMk id="3" creationId="{A53505B9-5A7A-E160-E1FE-69A10DB10D20}"/>
          </ac:spMkLst>
        </pc:spChg>
        <pc:spChg chg="add del mod">
          <ac:chgData name="Ilea Nascimento Paixao" userId="9ce6c8e6-41b1-48ee-a963-5f1712941bd6" providerId="ADAL" clId="{43A851D2-DCE9-4CF5-AEF8-C9039B60BA1D}" dt="2025-10-01T16:43:49.124" v="432" actId="478"/>
          <ac:spMkLst>
            <pc:docMk/>
            <pc:sldMk cId="691844096" sldId="2147476088"/>
            <ac:spMk id="4" creationId="{BD886332-9E48-CA53-B3DB-9E7D3A0AD6D1}"/>
          </ac:spMkLst>
        </pc:spChg>
        <pc:spChg chg="add del mod">
          <ac:chgData name="Ilea Nascimento Paixao" userId="9ce6c8e6-41b1-48ee-a963-5f1712941bd6" providerId="ADAL" clId="{43A851D2-DCE9-4CF5-AEF8-C9039B60BA1D}" dt="2025-10-01T16:43:49.124" v="432" actId="478"/>
          <ac:spMkLst>
            <pc:docMk/>
            <pc:sldMk cId="691844096" sldId="2147476088"/>
            <ac:spMk id="5" creationId="{305290D1-0623-21BB-B6EA-A9FCC8C10DF2}"/>
          </ac:spMkLst>
        </pc:spChg>
        <pc:spChg chg="add mod">
          <ac:chgData name="Ilea Nascimento Paixao" userId="9ce6c8e6-41b1-48ee-a963-5f1712941bd6" providerId="ADAL" clId="{43A851D2-DCE9-4CF5-AEF8-C9039B60BA1D}" dt="2025-10-01T16:43:49.484" v="433"/>
          <ac:spMkLst>
            <pc:docMk/>
            <pc:sldMk cId="691844096" sldId="2147476088"/>
            <ac:spMk id="6" creationId="{74CCD9CC-7C46-07F9-B8D8-44A1BB6CDDF4}"/>
          </ac:spMkLst>
        </pc:spChg>
        <pc:spChg chg="add mod">
          <ac:chgData name="Ilea Nascimento Paixao" userId="9ce6c8e6-41b1-48ee-a963-5f1712941bd6" providerId="ADAL" clId="{43A851D2-DCE9-4CF5-AEF8-C9039B60BA1D}" dt="2025-10-01T16:43:49.484" v="433"/>
          <ac:spMkLst>
            <pc:docMk/>
            <pc:sldMk cId="691844096" sldId="2147476088"/>
            <ac:spMk id="7" creationId="{11061285-6EB1-73E9-572F-C879F927C9F7}"/>
          </ac:spMkLst>
        </pc:spChg>
        <pc:spChg chg="add mod">
          <ac:chgData name="Ilea Nascimento Paixao" userId="9ce6c8e6-41b1-48ee-a963-5f1712941bd6" providerId="ADAL" clId="{43A851D2-DCE9-4CF5-AEF8-C9039B60BA1D}" dt="2025-10-01T16:43:49.484" v="433"/>
          <ac:spMkLst>
            <pc:docMk/>
            <pc:sldMk cId="691844096" sldId="2147476088"/>
            <ac:spMk id="8" creationId="{D886969E-A1C3-580E-82B0-EBA44CFC6C17}"/>
          </ac:spMkLst>
        </pc:spChg>
        <pc:spChg chg="del">
          <ac:chgData name="Ilea Nascimento Paixao" userId="9ce6c8e6-41b1-48ee-a963-5f1712941bd6" providerId="ADAL" clId="{43A851D2-DCE9-4CF5-AEF8-C9039B60BA1D}" dt="2025-10-01T16:43:49.124" v="432" actId="478"/>
          <ac:spMkLst>
            <pc:docMk/>
            <pc:sldMk cId="691844096" sldId="2147476088"/>
            <ac:spMk id="1099" creationId="{548D6BB5-CA51-B9AE-2860-639386A8B669}"/>
          </ac:spMkLst>
        </pc:spChg>
      </pc:sldChg>
      <pc:sldChg chg="modSp del mod">
        <pc:chgData name="Ilea Nascimento Paixao" userId="9ce6c8e6-41b1-48ee-a963-5f1712941bd6" providerId="ADAL" clId="{43A851D2-DCE9-4CF5-AEF8-C9039B60BA1D}" dt="2025-10-01T16:45:07.109" v="463" actId="47"/>
        <pc:sldMkLst>
          <pc:docMk/>
          <pc:sldMk cId="73067135" sldId="2147476089"/>
        </pc:sldMkLst>
        <pc:spChg chg="mod">
          <ac:chgData name="Ilea Nascimento Paixao" userId="9ce6c8e6-41b1-48ee-a963-5f1712941bd6" providerId="ADAL" clId="{43A851D2-DCE9-4CF5-AEF8-C9039B60BA1D}" dt="2025-09-10T14:28:20.351" v="59" actId="20577"/>
          <ac:spMkLst>
            <pc:docMk/>
            <pc:sldMk cId="73067135" sldId="2147476089"/>
            <ac:spMk id="73" creationId="{27BB9CB5-15A1-EB18-BE15-A5B0B4853630}"/>
          </ac:spMkLst>
        </pc:spChg>
      </pc:sldChg>
      <pc:sldChg chg="modSp del mod modShow">
        <pc:chgData name="Ilea Nascimento Paixao" userId="9ce6c8e6-41b1-48ee-a963-5f1712941bd6" providerId="ADAL" clId="{43A851D2-DCE9-4CF5-AEF8-C9039B60BA1D}" dt="2025-10-01T16:44:08.175" v="435" actId="47"/>
        <pc:sldMkLst>
          <pc:docMk/>
          <pc:sldMk cId="50197650" sldId="2147476090"/>
        </pc:sldMkLst>
        <pc:spChg chg="mod">
          <ac:chgData name="Ilea Nascimento Paixao" userId="9ce6c8e6-41b1-48ee-a963-5f1712941bd6" providerId="ADAL" clId="{43A851D2-DCE9-4CF5-AEF8-C9039B60BA1D}" dt="2025-09-10T14:28:48.621" v="65" actId="113"/>
          <ac:spMkLst>
            <pc:docMk/>
            <pc:sldMk cId="50197650" sldId="2147476090"/>
            <ac:spMk id="73" creationId="{C3608DBC-E048-AD3E-802B-1D861DD8B48E}"/>
          </ac:spMkLst>
        </pc:spChg>
      </pc:sldChg>
      <pc:sldChg chg="modSp del mod">
        <pc:chgData name="Ilea Nascimento Paixao" userId="9ce6c8e6-41b1-48ee-a963-5f1712941bd6" providerId="ADAL" clId="{43A851D2-DCE9-4CF5-AEF8-C9039B60BA1D}" dt="2025-10-01T16:45:20.227" v="470" actId="47"/>
        <pc:sldMkLst>
          <pc:docMk/>
          <pc:sldMk cId="654418242" sldId="2147476091"/>
        </pc:sldMkLst>
        <pc:spChg chg="mod">
          <ac:chgData name="Ilea Nascimento Paixao" userId="9ce6c8e6-41b1-48ee-a963-5f1712941bd6" providerId="ADAL" clId="{43A851D2-DCE9-4CF5-AEF8-C9039B60BA1D}" dt="2025-09-10T14:28:59.500" v="67" actId="113"/>
          <ac:spMkLst>
            <pc:docMk/>
            <pc:sldMk cId="654418242" sldId="2147476091"/>
            <ac:spMk id="73" creationId="{BA95D81F-C36C-42A2-650E-1E5518E14018}"/>
          </ac:spMkLst>
        </pc:spChg>
      </pc:sldChg>
      <pc:sldChg chg="del mod modShow">
        <pc:chgData name="Ilea Nascimento Paixao" userId="9ce6c8e6-41b1-48ee-a963-5f1712941bd6" providerId="ADAL" clId="{43A851D2-DCE9-4CF5-AEF8-C9039B60BA1D}" dt="2025-10-01T16:44:18.179" v="439" actId="47"/>
        <pc:sldMkLst>
          <pc:docMk/>
          <pc:sldMk cId="305855949" sldId="2147476092"/>
        </pc:sldMkLst>
      </pc:sldChg>
      <pc:sldChg chg="del mod modShow">
        <pc:chgData name="Ilea Nascimento Paixao" userId="9ce6c8e6-41b1-48ee-a963-5f1712941bd6" providerId="ADAL" clId="{43A851D2-DCE9-4CF5-AEF8-C9039B60BA1D}" dt="2025-10-01T16:44:21.235" v="441" actId="47"/>
        <pc:sldMkLst>
          <pc:docMk/>
          <pc:sldMk cId="1717997334" sldId="2147476093"/>
        </pc:sldMkLst>
      </pc:sldChg>
      <pc:sldChg chg="del">
        <pc:chgData name="Ilea Nascimento Paixao" userId="9ce6c8e6-41b1-48ee-a963-5f1712941bd6" providerId="ADAL" clId="{43A851D2-DCE9-4CF5-AEF8-C9039B60BA1D}" dt="2025-09-10T14:48:04.130" v="128" actId="47"/>
        <pc:sldMkLst>
          <pc:docMk/>
          <pc:sldMk cId="3111818430" sldId="2147476094"/>
        </pc:sldMkLst>
      </pc:sldChg>
      <pc:sldChg chg="del mod modShow">
        <pc:chgData name="Ilea Nascimento Paixao" userId="9ce6c8e6-41b1-48ee-a963-5f1712941bd6" providerId="ADAL" clId="{43A851D2-DCE9-4CF5-AEF8-C9039B60BA1D}" dt="2025-10-01T16:44:18.896" v="440" actId="47"/>
        <pc:sldMkLst>
          <pc:docMk/>
          <pc:sldMk cId="2661858712" sldId="2147476095"/>
        </pc:sldMkLst>
      </pc:sldChg>
      <pc:sldChg chg="delSp add del mod">
        <pc:chgData name="Ilea Nascimento Paixao" userId="9ce6c8e6-41b1-48ee-a963-5f1712941bd6" providerId="ADAL" clId="{43A851D2-DCE9-4CF5-AEF8-C9039B60BA1D}" dt="2025-09-10T14:48:56.607" v="152" actId="47"/>
        <pc:sldMkLst>
          <pc:docMk/>
          <pc:sldMk cId="669552959" sldId="2147476096"/>
        </pc:sldMkLst>
      </pc:sldChg>
      <pc:sldChg chg="del">
        <pc:chgData name="Ilea Nascimento Paixao" userId="9ce6c8e6-41b1-48ee-a963-5f1712941bd6" providerId="ADAL" clId="{43A851D2-DCE9-4CF5-AEF8-C9039B60BA1D}" dt="2025-09-10T14:47:09.487" v="75" actId="47"/>
        <pc:sldMkLst>
          <pc:docMk/>
          <pc:sldMk cId="3550750494" sldId="2147476096"/>
        </pc:sldMkLst>
      </pc:sldChg>
      <pc:sldChg chg="del">
        <pc:chgData name="Ilea Nascimento Paixao" userId="9ce6c8e6-41b1-48ee-a963-5f1712941bd6" providerId="ADAL" clId="{43A851D2-DCE9-4CF5-AEF8-C9039B60BA1D}" dt="2025-09-10T14:47:10.104" v="77" actId="47"/>
        <pc:sldMkLst>
          <pc:docMk/>
          <pc:sldMk cId="146928764" sldId="2147476097"/>
        </pc:sldMkLst>
      </pc:sldChg>
      <pc:sldChg chg="addSp delSp modSp add mod">
        <pc:chgData name="Ilea Nascimento Paixao" userId="9ce6c8e6-41b1-48ee-a963-5f1712941bd6" providerId="ADAL" clId="{43A851D2-DCE9-4CF5-AEF8-C9039B60BA1D}" dt="2025-09-10T14:48:53.022" v="151" actId="20577"/>
        <pc:sldMkLst>
          <pc:docMk/>
          <pc:sldMk cId="2339168101" sldId="2147476097"/>
        </pc:sldMkLst>
        <pc:spChg chg="add mod">
          <ac:chgData name="Ilea Nascimento Paixao" userId="9ce6c8e6-41b1-48ee-a963-5f1712941bd6" providerId="ADAL" clId="{43A851D2-DCE9-4CF5-AEF8-C9039B60BA1D}" dt="2025-09-10T14:48:27.425" v="130"/>
          <ac:spMkLst>
            <pc:docMk/>
            <pc:sldMk cId="2339168101" sldId="2147476097"/>
            <ac:spMk id="2" creationId="{70E94B95-FFCB-3CC3-E92F-DCA20660D90B}"/>
          </ac:spMkLst>
        </pc:spChg>
        <pc:spChg chg="add del mod">
          <ac:chgData name="Ilea Nascimento Paixao" userId="9ce6c8e6-41b1-48ee-a963-5f1712941bd6" providerId="ADAL" clId="{43A851D2-DCE9-4CF5-AEF8-C9039B60BA1D}" dt="2025-09-10T14:48:40.539" v="134" actId="478"/>
          <ac:spMkLst>
            <pc:docMk/>
            <pc:sldMk cId="2339168101" sldId="2147476097"/>
            <ac:spMk id="3" creationId="{B35B17C0-06C8-67D3-8125-270A075FF952}"/>
          </ac:spMkLst>
        </pc:spChg>
        <pc:spChg chg="add mod">
          <ac:chgData name="Ilea Nascimento Paixao" userId="9ce6c8e6-41b1-48ee-a963-5f1712941bd6" providerId="ADAL" clId="{43A851D2-DCE9-4CF5-AEF8-C9039B60BA1D}" dt="2025-09-10T14:48:27.425" v="130"/>
          <ac:spMkLst>
            <pc:docMk/>
            <pc:sldMk cId="2339168101" sldId="2147476097"/>
            <ac:spMk id="4" creationId="{654EB07D-E058-6B62-DF3F-7BEFDA666216}"/>
          </ac:spMkLst>
        </pc:spChg>
        <pc:spChg chg="add mod">
          <ac:chgData name="Ilea Nascimento Paixao" userId="9ce6c8e6-41b1-48ee-a963-5f1712941bd6" providerId="ADAL" clId="{43A851D2-DCE9-4CF5-AEF8-C9039B60BA1D}" dt="2025-09-10T14:48:27.425" v="130"/>
          <ac:spMkLst>
            <pc:docMk/>
            <pc:sldMk cId="2339168101" sldId="2147476097"/>
            <ac:spMk id="5" creationId="{D449A900-3C5B-0F79-E7BC-49AA681FF678}"/>
          </ac:spMkLst>
        </pc:spChg>
        <pc:spChg chg="add mod">
          <ac:chgData name="Ilea Nascimento Paixao" userId="9ce6c8e6-41b1-48ee-a963-5f1712941bd6" providerId="ADAL" clId="{43A851D2-DCE9-4CF5-AEF8-C9039B60BA1D}" dt="2025-09-10T14:48:31.650" v="131"/>
          <ac:spMkLst>
            <pc:docMk/>
            <pc:sldMk cId="2339168101" sldId="2147476097"/>
            <ac:spMk id="6" creationId="{DB804291-2D9D-BFC1-94B4-FF2DD9BD21C7}"/>
          </ac:spMkLst>
        </pc:spChg>
        <pc:spChg chg="mod">
          <ac:chgData name="Ilea Nascimento Paixao" userId="9ce6c8e6-41b1-48ee-a963-5f1712941bd6" providerId="ADAL" clId="{43A851D2-DCE9-4CF5-AEF8-C9039B60BA1D}" dt="2025-09-10T14:48:53.022" v="151" actId="20577"/>
          <ac:spMkLst>
            <pc:docMk/>
            <pc:sldMk cId="2339168101" sldId="2147476097"/>
            <ac:spMk id="9" creationId="{D4D65483-41D7-1E98-A751-22DDCAA2311A}"/>
          </ac:spMkLst>
        </pc:spChg>
      </pc:sldChg>
      <pc:sldChg chg="modSp add mod">
        <pc:chgData name="Ilea Nascimento Paixao" userId="9ce6c8e6-41b1-48ee-a963-5f1712941bd6" providerId="ADAL" clId="{43A851D2-DCE9-4CF5-AEF8-C9039B60BA1D}" dt="2025-10-01T16:45:14.898" v="468" actId="14100"/>
        <pc:sldMkLst>
          <pc:docMk/>
          <pc:sldMk cId="246020811" sldId="2147476098"/>
        </pc:sldMkLst>
        <pc:spChg chg="mod">
          <ac:chgData name="Ilea Nascimento Paixao" userId="9ce6c8e6-41b1-48ee-a963-5f1712941bd6" providerId="ADAL" clId="{43A851D2-DCE9-4CF5-AEF8-C9039B60BA1D}" dt="2025-10-01T16:45:10.725" v="466" actId="114"/>
          <ac:spMkLst>
            <pc:docMk/>
            <pc:sldMk cId="246020811" sldId="2147476098"/>
            <ac:spMk id="71" creationId="{E345329D-2FC9-4D63-84E8-49D6EDF7DBDF}"/>
          </ac:spMkLst>
        </pc:spChg>
        <pc:spChg chg="mod">
          <ac:chgData name="Ilea Nascimento Paixao" userId="9ce6c8e6-41b1-48ee-a963-5f1712941bd6" providerId="ADAL" clId="{43A851D2-DCE9-4CF5-AEF8-C9039B60BA1D}" dt="2025-10-01T16:45:14.898" v="468" actId="14100"/>
          <ac:spMkLst>
            <pc:docMk/>
            <pc:sldMk cId="246020811" sldId="2147476098"/>
            <ac:spMk id="72" creationId="{7CFE12B6-42CA-F167-9994-3239006FF856}"/>
          </ac:spMkLst>
        </pc:spChg>
      </pc:sldChg>
      <pc:sldChg chg="del">
        <pc:chgData name="Ilea Nascimento Paixao" userId="9ce6c8e6-41b1-48ee-a963-5f1712941bd6" providerId="ADAL" clId="{43A851D2-DCE9-4CF5-AEF8-C9039B60BA1D}" dt="2025-09-10T14:47:09.693" v="76" actId="47"/>
        <pc:sldMkLst>
          <pc:docMk/>
          <pc:sldMk cId="857508912" sldId="2147476098"/>
        </pc:sldMkLst>
      </pc:sldChg>
      <pc:sldChg chg="addSp delSp modSp add del mod ord">
        <pc:chgData name="Ilea Nascimento Paixao" userId="9ce6c8e6-41b1-48ee-a963-5f1712941bd6" providerId="ADAL" clId="{43A851D2-DCE9-4CF5-AEF8-C9039B60BA1D}" dt="2025-09-24T19:53:59.392" v="219" actId="47"/>
        <pc:sldMkLst>
          <pc:docMk/>
          <pc:sldMk cId="1514321541" sldId="2147476098"/>
        </pc:sldMkLst>
      </pc:sldChg>
      <pc:sldChg chg="del">
        <pc:chgData name="Ilea Nascimento Paixao" userId="9ce6c8e6-41b1-48ee-a963-5f1712941bd6" providerId="ADAL" clId="{43A851D2-DCE9-4CF5-AEF8-C9039B60BA1D}" dt="2025-09-10T14:47:11.451" v="79" actId="47"/>
        <pc:sldMkLst>
          <pc:docMk/>
          <pc:sldMk cId="1748224945" sldId="2147476099"/>
        </pc:sldMkLst>
      </pc:sldChg>
      <pc:sldChg chg="modSp add mod">
        <pc:chgData name="Ilea Nascimento Paixao" userId="9ce6c8e6-41b1-48ee-a963-5f1712941bd6" providerId="ADAL" clId="{43A851D2-DCE9-4CF5-AEF8-C9039B60BA1D}" dt="2025-10-01T16:45:25.789" v="472" actId="113"/>
        <pc:sldMkLst>
          <pc:docMk/>
          <pc:sldMk cId="2149540220" sldId="2147476099"/>
        </pc:sldMkLst>
        <pc:spChg chg="mod">
          <ac:chgData name="Ilea Nascimento Paixao" userId="9ce6c8e6-41b1-48ee-a963-5f1712941bd6" providerId="ADAL" clId="{43A851D2-DCE9-4CF5-AEF8-C9039B60BA1D}" dt="2025-10-01T16:45:24.238" v="471" actId="113"/>
          <ac:spMkLst>
            <pc:docMk/>
            <pc:sldMk cId="2149540220" sldId="2147476099"/>
            <ac:spMk id="72" creationId="{CB7C6A14-6B98-F2DA-E4BE-671833F788F7}"/>
          </ac:spMkLst>
        </pc:spChg>
        <pc:spChg chg="mod">
          <ac:chgData name="Ilea Nascimento Paixao" userId="9ce6c8e6-41b1-48ee-a963-5f1712941bd6" providerId="ADAL" clId="{43A851D2-DCE9-4CF5-AEF8-C9039B60BA1D}" dt="2025-10-01T16:45:25.789" v="472" actId="113"/>
          <ac:spMkLst>
            <pc:docMk/>
            <pc:sldMk cId="2149540220" sldId="2147476099"/>
            <ac:spMk id="73" creationId="{8926B2C9-F8E1-7C4C-B149-5036D8687CB3}"/>
          </ac:spMkLst>
        </pc:spChg>
      </pc:sldChg>
      <pc:sldChg chg="modSp add mod">
        <pc:chgData name="Ilea Nascimento Paixao" userId="9ce6c8e6-41b1-48ee-a963-5f1712941bd6" providerId="ADAL" clId="{43A851D2-DCE9-4CF5-AEF8-C9039B60BA1D}" dt="2025-10-01T16:45:39.769" v="475" actId="113"/>
        <pc:sldMkLst>
          <pc:docMk/>
          <pc:sldMk cId="2292302980" sldId="2147476100"/>
        </pc:sldMkLst>
        <pc:spChg chg="mod">
          <ac:chgData name="Ilea Nascimento Paixao" userId="9ce6c8e6-41b1-48ee-a963-5f1712941bd6" providerId="ADAL" clId="{43A851D2-DCE9-4CF5-AEF8-C9039B60BA1D}" dt="2025-10-01T16:45:38.003" v="474" actId="113"/>
          <ac:spMkLst>
            <pc:docMk/>
            <pc:sldMk cId="2292302980" sldId="2147476100"/>
            <ac:spMk id="73" creationId="{4B958AD6-1BC9-BB7B-EFC7-BBA9C7028372}"/>
          </ac:spMkLst>
        </pc:spChg>
        <pc:spChg chg="mod">
          <ac:chgData name="Ilea Nascimento Paixao" userId="9ce6c8e6-41b1-48ee-a963-5f1712941bd6" providerId="ADAL" clId="{43A851D2-DCE9-4CF5-AEF8-C9039B60BA1D}" dt="2025-10-01T16:45:39.769" v="475" actId="113"/>
          <ac:spMkLst>
            <pc:docMk/>
            <pc:sldMk cId="2292302980" sldId="2147476100"/>
            <ac:spMk id="75" creationId="{5A6C8C29-5093-B498-9210-6851DDE410A8}"/>
          </ac:spMkLst>
        </pc:spChg>
      </pc:sldChg>
      <pc:sldChg chg="del">
        <pc:chgData name="Ilea Nascimento Paixao" userId="9ce6c8e6-41b1-48ee-a963-5f1712941bd6" providerId="ADAL" clId="{43A851D2-DCE9-4CF5-AEF8-C9039B60BA1D}" dt="2025-09-10T14:47:10.405" v="78" actId="47"/>
        <pc:sldMkLst>
          <pc:docMk/>
          <pc:sldMk cId="2487047375" sldId="2147476100"/>
        </pc:sldMkLst>
      </pc:sldChg>
      <pc:sldChg chg="del">
        <pc:chgData name="Ilea Nascimento Paixao" userId="9ce6c8e6-41b1-48ee-a963-5f1712941bd6" providerId="ADAL" clId="{43A851D2-DCE9-4CF5-AEF8-C9039B60BA1D}" dt="2025-09-10T14:47:12.010" v="80" actId="47"/>
        <pc:sldMkLst>
          <pc:docMk/>
          <pc:sldMk cId="1986916697" sldId="2147476101"/>
        </pc:sldMkLst>
      </pc:sldChg>
      <pc:sldChg chg="modSp add mod">
        <pc:chgData name="Ilea Nascimento Paixao" userId="9ce6c8e6-41b1-48ee-a963-5f1712941bd6" providerId="ADAL" clId="{43A851D2-DCE9-4CF5-AEF8-C9039B60BA1D}" dt="2025-10-01T16:45:57.103" v="490" actId="20577"/>
        <pc:sldMkLst>
          <pc:docMk/>
          <pc:sldMk cId="3823125324" sldId="2147476101"/>
        </pc:sldMkLst>
        <pc:spChg chg="mod">
          <ac:chgData name="Ilea Nascimento Paixao" userId="9ce6c8e6-41b1-48ee-a963-5f1712941bd6" providerId="ADAL" clId="{43A851D2-DCE9-4CF5-AEF8-C9039B60BA1D}" dt="2025-10-01T16:45:57.103" v="490" actId="20577"/>
          <ac:spMkLst>
            <pc:docMk/>
            <pc:sldMk cId="3823125324" sldId="2147476101"/>
            <ac:spMk id="9" creationId="{5190BCAC-E149-2D1F-2228-EDE4D17CD904}"/>
          </ac:spMkLst>
        </pc:spChg>
      </pc:sldChg>
    </pc:docChg>
  </pc:docChgLst>
  <pc:docChgLst>
    <pc:chgData name="Jhonatan Magalhaes Valadares" userId="S::jhonatan.valadares@auraminerals.com::72e683c6-46bf-4809-ab1b-c9cfd4ad4890" providerId="AD" clId="Web-{795D6E20-195C-7ECF-EC36-0D05869738E9}"/>
    <pc:docChg chg="addSld delSld modSection">
      <pc:chgData name="Jhonatan Magalhaes Valadares" userId="S::jhonatan.valadares@auraminerals.com::72e683c6-46bf-4809-ab1b-c9cfd4ad4890" providerId="AD" clId="Web-{795D6E20-195C-7ECF-EC36-0D05869738E9}" dt="2025-05-26T20:10:52.095" v="11"/>
      <pc:docMkLst>
        <pc:docMk/>
      </pc:docMkLst>
      <pc:sldChg chg="add del">
        <pc:chgData name="Jhonatan Magalhaes Valadares" userId="S::jhonatan.valadares@auraminerals.com::72e683c6-46bf-4809-ab1b-c9cfd4ad4890" providerId="AD" clId="Web-{795D6E20-195C-7ECF-EC36-0D05869738E9}" dt="2025-05-26T20:10:04.951" v="5"/>
        <pc:sldMkLst>
          <pc:docMk/>
          <pc:sldMk cId="3477093161" sldId="2147476074"/>
        </pc:sldMkLst>
      </pc:sldChg>
      <pc:sldChg chg="add del">
        <pc:chgData name="Jhonatan Magalhaes Valadares" userId="S::jhonatan.valadares@auraminerals.com::72e683c6-46bf-4809-ab1b-c9cfd4ad4890" providerId="AD" clId="Web-{795D6E20-195C-7ECF-EC36-0D05869738E9}" dt="2025-05-26T20:09:49.278" v="3"/>
        <pc:sldMkLst>
          <pc:docMk/>
          <pc:sldMk cId="2627926382" sldId="2147476084"/>
        </pc:sldMkLst>
      </pc:sldChg>
      <pc:sldChg chg="add">
        <pc:chgData name="Jhonatan Magalhaes Valadares" userId="S::jhonatan.valadares@auraminerals.com::72e683c6-46bf-4809-ab1b-c9cfd4ad4890" providerId="AD" clId="Web-{795D6E20-195C-7ECF-EC36-0D05869738E9}" dt="2025-05-26T20:09:56.404" v="4"/>
        <pc:sldMkLst>
          <pc:docMk/>
          <pc:sldMk cId="3662933019" sldId="2147476084"/>
        </pc:sldMkLst>
      </pc:sldChg>
      <pc:sldChg chg="add">
        <pc:chgData name="Jhonatan Magalhaes Valadares" userId="S::jhonatan.valadares@auraminerals.com::72e683c6-46bf-4809-ab1b-c9cfd4ad4890" providerId="AD" clId="Web-{795D6E20-195C-7ECF-EC36-0D05869738E9}" dt="2025-05-26T20:10:50.423" v="10"/>
        <pc:sldMkLst>
          <pc:docMk/>
          <pc:sldMk cId="977120997" sldId="2147476085"/>
        </pc:sldMkLst>
      </pc:sldChg>
      <pc:sldChg chg="add del replId">
        <pc:chgData name="Jhonatan Magalhaes Valadares" userId="S::jhonatan.valadares@auraminerals.com::72e683c6-46bf-4809-ab1b-c9cfd4ad4890" providerId="AD" clId="Web-{795D6E20-195C-7ECF-EC36-0D05869738E9}" dt="2025-05-26T20:10:39.548" v="9"/>
        <pc:sldMkLst>
          <pc:docMk/>
          <pc:sldMk cId="3880368129" sldId="2147476085"/>
        </pc:sldMkLst>
      </pc:sldChg>
      <pc:sldChg chg="add del replId">
        <pc:chgData name="Jhonatan Magalhaes Valadares" userId="S::jhonatan.valadares@auraminerals.com::72e683c6-46bf-4809-ab1b-c9cfd4ad4890" providerId="AD" clId="Web-{795D6E20-195C-7ECF-EC36-0D05869738E9}" dt="2025-05-26T20:10:52.095" v="11"/>
        <pc:sldMkLst>
          <pc:docMk/>
          <pc:sldMk cId="2020578389" sldId="2147476086"/>
        </pc:sldMkLst>
      </pc:sldChg>
      <pc:sldChg chg="add">
        <pc:chgData name="Jhonatan Magalhaes Valadares" userId="S::jhonatan.valadares@auraminerals.com::72e683c6-46bf-4809-ab1b-c9cfd4ad4890" providerId="AD" clId="Web-{795D6E20-195C-7ECF-EC36-0D05869738E9}" dt="2025-05-26T20:10:34.219" v="8"/>
        <pc:sldMkLst>
          <pc:docMk/>
          <pc:sldMk cId="2523071463" sldId="2147476087"/>
        </pc:sldMkLst>
      </pc:sldChg>
    </pc:docChg>
  </pc:docChgLst>
  <pc:docChgLst>
    <pc:chgData name="Ilea Nascimento Paixao" userId="9ce6c8e6-41b1-48ee-a963-5f1712941bd6" providerId="ADAL" clId="{4082020D-7BF4-4D53-887C-B6B27A04DDF0}"/>
    <pc:docChg chg="undo custSel addSld delSld modSld sldOrd modSection">
      <pc:chgData name="Ilea Nascimento Paixao" userId="9ce6c8e6-41b1-48ee-a963-5f1712941bd6" providerId="ADAL" clId="{4082020D-7BF4-4D53-887C-B6B27A04DDF0}" dt="2025-09-04T17:37:05.651" v="404" actId="207"/>
      <pc:docMkLst>
        <pc:docMk/>
      </pc:docMkLst>
      <pc:sldChg chg="delSp mod">
        <pc:chgData name="Ilea Nascimento Paixao" userId="9ce6c8e6-41b1-48ee-a963-5f1712941bd6" providerId="ADAL" clId="{4082020D-7BF4-4D53-887C-B6B27A04DDF0}" dt="2025-08-19T18:33:32.085" v="142" actId="478"/>
        <pc:sldMkLst>
          <pc:docMk/>
          <pc:sldMk cId="1411299618" sldId="366"/>
        </pc:sldMkLst>
      </pc:sldChg>
      <pc:sldChg chg="del">
        <pc:chgData name="Ilea Nascimento Paixao" userId="9ce6c8e6-41b1-48ee-a963-5f1712941bd6" providerId="ADAL" clId="{4082020D-7BF4-4D53-887C-B6B27A04DDF0}" dt="2025-08-19T18:34:26.724" v="157" actId="47"/>
        <pc:sldMkLst>
          <pc:docMk/>
          <pc:sldMk cId="506001340" sldId="2147476057"/>
        </pc:sldMkLst>
      </pc:sldChg>
      <pc:sldChg chg="addSp delSp modSp mod">
        <pc:chgData name="Ilea Nascimento Paixao" userId="9ce6c8e6-41b1-48ee-a963-5f1712941bd6" providerId="ADAL" clId="{4082020D-7BF4-4D53-887C-B6B27A04DDF0}" dt="2025-08-19T18:55:19.359" v="320" actId="20577"/>
        <pc:sldMkLst>
          <pc:docMk/>
          <pc:sldMk cId="37563515" sldId="2147476059"/>
        </pc:sldMkLst>
      </pc:sldChg>
      <pc:sldChg chg="del">
        <pc:chgData name="Ilea Nascimento Paixao" userId="9ce6c8e6-41b1-48ee-a963-5f1712941bd6" providerId="ADAL" clId="{4082020D-7BF4-4D53-887C-B6B27A04DDF0}" dt="2025-08-19T18:30:47.225" v="96" actId="2696"/>
        <pc:sldMkLst>
          <pc:docMk/>
          <pc:sldMk cId="1751631981" sldId="2147476067"/>
        </pc:sldMkLst>
      </pc:sldChg>
      <pc:sldChg chg="modSp add mod modShow">
        <pc:chgData name="Ilea Nascimento Paixao" userId="9ce6c8e6-41b1-48ee-a963-5f1712941bd6" providerId="ADAL" clId="{4082020D-7BF4-4D53-887C-B6B27A04DDF0}" dt="2025-09-04T17:25:22.473" v="398" actId="729"/>
        <pc:sldMkLst>
          <pc:docMk/>
          <pc:sldMk cId="4186453584" sldId="2147476067"/>
        </pc:sldMkLst>
      </pc:sldChg>
      <pc:sldChg chg="del">
        <pc:chgData name="Ilea Nascimento Paixao" userId="9ce6c8e6-41b1-48ee-a963-5f1712941bd6" providerId="ADAL" clId="{4082020D-7BF4-4D53-887C-B6B27A04DDF0}" dt="2025-08-19T18:30:47.225" v="96" actId="2696"/>
        <pc:sldMkLst>
          <pc:docMk/>
          <pc:sldMk cId="536017777" sldId="2147476068"/>
        </pc:sldMkLst>
      </pc:sldChg>
      <pc:sldChg chg="modSp add mod">
        <pc:chgData name="Ilea Nascimento Paixao" userId="9ce6c8e6-41b1-48ee-a963-5f1712941bd6" providerId="ADAL" clId="{4082020D-7BF4-4D53-887C-B6B27A04DDF0}" dt="2025-08-19T18:46:54.353" v="193" actId="20577"/>
        <pc:sldMkLst>
          <pc:docMk/>
          <pc:sldMk cId="1551884443" sldId="2147476068"/>
        </pc:sldMkLst>
      </pc:sldChg>
      <pc:sldChg chg="modSp">
        <pc:chgData name="Ilea Nascimento Paixao" userId="9ce6c8e6-41b1-48ee-a963-5f1712941bd6" providerId="ADAL" clId="{4082020D-7BF4-4D53-887C-B6B27A04DDF0}" dt="2025-08-19T18:46:07.123" v="187"/>
        <pc:sldMkLst>
          <pc:docMk/>
          <pc:sldMk cId="1551639993" sldId="2147476070"/>
        </pc:sldMkLst>
      </pc:sldChg>
      <pc:sldChg chg="delSp modSp mod">
        <pc:chgData name="Ilea Nascimento Paixao" userId="9ce6c8e6-41b1-48ee-a963-5f1712941bd6" providerId="ADAL" clId="{4082020D-7BF4-4D53-887C-B6B27A04DDF0}" dt="2025-09-04T17:25:46.189" v="400" actId="207"/>
        <pc:sldMkLst>
          <pc:docMk/>
          <pc:sldMk cId="3057699117" sldId="2147476076"/>
        </pc:sldMkLst>
        <pc:spChg chg="mod">
          <ac:chgData name="Ilea Nascimento Paixao" userId="9ce6c8e6-41b1-48ee-a963-5f1712941bd6" providerId="ADAL" clId="{4082020D-7BF4-4D53-887C-B6B27A04DDF0}" dt="2025-09-04T17:25:46.189" v="400" actId="207"/>
          <ac:spMkLst>
            <pc:docMk/>
            <pc:sldMk cId="3057699117" sldId="2147476076"/>
            <ac:spMk id="61" creationId="{AB5F6A21-BDED-2C58-EAD3-99F55F1224AC}"/>
          </ac:spMkLst>
        </pc:spChg>
      </pc:sldChg>
      <pc:sldChg chg="del">
        <pc:chgData name="Ilea Nascimento Paixao" userId="9ce6c8e6-41b1-48ee-a963-5f1712941bd6" providerId="ADAL" clId="{4082020D-7BF4-4D53-887C-B6B27A04DDF0}" dt="2025-08-19T18:32:41.806" v="133" actId="47"/>
        <pc:sldMkLst>
          <pc:docMk/>
          <pc:sldMk cId="3984379588" sldId="2147476077"/>
        </pc:sldMkLst>
      </pc:sldChg>
      <pc:sldChg chg="del">
        <pc:chgData name="Ilea Nascimento Paixao" userId="9ce6c8e6-41b1-48ee-a963-5f1712941bd6" providerId="ADAL" clId="{4082020D-7BF4-4D53-887C-B6B27A04DDF0}" dt="2025-08-19T18:32:47.376" v="135" actId="47"/>
        <pc:sldMkLst>
          <pc:docMk/>
          <pc:sldMk cId="3599629728" sldId="2147476079"/>
        </pc:sldMkLst>
      </pc:sldChg>
      <pc:sldChg chg="del">
        <pc:chgData name="Ilea Nascimento Paixao" userId="9ce6c8e6-41b1-48ee-a963-5f1712941bd6" providerId="ADAL" clId="{4082020D-7BF4-4D53-887C-B6B27A04DDF0}" dt="2025-08-19T18:33:28.808" v="141" actId="47"/>
        <pc:sldMkLst>
          <pc:docMk/>
          <pc:sldMk cId="276141428" sldId="2147476080"/>
        </pc:sldMkLst>
      </pc:sldChg>
      <pc:sldChg chg="del">
        <pc:chgData name="Ilea Nascimento Paixao" userId="9ce6c8e6-41b1-48ee-a963-5f1712941bd6" providerId="ADAL" clId="{4082020D-7BF4-4D53-887C-B6B27A04DDF0}" dt="2025-08-19T18:34:03.598" v="151" actId="47"/>
        <pc:sldMkLst>
          <pc:docMk/>
          <pc:sldMk cId="1738344013" sldId="2147476081"/>
        </pc:sldMkLst>
      </pc:sldChg>
      <pc:sldChg chg="del">
        <pc:chgData name="Ilea Nascimento Paixao" userId="9ce6c8e6-41b1-48ee-a963-5f1712941bd6" providerId="ADAL" clId="{4082020D-7BF4-4D53-887C-B6B27A04DDF0}" dt="2025-08-19T18:34:03.852" v="152" actId="47"/>
        <pc:sldMkLst>
          <pc:docMk/>
          <pc:sldMk cId="2217222759" sldId="2147476082"/>
        </pc:sldMkLst>
      </pc:sldChg>
      <pc:sldChg chg="delSp modSp del mod">
        <pc:chgData name="Ilea Nascimento Paixao" userId="9ce6c8e6-41b1-48ee-a963-5f1712941bd6" providerId="ADAL" clId="{4082020D-7BF4-4D53-887C-B6B27A04DDF0}" dt="2025-08-19T18:30:35.751" v="94" actId="2696"/>
        <pc:sldMkLst>
          <pc:docMk/>
          <pc:sldMk cId="3662933019" sldId="2147476084"/>
        </pc:sldMkLst>
      </pc:sldChg>
      <pc:sldChg chg="modSp add">
        <pc:chgData name="Ilea Nascimento Paixao" userId="9ce6c8e6-41b1-48ee-a963-5f1712941bd6" providerId="ADAL" clId="{4082020D-7BF4-4D53-887C-B6B27A04DDF0}" dt="2025-08-19T18:46:10.413" v="188"/>
        <pc:sldMkLst>
          <pc:docMk/>
          <pc:sldMk cId="4189478863" sldId="2147476084"/>
        </pc:sldMkLst>
      </pc:sldChg>
      <pc:sldChg chg="delSp del mod">
        <pc:chgData name="Ilea Nascimento Paixao" userId="9ce6c8e6-41b1-48ee-a963-5f1712941bd6" providerId="ADAL" clId="{4082020D-7BF4-4D53-887C-B6B27A04DDF0}" dt="2025-08-19T18:30:35.751" v="94" actId="2696"/>
        <pc:sldMkLst>
          <pc:docMk/>
          <pc:sldMk cId="977120997" sldId="2147476085"/>
        </pc:sldMkLst>
      </pc:sldChg>
      <pc:sldChg chg="modSp add">
        <pc:chgData name="Ilea Nascimento Paixao" userId="9ce6c8e6-41b1-48ee-a963-5f1712941bd6" providerId="ADAL" clId="{4082020D-7BF4-4D53-887C-B6B27A04DDF0}" dt="2025-08-19T18:46:16.899" v="190"/>
        <pc:sldMkLst>
          <pc:docMk/>
          <pc:sldMk cId="1533456921" sldId="2147476085"/>
        </pc:sldMkLst>
      </pc:sldChg>
      <pc:sldChg chg="modSp add">
        <pc:chgData name="Ilea Nascimento Paixao" userId="9ce6c8e6-41b1-48ee-a963-5f1712941bd6" providerId="ADAL" clId="{4082020D-7BF4-4D53-887C-B6B27A04DDF0}" dt="2025-08-19T18:46:14.478" v="189"/>
        <pc:sldMkLst>
          <pc:docMk/>
          <pc:sldMk cId="444902347" sldId="2147476087"/>
        </pc:sldMkLst>
      </pc:sldChg>
      <pc:sldChg chg="delSp del mod">
        <pc:chgData name="Ilea Nascimento Paixao" userId="9ce6c8e6-41b1-48ee-a963-5f1712941bd6" providerId="ADAL" clId="{4082020D-7BF4-4D53-887C-B6B27A04DDF0}" dt="2025-08-19T18:30:35.751" v="94" actId="2696"/>
        <pc:sldMkLst>
          <pc:docMk/>
          <pc:sldMk cId="2523071463" sldId="2147476087"/>
        </pc:sldMkLst>
      </pc:sldChg>
      <pc:sldChg chg="modSp add mod">
        <pc:chgData name="Ilea Nascimento Paixao" userId="9ce6c8e6-41b1-48ee-a963-5f1712941bd6" providerId="ADAL" clId="{4082020D-7BF4-4D53-887C-B6B27A04DDF0}" dt="2025-08-19T18:46:56.300" v="194" actId="20577"/>
        <pc:sldMkLst>
          <pc:docMk/>
          <pc:sldMk cId="691844096" sldId="2147476088"/>
        </pc:sldMkLst>
      </pc:sldChg>
      <pc:sldChg chg="delSp modSp add mod">
        <pc:chgData name="Ilea Nascimento Paixao" userId="9ce6c8e6-41b1-48ee-a963-5f1712941bd6" providerId="ADAL" clId="{4082020D-7BF4-4D53-887C-B6B27A04DDF0}" dt="2025-09-04T17:25:50.874" v="401" actId="207"/>
        <pc:sldMkLst>
          <pc:docMk/>
          <pc:sldMk cId="73067135" sldId="2147476089"/>
        </pc:sldMkLst>
        <pc:spChg chg="mod">
          <ac:chgData name="Ilea Nascimento Paixao" userId="9ce6c8e6-41b1-48ee-a963-5f1712941bd6" providerId="ADAL" clId="{4082020D-7BF4-4D53-887C-B6B27A04DDF0}" dt="2025-09-04T17:25:50.874" v="401" actId="207"/>
          <ac:spMkLst>
            <pc:docMk/>
            <pc:sldMk cId="73067135" sldId="2147476089"/>
            <ac:spMk id="61" creationId="{F1549230-D2C9-EAB6-F019-92E0277A1F28}"/>
          </ac:spMkLst>
        </pc:spChg>
      </pc:sldChg>
      <pc:sldChg chg="delSp modSp add mod">
        <pc:chgData name="Ilea Nascimento Paixao" userId="9ce6c8e6-41b1-48ee-a963-5f1712941bd6" providerId="ADAL" clId="{4082020D-7BF4-4D53-887C-B6B27A04DDF0}" dt="2025-09-04T17:25:40.145" v="399" actId="207"/>
        <pc:sldMkLst>
          <pc:docMk/>
          <pc:sldMk cId="50197650" sldId="2147476090"/>
        </pc:sldMkLst>
        <pc:spChg chg="mod">
          <ac:chgData name="Ilea Nascimento Paixao" userId="9ce6c8e6-41b1-48ee-a963-5f1712941bd6" providerId="ADAL" clId="{4082020D-7BF4-4D53-887C-B6B27A04DDF0}" dt="2025-09-04T17:25:40.145" v="399" actId="207"/>
          <ac:spMkLst>
            <pc:docMk/>
            <pc:sldMk cId="50197650" sldId="2147476090"/>
            <ac:spMk id="61" creationId="{3422B210-669E-76D7-20B4-F60D41AB8EB9}"/>
          </ac:spMkLst>
        </pc:spChg>
      </pc:sldChg>
      <pc:sldChg chg="delSp modSp add mod">
        <pc:chgData name="Ilea Nascimento Paixao" userId="9ce6c8e6-41b1-48ee-a963-5f1712941bd6" providerId="ADAL" clId="{4082020D-7BF4-4D53-887C-B6B27A04DDF0}" dt="2025-09-04T17:25:59.145" v="402" actId="207"/>
        <pc:sldMkLst>
          <pc:docMk/>
          <pc:sldMk cId="654418242" sldId="2147476091"/>
        </pc:sldMkLst>
        <pc:spChg chg="mod">
          <ac:chgData name="Ilea Nascimento Paixao" userId="9ce6c8e6-41b1-48ee-a963-5f1712941bd6" providerId="ADAL" clId="{4082020D-7BF4-4D53-887C-B6B27A04DDF0}" dt="2025-09-04T17:25:59.145" v="402" actId="207"/>
          <ac:spMkLst>
            <pc:docMk/>
            <pc:sldMk cId="654418242" sldId="2147476091"/>
            <ac:spMk id="61" creationId="{E4F74265-76BE-DA77-84B5-963CAA416BD5}"/>
          </ac:spMkLst>
        </pc:spChg>
      </pc:sldChg>
      <pc:sldChg chg="modSp add mod">
        <pc:chgData name="Ilea Nascimento Paixao" userId="9ce6c8e6-41b1-48ee-a963-5f1712941bd6" providerId="ADAL" clId="{4082020D-7BF4-4D53-887C-B6B27A04DDF0}" dt="2025-09-04T17:37:01.403" v="403" actId="207"/>
        <pc:sldMkLst>
          <pc:docMk/>
          <pc:sldMk cId="305855949" sldId="2147476092"/>
        </pc:sldMkLst>
        <pc:spChg chg="mod">
          <ac:chgData name="Ilea Nascimento Paixao" userId="9ce6c8e6-41b1-48ee-a963-5f1712941bd6" providerId="ADAL" clId="{4082020D-7BF4-4D53-887C-B6B27A04DDF0}" dt="2025-09-04T17:37:01.403" v="403" actId="207"/>
          <ac:spMkLst>
            <pc:docMk/>
            <pc:sldMk cId="305855949" sldId="2147476092"/>
            <ac:spMk id="61" creationId="{EC25311C-367F-885C-4A9D-5772431EE969}"/>
          </ac:spMkLst>
        </pc:spChg>
      </pc:sldChg>
      <pc:sldChg chg="modSp add mod">
        <pc:chgData name="Ilea Nascimento Paixao" userId="9ce6c8e6-41b1-48ee-a963-5f1712941bd6" providerId="ADAL" clId="{4082020D-7BF4-4D53-887C-B6B27A04DDF0}" dt="2025-09-04T17:37:05.651" v="404" actId="207"/>
        <pc:sldMkLst>
          <pc:docMk/>
          <pc:sldMk cId="1717997334" sldId="2147476093"/>
        </pc:sldMkLst>
        <pc:spChg chg="mod">
          <ac:chgData name="Ilea Nascimento Paixao" userId="9ce6c8e6-41b1-48ee-a963-5f1712941bd6" providerId="ADAL" clId="{4082020D-7BF4-4D53-887C-B6B27A04DDF0}" dt="2025-09-04T17:37:05.651" v="404" actId="207"/>
          <ac:spMkLst>
            <pc:docMk/>
            <pc:sldMk cId="1717997334" sldId="2147476093"/>
            <ac:spMk id="61" creationId="{DB2D9211-5296-26CA-EFE9-8379ABE9AE3E}"/>
          </ac:spMkLst>
        </pc:spChg>
      </pc:sldChg>
      <pc:sldChg chg="modSp add mod">
        <pc:chgData name="Ilea Nascimento Paixao" userId="9ce6c8e6-41b1-48ee-a963-5f1712941bd6" providerId="ADAL" clId="{4082020D-7BF4-4D53-887C-B6B27A04DDF0}" dt="2025-08-25T20:26:26.425" v="328" actId="20577"/>
        <pc:sldMkLst>
          <pc:docMk/>
          <pc:sldMk cId="3111818430" sldId="2147476094"/>
        </pc:sldMkLst>
      </pc:sldChg>
      <pc:sldChg chg="modSp add mod">
        <pc:chgData name="Ilea Nascimento Paixao" userId="9ce6c8e6-41b1-48ee-a963-5f1712941bd6" providerId="ADAL" clId="{4082020D-7BF4-4D53-887C-B6B27A04DDF0}" dt="2025-08-19T18:51:01.425" v="221" actId="20577"/>
        <pc:sldMkLst>
          <pc:docMk/>
          <pc:sldMk cId="2661858712" sldId="2147476095"/>
        </pc:sldMkLst>
      </pc:sldChg>
      <pc:sldChg chg="modSp add mod">
        <pc:chgData name="Ilea Nascimento Paixao" userId="9ce6c8e6-41b1-48ee-a963-5f1712941bd6" providerId="ADAL" clId="{4082020D-7BF4-4D53-887C-B6B27A04DDF0}" dt="2025-08-25T20:26:32.851" v="341" actId="20577"/>
        <pc:sldMkLst>
          <pc:docMk/>
          <pc:sldMk cId="3550750494" sldId="2147476096"/>
        </pc:sldMkLst>
      </pc:sldChg>
      <pc:sldChg chg="modSp add mod">
        <pc:chgData name="Ilea Nascimento Paixao" userId="9ce6c8e6-41b1-48ee-a963-5f1712941bd6" providerId="ADAL" clId="{4082020D-7BF4-4D53-887C-B6B27A04DDF0}" dt="2025-08-25T20:26:51.402" v="368" actId="20577"/>
        <pc:sldMkLst>
          <pc:docMk/>
          <pc:sldMk cId="146928764" sldId="2147476097"/>
        </pc:sldMkLst>
      </pc:sldChg>
      <pc:sldChg chg="modSp add mod">
        <pc:chgData name="Ilea Nascimento Paixao" userId="9ce6c8e6-41b1-48ee-a963-5f1712941bd6" providerId="ADAL" clId="{4082020D-7BF4-4D53-887C-B6B27A04DDF0}" dt="2025-08-25T20:26:44.979" v="362" actId="20577"/>
        <pc:sldMkLst>
          <pc:docMk/>
          <pc:sldMk cId="857508912" sldId="2147476098"/>
        </pc:sldMkLst>
      </pc:sldChg>
      <pc:sldChg chg="modSp add mod">
        <pc:chgData name="Ilea Nascimento Paixao" userId="9ce6c8e6-41b1-48ee-a963-5f1712941bd6" providerId="ADAL" clId="{4082020D-7BF4-4D53-887C-B6B27A04DDF0}" dt="2025-08-25T20:27:02.990" v="388" actId="20577"/>
        <pc:sldMkLst>
          <pc:docMk/>
          <pc:sldMk cId="1748224945" sldId="2147476099"/>
        </pc:sldMkLst>
      </pc:sldChg>
      <pc:sldChg chg="modSp add mod ord">
        <pc:chgData name="Ilea Nascimento Paixao" userId="9ce6c8e6-41b1-48ee-a963-5f1712941bd6" providerId="ADAL" clId="{4082020D-7BF4-4D53-887C-B6B27A04DDF0}" dt="2025-08-25T20:27:10.463" v="394"/>
        <pc:sldMkLst>
          <pc:docMk/>
          <pc:sldMk cId="2487047375" sldId="2147476100"/>
        </pc:sldMkLst>
      </pc:sldChg>
      <pc:sldChg chg="modSp add mod">
        <pc:chgData name="Ilea Nascimento Paixao" userId="9ce6c8e6-41b1-48ee-a963-5f1712941bd6" providerId="ADAL" clId="{4082020D-7BF4-4D53-887C-B6B27A04DDF0}" dt="2025-08-25T20:27:25.553" v="397" actId="20577"/>
        <pc:sldMkLst>
          <pc:docMk/>
          <pc:sldMk cId="1986916697" sldId="2147476101"/>
        </pc:sldMkLst>
      </pc:sldChg>
    </pc:docChg>
  </pc:docChgLst>
  <pc:docChgLst>
    <pc:chgData name="Ilea Nascimento Paixao" userId="S::ilea.paixao@auraminerals.com::9ce6c8e6-41b1-48ee-a963-5f1712941bd6" providerId="AD" clId="Web-{80ADC9AF-2DB4-8641-2268-0BB62116C810}"/>
    <pc:docChg chg="addSld delSld modSld sldOrd modSection">
      <pc:chgData name="Ilea Nascimento Paixao" userId="S::ilea.paixao@auraminerals.com::9ce6c8e6-41b1-48ee-a963-5f1712941bd6" providerId="AD" clId="Web-{80ADC9AF-2DB4-8641-2268-0BB62116C810}" dt="2025-04-25T16:57:34.103" v="253" actId="20577"/>
      <pc:docMkLst>
        <pc:docMk/>
      </pc:docMkLst>
      <pc:sldChg chg="modSp">
        <pc:chgData name="Ilea Nascimento Paixao" userId="S::ilea.paixao@auraminerals.com::9ce6c8e6-41b1-48ee-a963-5f1712941bd6" providerId="AD" clId="Web-{80ADC9AF-2DB4-8641-2268-0BB62116C810}" dt="2025-04-25T15:40:49.556" v="6" actId="20577"/>
        <pc:sldMkLst>
          <pc:docMk/>
          <pc:sldMk cId="1727705065" sldId="2147476006"/>
        </pc:sldMkLst>
      </pc:sldChg>
      <pc:sldChg chg="addSp delSp modSp ord">
        <pc:chgData name="Ilea Nascimento Paixao" userId="S::ilea.paixao@auraminerals.com::9ce6c8e6-41b1-48ee-a963-5f1712941bd6" providerId="AD" clId="Web-{80ADC9AF-2DB4-8641-2268-0BB62116C810}" dt="2025-04-25T16:57:34.103" v="253" actId="20577"/>
        <pc:sldMkLst>
          <pc:docMk/>
          <pc:sldMk cId="1967063627" sldId="2147476043"/>
        </pc:sldMkLst>
      </pc:sldChg>
      <pc:sldChg chg="addSp delSp modSp">
        <pc:chgData name="Ilea Nascimento Paixao" userId="S::ilea.paixao@auraminerals.com::9ce6c8e6-41b1-48ee-a963-5f1712941bd6" providerId="AD" clId="Web-{80ADC9AF-2DB4-8641-2268-0BB62116C810}" dt="2025-04-25T15:44:22.577" v="32" actId="1076"/>
        <pc:sldMkLst>
          <pc:docMk/>
          <pc:sldMk cId="1929703" sldId="2147476044"/>
        </pc:sldMkLst>
      </pc:sldChg>
      <pc:sldChg chg="del">
        <pc:chgData name="Ilea Nascimento Paixao" userId="S::ilea.paixao@auraminerals.com::9ce6c8e6-41b1-48ee-a963-5f1712941bd6" providerId="AD" clId="Web-{80ADC9AF-2DB4-8641-2268-0BB62116C810}" dt="2025-04-25T15:39:45.711" v="0"/>
        <pc:sldMkLst>
          <pc:docMk/>
          <pc:sldMk cId="2145363331" sldId="2147476053"/>
        </pc:sldMkLst>
      </pc:sldChg>
      <pc:sldChg chg="add ord replId">
        <pc:chgData name="Ilea Nascimento Paixao" userId="S::ilea.paixao@auraminerals.com::9ce6c8e6-41b1-48ee-a963-5f1712941bd6" providerId="AD" clId="Web-{80ADC9AF-2DB4-8641-2268-0BB62116C810}" dt="2025-04-25T15:40:38.196" v="4"/>
        <pc:sldMkLst>
          <pc:docMk/>
          <pc:sldMk cId="1433695255" sldId="2147476055"/>
        </pc:sldMkLst>
      </pc:sldChg>
    </pc:docChg>
  </pc:docChgLst>
  <pc:docChgLst>
    <pc:chgData name="Jhonatan Magalhaes Valadares" userId="S::jhonatan.valadares@auraminerals.com::72e683c6-46bf-4809-ab1b-c9cfd4ad4890" providerId="AD" clId="Web-{DD313F08-B2A4-16E4-301D-F64A5F3504C2}"/>
    <pc:docChg chg="modSld">
      <pc:chgData name="Jhonatan Magalhaes Valadares" userId="S::jhonatan.valadares@auraminerals.com::72e683c6-46bf-4809-ab1b-c9cfd4ad4890" providerId="AD" clId="Web-{DD313F08-B2A4-16E4-301D-F64A5F3504C2}" dt="2025-04-23T17:29:16.971" v="280" actId="20577"/>
      <pc:docMkLst>
        <pc:docMk/>
      </pc:docMkLst>
      <pc:sldChg chg="addSp delSp modSp">
        <pc:chgData name="Jhonatan Magalhaes Valadares" userId="S::jhonatan.valadares@auraminerals.com::72e683c6-46bf-4809-ab1b-c9cfd4ad4890" providerId="AD" clId="Web-{DD313F08-B2A4-16E4-301D-F64A5F3504C2}" dt="2025-04-23T17:29:16.971" v="280" actId="20577"/>
        <pc:sldMkLst>
          <pc:docMk/>
          <pc:sldMk cId="1801003238" sldId="2147476051"/>
        </pc:sldMkLst>
      </pc:sldChg>
    </pc:docChg>
  </pc:docChgLst>
  <pc:docChgLst>
    <pc:chgData name="Ilea Nascimento Paixao" userId="9ce6c8e6-41b1-48ee-a963-5f1712941bd6" providerId="ADAL" clId="{EA1EA9CB-FE43-4494-BD72-7D4F57345704}"/>
    <pc:docChg chg="undo custSel addSld modSld modSection">
      <pc:chgData name="Ilea Nascimento Paixao" userId="9ce6c8e6-41b1-48ee-a963-5f1712941bd6" providerId="ADAL" clId="{EA1EA9CB-FE43-4494-BD72-7D4F57345704}" dt="2025-04-23T17:50:18.749" v="275" actId="14100"/>
      <pc:docMkLst>
        <pc:docMk/>
      </pc:docMkLst>
      <pc:sldChg chg="addSp delSp modSp mod">
        <pc:chgData name="Ilea Nascimento Paixao" userId="9ce6c8e6-41b1-48ee-a963-5f1712941bd6" providerId="ADAL" clId="{EA1EA9CB-FE43-4494-BD72-7D4F57345704}" dt="2025-04-23T17:22:07.286" v="250" actId="14100"/>
        <pc:sldMkLst>
          <pc:docMk/>
          <pc:sldMk cId="351175153" sldId="2147476036"/>
        </pc:sldMkLst>
      </pc:sldChg>
      <pc:sldChg chg="delSp modSp add mod">
        <pc:chgData name="Ilea Nascimento Paixao" userId="9ce6c8e6-41b1-48ee-a963-5f1712941bd6" providerId="ADAL" clId="{EA1EA9CB-FE43-4494-BD72-7D4F57345704}" dt="2025-04-23T17:21:18.295" v="243" actId="20577"/>
        <pc:sldMkLst>
          <pc:docMk/>
          <pc:sldMk cId="976799581" sldId="2147476052"/>
        </pc:sldMkLst>
      </pc:sldChg>
      <pc:sldChg chg="addSp delSp modSp add mod">
        <pc:chgData name="Ilea Nascimento Paixao" userId="9ce6c8e6-41b1-48ee-a963-5f1712941bd6" providerId="ADAL" clId="{EA1EA9CB-FE43-4494-BD72-7D4F57345704}" dt="2025-04-23T17:50:18.749" v="275" actId="14100"/>
        <pc:sldMkLst>
          <pc:docMk/>
          <pc:sldMk cId="2145363331" sldId="2147476053"/>
        </pc:sldMkLst>
      </pc:sldChg>
    </pc:docChg>
  </pc:docChgLst>
  <pc:docChgLst>
    <pc:chgData name="Tainan Moreira" userId="19033c0a-57a2-49f5-bd3a-4507a9eebc09" providerId="ADAL" clId="{FE9A8B5A-5A00-4DEA-8CA5-E79F595F206F}"/>
    <pc:docChg chg="undo custSel modSld">
      <pc:chgData name="Tainan Moreira" userId="19033c0a-57a2-49f5-bd3a-4507a9eebc09" providerId="ADAL" clId="{FE9A8B5A-5A00-4DEA-8CA5-E79F595F206F}" dt="2024-11-27T18:26:58.121" v="897"/>
      <pc:docMkLst>
        <pc:docMk/>
      </pc:docMkLst>
      <pc:sldChg chg="modTransition">
        <pc:chgData name="Tainan Moreira" userId="19033c0a-57a2-49f5-bd3a-4507a9eebc09" providerId="ADAL" clId="{FE9A8B5A-5A00-4DEA-8CA5-E79F595F206F}" dt="2024-11-27T18:26:46.399" v="896"/>
        <pc:sldMkLst>
          <pc:docMk/>
          <pc:sldMk cId="1406636901" sldId="285"/>
        </pc:sldMkLst>
      </pc:sldChg>
      <pc:sldChg chg="addSp delSp modSp mod modTransition modNotesTx">
        <pc:chgData name="Tainan Moreira" userId="19033c0a-57a2-49f5-bd3a-4507a9eebc09" providerId="ADAL" clId="{FE9A8B5A-5A00-4DEA-8CA5-E79F595F206F}" dt="2024-11-27T18:26:58.121" v="897"/>
        <pc:sldMkLst>
          <pc:docMk/>
          <pc:sldMk cId="1411299618" sldId="366"/>
        </pc:sldMkLst>
      </pc:sldChg>
      <pc:sldChg chg="addSp delSp modSp mod modTransition modNotesTx">
        <pc:chgData name="Tainan Moreira" userId="19033c0a-57a2-49f5-bd3a-4507a9eebc09" providerId="ADAL" clId="{FE9A8B5A-5A00-4DEA-8CA5-E79F595F206F}" dt="2024-11-27T18:26:46.399" v="896"/>
        <pc:sldMkLst>
          <pc:docMk/>
          <pc:sldMk cId="3182178181" sldId="2145707548"/>
        </pc:sldMkLst>
      </pc:sldChg>
      <pc:sldChg chg="modTransition">
        <pc:chgData name="Tainan Moreira" userId="19033c0a-57a2-49f5-bd3a-4507a9eebc09" providerId="ADAL" clId="{FE9A8B5A-5A00-4DEA-8CA5-E79F595F206F}" dt="2024-11-27T18:26:46.399" v="896"/>
        <pc:sldMkLst>
          <pc:docMk/>
          <pc:sldMk cId="3451552875" sldId="2145707902"/>
        </pc:sldMkLst>
      </pc:sldChg>
      <pc:sldChg chg="addSp delSp modSp mod modTransition">
        <pc:chgData name="Tainan Moreira" userId="19033c0a-57a2-49f5-bd3a-4507a9eebc09" providerId="ADAL" clId="{FE9A8B5A-5A00-4DEA-8CA5-E79F595F206F}" dt="2024-11-27T18:26:46.399" v="896"/>
        <pc:sldMkLst>
          <pc:docMk/>
          <pc:sldMk cId="4125412150" sldId="2147475993"/>
        </pc:sldMkLst>
      </pc:sldChg>
      <pc:sldChg chg="addSp delSp modSp mod modTransition">
        <pc:chgData name="Tainan Moreira" userId="19033c0a-57a2-49f5-bd3a-4507a9eebc09" providerId="ADAL" clId="{FE9A8B5A-5A00-4DEA-8CA5-E79F595F206F}" dt="2024-11-27T18:26:46.399" v="896"/>
        <pc:sldMkLst>
          <pc:docMk/>
          <pc:sldMk cId="1727705065" sldId="2147476006"/>
        </pc:sldMkLst>
      </pc:sldChg>
      <pc:sldChg chg="addSp delSp modSp mod modTransition">
        <pc:chgData name="Tainan Moreira" userId="19033c0a-57a2-49f5-bd3a-4507a9eebc09" providerId="ADAL" clId="{FE9A8B5A-5A00-4DEA-8CA5-E79F595F206F}" dt="2024-11-27T18:26:46.399" v="896"/>
        <pc:sldMkLst>
          <pc:docMk/>
          <pc:sldMk cId="3038382613" sldId="2147476007"/>
        </pc:sldMkLst>
      </pc:sldChg>
      <pc:sldChg chg="addSp delSp modSp mod modTransition">
        <pc:chgData name="Tainan Moreira" userId="19033c0a-57a2-49f5-bd3a-4507a9eebc09" providerId="ADAL" clId="{FE9A8B5A-5A00-4DEA-8CA5-E79F595F206F}" dt="2024-11-27T18:26:46.399" v="896"/>
        <pc:sldMkLst>
          <pc:docMk/>
          <pc:sldMk cId="1599478764" sldId="2147476010"/>
        </pc:sldMkLst>
      </pc:sldChg>
      <pc:sldChg chg="addSp delSp modSp mod modTransition">
        <pc:chgData name="Tainan Moreira" userId="19033c0a-57a2-49f5-bd3a-4507a9eebc09" providerId="ADAL" clId="{FE9A8B5A-5A00-4DEA-8CA5-E79F595F206F}" dt="2024-11-27T18:26:46.399" v="896"/>
        <pc:sldMkLst>
          <pc:docMk/>
          <pc:sldMk cId="2348217741" sldId="2147476011"/>
        </pc:sldMkLst>
      </pc:sldChg>
      <pc:sldChg chg="addSp delSp modSp mod modTransition modNotesTx">
        <pc:chgData name="Tainan Moreira" userId="19033c0a-57a2-49f5-bd3a-4507a9eebc09" providerId="ADAL" clId="{FE9A8B5A-5A00-4DEA-8CA5-E79F595F206F}" dt="2024-11-27T18:26:46.399" v="896"/>
        <pc:sldMkLst>
          <pc:docMk/>
          <pc:sldMk cId="545169941" sldId="2147476014"/>
        </pc:sldMkLst>
      </pc:sldChg>
      <pc:sldChg chg="addSp delSp modSp mod modTransition modNotesTx">
        <pc:chgData name="Tainan Moreira" userId="19033c0a-57a2-49f5-bd3a-4507a9eebc09" providerId="ADAL" clId="{FE9A8B5A-5A00-4DEA-8CA5-E79F595F206F}" dt="2024-11-27T18:26:46.399" v="896"/>
        <pc:sldMkLst>
          <pc:docMk/>
          <pc:sldMk cId="3637951579" sldId="2147476022"/>
        </pc:sldMkLst>
      </pc:sldChg>
      <pc:sldChg chg="addSp delSp modSp mod modTransition modNotesTx">
        <pc:chgData name="Tainan Moreira" userId="19033c0a-57a2-49f5-bd3a-4507a9eebc09" providerId="ADAL" clId="{FE9A8B5A-5A00-4DEA-8CA5-E79F595F206F}" dt="2024-11-27T18:26:46.399" v="896"/>
        <pc:sldMkLst>
          <pc:docMk/>
          <pc:sldMk cId="1220181916" sldId="2147476027"/>
        </pc:sldMkLst>
      </pc:sldChg>
    </pc:docChg>
  </pc:docChgLst>
  <pc:docChgLst>
    <pc:chgData name="Jackson Ferreira Da Silva" userId="9ea8c8b7-cc4b-4700-b864-019dadec6956" providerId="ADAL" clId="{DB9576A0-08BE-4C41-8213-9092543F86BE}"/>
    <pc:docChg chg="undo custSel addSld delSld modSld sldOrd modSection">
      <pc:chgData name="Jackson Ferreira Da Silva" userId="9ea8c8b7-cc4b-4700-b864-019dadec6956" providerId="ADAL" clId="{DB9576A0-08BE-4C41-8213-9092543F86BE}" dt="2025-05-27T11:47:39.127" v="423" actId="14100"/>
      <pc:docMkLst>
        <pc:docMk/>
      </pc:docMkLst>
      <pc:sldChg chg="del">
        <pc:chgData name="Jackson Ferreira Da Silva" userId="9ea8c8b7-cc4b-4700-b864-019dadec6956" providerId="ADAL" clId="{DB9576A0-08BE-4C41-8213-9092543F86BE}" dt="2025-05-27T10:42:21.744" v="116" actId="47"/>
        <pc:sldMkLst>
          <pc:docMk/>
          <pc:sldMk cId="1406636901" sldId="285"/>
        </pc:sldMkLst>
      </pc:sldChg>
      <pc:sldChg chg="add">
        <pc:chgData name="Jackson Ferreira Da Silva" userId="9ea8c8b7-cc4b-4700-b864-019dadec6956" providerId="ADAL" clId="{DB9576A0-08BE-4C41-8213-9092543F86BE}" dt="2025-05-27T10:43:59.217" v="118"/>
        <pc:sldMkLst>
          <pc:docMk/>
          <pc:sldMk cId="709736559" sldId="433"/>
        </pc:sldMkLst>
      </pc:sldChg>
      <pc:sldChg chg="add">
        <pc:chgData name="Jackson Ferreira Da Silva" userId="9ea8c8b7-cc4b-4700-b864-019dadec6956" providerId="ADAL" clId="{DB9576A0-08BE-4C41-8213-9092543F86BE}" dt="2025-05-27T10:44:03.463" v="119"/>
        <pc:sldMkLst>
          <pc:docMk/>
          <pc:sldMk cId="3235974565" sldId="434"/>
        </pc:sldMkLst>
      </pc:sldChg>
      <pc:sldChg chg="add">
        <pc:chgData name="Jackson Ferreira Da Silva" userId="9ea8c8b7-cc4b-4700-b864-019dadec6956" providerId="ADAL" clId="{DB9576A0-08BE-4C41-8213-9092543F86BE}" dt="2025-05-27T10:44:07.425" v="120"/>
        <pc:sldMkLst>
          <pc:docMk/>
          <pc:sldMk cId="1248498675" sldId="435"/>
        </pc:sldMkLst>
      </pc:sldChg>
      <pc:sldChg chg="del">
        <pc:chgData name="Jackson Ferreira Da Silva" userId="9ea8c8b7-cc4b-4700-b864-019dadec6956" providerId="ADAL" clId="{DB9576A0-08BE-4C41-8213-9092543F86BE}" dt="2025-05-27T10:42:22.208" v="117" actId="47"/>
        <pc:sldMkLst>
          <pc:docMk/>
          <pc:sldMk cId="3451552875" sldId="2145707902"/>
        </pc:sldMkLst>
      </pc:sldChg>
      <pc:sldChg chg="del">
        <pc:chgData name="Jackson Ferreira Da Silva" userId="9ea8c8b7-cc4b-4700-b864-019dadec6956" providerId="ADAL" clId="{DB9576A0-08BE-4C41-8213-9092543F86BE}" dt="2025-05-27T10:42:17.268" v="105" actId="47"/>
        <pc:sldMkLst>
          <pc:docMk/>
          <pc:sldMk cId="2669439839" sldId="2147476032"/>
        </pc:sldMkLst>
      </pc:sldChg>
      <pc:sldChg chg="del">
        <pc:chgData name="Jackson Ferreira Da Silva" userId="9ea8c8b7-cc4b-4700-b864-019dadec6956" providerId="ADAL" clId="{DB9576A0-08BE-4C41-8213-9092543F86BE}" dt="2025-05-27T10:42:16.469" v="103" actId="47"/>
        <pc:sldMkLst>
          <pc:docMk/>
          <pc:sldMk cId="1602685937" sldId="2147476033"/>
        </pc:sldMkLst>
      </pc:sldChg>
      <pc:sldChg chg="del">
        <pc:chgData name="Jackson Ferreira Da Silva" userId="9ea8c8b7-cc4b-4700-b864-019dadec6956" providerId="ADAL" clId="{DB9576A0-08BE-4C41-8213-9092543F86BE}" dt="2025-05-27T10:42:17.895" v="107" actId="47"/>
        <pc:sldMkLst>
          <pc:docMk/>
          <pc:sldMk cId="3592187615" sldId="2147476034"/>
        </pc:sldMkLst>
      </pc:sldChg>
      <pc:sldChg chg="addSp delSp modSp del mod">
        <pc:chgData name="Jackson Ferreira Da Silva" userId="9ea8c8b7-cc4b-4700-b864-019dadec6956" providerId="ADAL" clId="{DB9576A0-08BE-4C41-8213-9092543F86BE}" dt="2025-05-27T10:42:19.618" v="111" actId="47"/>
        <pc:sldMkLst>
          <pc:docMk/>
          <pc:sldMk cId="351175153" sldId="2147476036"/>
        </pc:sldMkLst>
      </pc:sldChg>
      <pc:sldChg chg="del">
        <pc:chgData name="Jackson Ferreira Da Silva" userId="9ea8c8b7-cc4b-4700-b864-019dadec6956" providerId="ADAL" clId="{DB9576A0-08BE-4C41-8213-9092543F86BE}" dt="2025-05-27T10:42:18.882" v="109" actId="47"/>
        <pc:sldMkLst>
          <pc:docMk/>
          <pc:sldMk cId="4275080016" sldId="2147476038"/>
        </pc:sldMkLst>
      </pc:sldChg>
      <pc:sldChg chg="del">
        <pc:chgData name="Jackson Ferreira Da Silva" userId="9ea8c8b7-cc4b-4700-b864-019dadec6956" providerId="ADAL" clId="{DB9576A0-08BE-4C41-8213-9092543F86BE}" dt="2025-05-27T10:42:21.294" v="114" actId="47"/>
        <pc:sldMkLst>
          <pc:docMk/>
          <pc:sldMk cId="455569028" sldId="2147476041"/>
        </pc:sldMkLst>
      </pc:sldChg>
      <pc:sldChg chg="del">
        <pc:chgData name="Jackson Ferreira Da Silva" userId="9ea8c8b7-cc4b-4700-b864-019dadec6956" providerId="ADAL" clId="{DB9576A0-08BE-4C41-8213-9092543F86BE}" dt="2025-05-27T10:42:03.950" v="99" actId="47"/>
        <pc:sldMkLst>
          <pc:docMk/>
          <pc:sldMk cId="1967063627" sldId="2147476043"/>
        </pc:sldMkLst>
      </pc:sldChg>
      <pc:sldChg chg="del">
        <pc:chgData name="Jackson Ferreira Da Silva" userId="9ea8c8b7-cc4b-4700-b864-019dadec6956" providerId="ADAL" clId="{DB9576A0-08BE-4C41-8213-9092543F86BE}" dt="2025-05-27T10:42:02.900" v="98" actId="47"/>
        <pc:sldMkLst>
          <pc:docMk/>
          <pc:sldMk cId="1929703" sldId="2147476044"/>
        </pc:sldMkLst>
      </pc:sldChg>
      <pc:sldChg chg="del">
        <pc:chgData name="Jackson Ferreira Da Silva" userId="9ea8c8b7-cc4b-4700-b864-019dadec6956" providerId="ADAL" clId="{DB9576A0-08BE-4C41-8213-9092543F86BE}" dt="2025-05-27T10:42:05.580" v="102" actId="47"/>
        <pc:sldMkLst>
          <pc:docMk/>
          <pc:sldMk cId="2728715294" sldId="2147476045"/>
        </pc:sldMkLst>
      </pc:sldChg>
      <pc:sldChg chg="del">
        <pc:chgData name="Jackson Ferreira Da Silva" userId="9ea8c8b7-cc4b-4700-b864-019dadec6956" providerId="ADAL" clId="{DB9576A0-08BE-4C41-8213-9092543F86BE}" dt="2025-05-27T10:42:16.674" v="104" actId="47"/>
        <pc:sldMkLst>
          <pc:docMk/>
          <pc:sldMk cId="317071895" sldId="2147476046"/>
        </pc:sldMkLst>
      </pc:sldChg>
      <pc:sldChg chg="del">
        <pc:chgData name="Jackson Ferreira Da Silva" userId="9ea8c8b7-cc4b-4700-b864-019dadec6956" providerId="ADAL" clId="{DB9576A0-08BE-4C41-8213-9092543F86BE}" dt="2025-05-27T10:42:18.460" v="108" actId="47"/>
        <pc:sldMkLst>
          <pc:docMk/>
          <pc:sldMk cId="2396273616" sldId="2147476047"/>
        </pc:sldMkLst>
      </pc:sldChg>
      <pc:sldChg chg="del">
        <pc:chgData name="Jackson Ferreira Da Silva" userId="9ea8c8b7-cc4b-4700-b864-019dadec6956" providerId="ADAL" clId="{DB9576A0-08BE-4C41-8213-9092543F86BE}" dt="2025-05-27T10:42:19.245" v="110" actId="47"/>
        <pc:sldMkLst>
          <pc:docMk/>
          <pc:sldMk cId="1809042781" sldId="2147476048"/>
        </pc:sldMkLst>
      </pc:sldChg>
      <pc:sldChg chg="del">
        <pc:chgData name="Jackson Ferreira Da Silva" userId="9ea8c8b7-cc4b-4700-b864-019dadec6956" providerId="ADAL" clId="{DB9576A0-08BE-4C41-8213-9092543F86BE}" dt="2025-05-27T10:42:20.808" v="113" actId="47"/>
        <pc:sldMkLst>
          <pc:docMk/>
          <pc:sldMk cId="3530884053" sldId="2147476049"/>
        </pc:sldMkLst>
      </pc:sldChg>
      <pc:sldChg chg="del">
        <pc:chgData name="Jackson Ferreira Da Silva" userId="9ea8c8b7-cc4b-4700-b864-019dadec6956" providerId="ADAL" clId="{DB9576A0-08BE-4C41-8213-9092543F86BE}" dt="2025-05-27T10:42:21.529" v="115" actId="47"/>
        <pc:sldMkLst>
          <pc:docMk/>
          <pc:sldMk cId="1582664024" sldId="2147476050"/>
        </pc:sldMkLst>
      </pc:sldChg>
      <pc:sldChg chg="del">
        <pc:chgData name="Jackson Ferreira Da Silva" userId="9ea8c8b7-cc4b-4700-b864-019dadec6956" providerId="ADAL" clId="{DB9576A0-08BE-4C41-8213-9092543F86BE}" dt="2025-05-27T10:42:05.093" v="101" actId="47"/>
        <pc:sldMkLst>
          <pc:docMk/>
          <pc:sldMk cId="1801003238" sldId="2147476051"/>
        </pc:sldMkLst>
      </pc:sldChg>
      <pc:sldChg chg="del">
        <pc:chgData name="Jackson Ferreira Da Silva" userId="9ea8c8b7-cc4b-4700-b864-019dadec6956" providerId="ADAL" clId="{DB9576A0-08BE-4C41-8213-9092543F86BE}" dt="2025-05-27T10:42:20.088" v="112" actId="47"/>
        <pc:sldMkLst>
          <pc:docMk/>
          <pc:sldMk cId="976799581" sldId="2147476052"/>
        </pc:sldMkLst>
      </pc:sldChg>
      <pc:sldChg chg="del">
        <pc:chgData name="Jackson Ferreira Da Silva" userId="9ea8c8b7-cc4b-4700-b864-019dadec6956" providerId="ADAL" clId="{DB9576A0-08BE-4C41-8213-9092543F86BE}" dt="2025-05-27T10:42:17.456" v="106" actId="47"/>
        <pc:sldMkLst>
          <pc:docMk/>
          <pc:sldMk cId="2188537962" sldId="2147476054"/>
        </pc:sldMkLst>
      </pc:sldChg>
      <pc:sldChg chg="del">
        <pc:chgData name="Jackson Ferreira Da Silva" userId="9ea8c8b7-cc4b-4700-b864-019dadec6956" providerId="ADAL" clId="{DB9576A0-08BE-4C41-8213-9092543F86BE}" dt="2025-05-27T10:42:04.592" v="100" actId="47"/>
        <pc:sldMkLst>
          <pc:docMk/>
          <pc:sldMk cId="1433695255" sldId="2147476055"/>
        </pc:sldMkLst>
      </pc:sldChg>
      <pc:sldChg chg="modSp mod">
        <pc:chgData name="Jackson Ferreira Da Silva" userId="9ea8c8b7-cc4b-4700-b864-019dadec6956" providerId="ADAL" clId="{DB9576A0-08BE-4C41-8213-9092543F86BE}" dt="2025-05-27T11:08:47.666" v="392" actId="6549"/>
        <pc:sldMkLst>
          <pc:docMk/>
          <pc:sldMk cId="37563515" sldId="2147476059"/>
        </pc:sldMkLst>
      </pc:sldChg>
      <pc:sldChg chg="addSp delSp modSp mod">
        <pc:chgData name="Jackson Ferreira Da Silva" userId="9ea8c8b7-cc4b-4700-b864-019dadec6956" providerId="ADAL" clId="{DB9576A0-08BE-4C41-8213-9092543F86BE}" dt="2025-05-27T10:48:24.865" v="272" actId="20577"/>
        <pc:sldMkLst>
          <pc:docMk/>
          <pc:sldMk cId="2346081389" sldId="2147476061"/>
        </pc:sldMkLst>
      </pc:sldChg>
      <pc:sldChg chg="addSp delSp modSp del mod">
        <pc:chgData name="Jackson Ferreira Da Silva" userId="9ea8c8b7-cc4b-4700-b864-019dadec6956" providerId="ADAL" clId="{DB9576A0-08BE-4C41-8213-9092543F86BE}" dt="2025-05-27T11:00:10.633" v="283" actId="47"/>
        <pc:sldMkLst>
          <pc:docMk/>
          <pc:sldMk cId="1507077525" sldId="2147476062"/>
        </pc:sldMkLst>
      </pc:sldChg>
      <pc:sldChg chg="delSp modSp del mod">
        <pc:chgData name="Jackson Ferreira Da Silva" userId="9ea8c8b7-cc4b-4700-b864-019dadec6956" providerId="ADAL" clId="{DB9576A0-08BE-4C41-8213-9092543F86BE}" dt="2025-05-27T10:48:41.349" v="273" actId="47"/>
        <pc:sldMkLst>
          <pc:docMk/>
          <pc:sldMk cId="1786416786" sldId="2147476064"/>
        </pc:sldMkLst>
      </pc:sldChg>
      <pc:sldChg chg="modSp del mod">
        <pc:chgData name="Jackson Ferreira Da Silva" userId="9ea8c8b7-cc4b-4700-b864-019dadec6956" providerId="ADAL" clId="{DB9576A0-08BE-4C41-8213-9092543F86BE}" dt="2025-05-27T11:13:28.922" v="393" actId="47"/>
        <pc:sldMkLst>
          <pc:docMk/>
          <pc:sldMk cId="2103656786" sldId="2147476066"/>
        </pc:sldMkLst>
      </pc:sldChg>
      <pc:sldChg chg="modSp mod">
        <pc:chgData name="Jackson Ferreira Da Silva" userId="9ea8c8b7-cc4b-4700-b864-019dadec6956" providerId="ADAL" clId="{DB9576A0-08BE-4C41-8213-9092543F86BE}" dt="2025-05-27T10:37:29.183" v="19" actId="1076"/>
        <pc:sldMkLst>
          <pc:docMk/>
          <pc:sldMk cId="536017777" sldId="2147476068"/>
        </pc:sldMkLst>
      </pc:sldChg>
      <pc:sldChg chg="modSp mod">
        <pc:chgData name="Jackson Ferreira Da Silva" userId="9ea8c8b7-cc4b-4700-b864-019dadec6956" providerId="ADAL" clId="{DB9576A0-08BE-4C41-8213-9092543F86BE}" dt="2025-05-27T10:49:28.690" v="277" actId="1076"/>
        <pc:sldMkLst>
          <pc:docMk/>
          <pc:sldMk cId="1551639993" sldId="2147476070"/>
        </pc:sldMkLst>
      </pc:sldChg>
      <pc:sldChg chg="modSp del mod">
        <pc:chgData name="Jackson Ferreira Da Silva" userId="9ea8c8b7-cc4b-4700-b864-019dadec6956" providerId="ADAL" clId="{DB9576A0-08BE-4C41-8213-9092543F86BE}" dt="2025-05-27T10:49:22.905" v="276" actId="47"/>
        <pc:sldMkLst>
          <pc:docMk/>
          <pc:sldMk cId="1784135998" sldId="2147476072"/>
        </pc:sldMkLst>
      </pc:sldChg>
      <pc:sldChg chg="modSp mod">
        <pc:chgData name="Jackson Ferreira Da Silva" userId="9ea8c8b7-cc4b-4700-b864-019dadec6956" providerId="ADAL" clId="{DB9576A0-08BE-4C41-8213-9092543F86BE}" dt="2025-05-26T19:46:28.193" v="1" actId="1076"/>
        <pc:sldMkLst>
          <pc:docMk/>
          <pc:sldMk cId="3477093161" sldId="2147476074"/>
        </pc:sldMkLst>
      </pc:sldChg>
      <pc:sldChg chg="ord">
        <pc:chgData name="Jackson Ferreira Da Silva" userId="9ea8c8b7-cc4b-4700-b864-019dadec6956" providerId="ADAL" clId="{DB9576A0-08BE-4C41-8213-9092543F86BE}" dt="2025-05-27T10:58:08.229" v="281"/>
        <pc:sldMkLst>
          <pc:docMk/>
          <pc:sldMk cId="3495175925" sldId="2147476075"/>
        </pc:sldMkLst>
      </pc:sldChg>
      <pc:sldChg chg="ord">
        <pc:chgData name="Jackson Ferreira Da Silva" userId="9ea8c8b7-cc4b-4700-b864-019dadec6956" providerId="ADAL" clId="{DB9576A0-08BE-4C41-8213-9092543F86BE}" dt="2025-05-27T10:58:06.879" v="279"/>
        <pc:sldMkLst>
          <pc:docMk/>
          <pc:sldMk cId="3057699117" sldId="2147476076"/>
        </pc:sldMkLst>
      </pc:sldChg>
      <pc:sldChg chg="delSp del mod">
        <pc:chgData name="Jackson Ferreira Da Silva" userId="9ea8c8b7-cc4b-4700-b864-019dadec6956" providerId="ADAL" clId="{DB9576A0-08BE-4C41-8213-9092543F86BE}" dt="2025-05-27T11:01:08.171" v="285" actId="47"/>
        <pc:sldMkLst>
          <pc:docMk/>
          <pc:sldMk cId="3275613916" sldId="2147476083"/>
        </pc:sldMkLst>
      </pc:sldChg>
      <pc:sldChg chg="add">
        <pc:chgData name="Jackson Ferreira Da Silva" userId="9ea8c8b7-cc4b-4700-b864-019dadec6956" providerId="ADAL" clId="{DB9576A0-08BE-4C41-8213-9092543F86BE}" dt="2025-05-27T10:45:52.057" v="192"/>
        <pc:sldMkLst>
          <pc:docMk/>
          <pc:sldMk cId="2403641974" sldId="2147476088"/>
        </pc:sldMkLst>
      </pc:sldChg>
      <pc:sldChg chg="addSp delSp modSp add mod">
        <pc:chgData name="Jackson Ferreira Da Silva" userId="9ea8c8b7-cc4b-4700-b864-019dadec6956" providerId="ADAL" clId="{DB9576A0-08BE-4C41-8213-9092543F86BE}" dt="2025-05-27T11:47:39.127" v="423" actId="14100"/>
        <pc:sldMkLst>
          <pc:docMk/>
          <pc:sldMk cId="2988344202" sldId="2147476089"/>
        </pc:sldMkLst>
      </pc:sldChg>
      <pc:sldChg chg="add del">
        <pc:chgData name="Jackson Ferreira Da Silva" userId="9ea8c8b7-cc4b-4700-b864-019dadec6956" providerId="ADAL" clId="{DB9576A0-08BE-4C41-8213-9092543F86BE}" dt="2025-05-27T11:45:46.313" v="414"/>
        <pc:sldMkLst>
          <pc:docMk/>
          <pc:sldMk cId="2045891204" sldId="2147476090"/>
        </pc:sldMkLst>
      </pc:sldChg>
    </pc:docChg>
  </pc:docChgLst>
  <pc:docChgLst>
    <pc:chgData name="Juliana Ferreira Da Silva" userId="61e956da-14a0-4d24-af3c-3a9c93d0295e" providerId="ADAL" clId="{325DC4E7-0823-4A59-8DD7-761112AF6531}"/>
    <pc:docChg chg="undo custSel modSld">
      <pc:chgData name="Juliana Ferreira Da Silva" userId="61e956da-14a0-4d24-af3c-3a9c93d0295e" providerId="ADAL" clId="{325DC4E7-0823-4A59-8DD7-761112AF6531}" dt="2025-05-27T10:53:55.184" v="26" actId="1076"/>
      <pc:docMkLst>
        <pc:docMk/>
      </pc:docMkLst>
      <pc:sldChg chg="addSp delSp modSp mod">
        <pc:chgData name="Juliana Ferreira Da Silva" userId="61e956da-14a0-4d24-af3c-3a9c93d0295e" providerId="ADAL" clId="{325DC4E7-0823-4A59-8DD7-761112AF6531}" dt="2025-05-27T10:52:23.629" v="15" actId="1038"/>
        <pc:sldMkLst>
          <pc:docMk/>
          <pc:sldMk cId="536017777" sldId="2147476068"/>
        </pc:sldMkLst>
      </pc:sldChg>
      <pc:sldChg chg="addSp delSp modSp mod">
        <pc:chgData name="Juliana Ferreira Da Silva" userId="61e956da-14a0-4d24-af3c-3a9c93d0295e" providerId="ADAL" clId="{325DC4E7-0823-4A59-8DD7-761112AF6531}" dt="2025-05-27T10:53:55.184" v="26" actId="1076"/>
        <pc:sldMkLst>
          <pc:docMk/>
          <pc:sldMk cId="1551639993" sldId="2147476070"/>
        </pc:sldMkLst>
      </pc:sldChg>
    </pc:docChg>
  </pc:docChgLst>
  <pc:docChgLst>
    <pc:chgData name="Ilea Nascimento Paixao" userId="S::ilea.paixao@auraminerals.com::9ce6c8e6-41b1-48ee-a963-5f1712941bd6" providerId="AD" clId="Web-{7E09397E-D928-0983-863A-EF24FBA7EB77}"/>
    <pc:docChg chg="addSld delSld modSld sldOrd modSection">
      <pc:chgData name="Ilea Nascimento Paixao" userId="S::ilea.paixao@auraminerals.com::9ce6c8e6-41b1-48ee-a963-5f1712941bd6" providerId="AD" clId="Web-{7E09397E-D928-0983-863A-EF24FBA7EB77}" dt="2025-04-26T10:24:55.942" v="331" actId="20577"/>
      <pc:docMkLst>
        <pc:docMk/>
      </pc:docMkLst>
      <pc:sldChg chg="del">
        <pc:chgData name="Ilea Nascimento Paixao" userId="S::ilea.paixao@auraminerals.com::9ce6c8e6-41b1-48ee-a963-5f1712941bd6" providerId="AD" clId="Web-{7E09397E-D928-0983-863A-EF24FBA7EB77}" dt="2025-04-26T10:12:31.163" v="20"/>
        <pc:sldMkLst>
          <pc:docMk/>
          <pc:sldMk cId="1727705065" sldId="2147476006"/>
        </pc:sldMkLst>
      </pc:sldChg>
      <pc:sldChg chg="add replId">
        <pc:chgData name="Ilea Nascimento Paixao" userId="S::ilea.paixao@auraminerals.com::9ce6c8e6-41b1-48ee-a963-5f1712941bd6" providerId="AD" clId="Web-{7E09397E-D928-0983-863A-EF24FBA7EB77}" dt="2025-04-26T10:12:24.350" v="0"/>
        <pc:sldMkLst>
          <pc:docMk/>
          <pc:sldMk cId="1236713234" sldId="2147476056"/>
        </pc:sldMkLst>
      </pc:sldChg>
      <pc:sldChg chg="add replId">
        <pc:chgData name="Ilea Nascimento Paixao" userId="S::ilea.paixao@auraminerals.com::9ce6c8e6-41b1-48ee-a963-5f1712941bd6" providerId="AD" clId="Web-{7E09397E-D928-0983-863A-EF24FBA7EB77}" dt="2025-04-26T10:12:24.428" v="1"/>
        <pc:sldMkLst>
          <pc:docMk/>
          <pc:sldMk cId="506001340" sldId="2147476057"/>
        </pc:sldMkLst>
      </pc:sldChg>
      <pc:sldChg chg="add del replId">
        <pc:chgData name="Ilea Nascimento Paixao" userId="S::ilea.paixao@auraminerals.com::9ce6c8e6-41b1-48ee-a963-5f1712941bd6" providerId="AD" clId="Web-{7E09397E-D928-0983-863A-EF24FBA7EB77}" dt="2025-04-26T10:20:15.493" v="59"/>
        <pc:sldMkLst>
          <pc:docMk/>
          <pc:sldMk cId="2299078760" sldId="2147476058"/>
        </pc:sldMkLst>
      </pc:sldChg>
      <pc:sldChg chg="addSp modSp add replId">
        <pc:chgData name="Ilea Nascimento Paixao" userId="S::ilea.paixao@auraminerals.com::9ce6c8e6-41b1-48ee-a963-5f1712941bd6" providerId="AD" clId="Web-{7E09397E-D928-0983-863A-EF24FBA7EB77}" dt="2025-04-26T10:21:51.934" v="184" actId="20577"/>
        <pc:sldMkLst>
          <pc:docMk/>
          <pc:sldMk cId="37563515" sldId="2147476059"/>
        </pc:sldMkLst>
      </pc:sldChg>
      <pc:sldChg chg="add del replId">
        <pc:chgData name="Ilea Nascimento Paixao" userId="S::ilea.paixao@auraminerals.com::9ce6c8e6-41b1-48ee-a963-5f1712941bd6" providerId="AD" clId="Web-{7E09397E-D928-0983-863A-EF24FBA7EB77}" dt="2025-04-26T10:20:00.086" v="56"/>
        <pc:sldMkLst>
          <pc:docMk/>
          <pc:sldMk cId="4090825404" sldId="2147476060"/>
        </pc:sldMkLst>
      </pc:sldChg>
      <pc:sldChg chg="add ord replId">
        <pc:chgData name="Ilea Nascimento Paixao" userId="S::ilea.paixao@auraminerals.com::9ce6c8e6-41b1-48ee-a963-5f1712941bd6" providerId="AD" clId="Web-{7E09397E-D928-0983-863A-EF24FBA7EB77}" dt="2025-04-26T10:19:21.929" v="50"/>
        <pc:sldMkLst>
          <pc:docMk/>
          <pc:sldMk cId="2346081389" sldId="2147476061"/>
        </pc:sldMkLst>
      </pc:sldChg>
      <pc:sldChg chg="add ord replId">
        <pc:chgData name="Ilea Nascimento Paixao" userId="S::ilea.paixao@auraminerals.com::9ce6c8e6-41b1-48ee-a963-5f1712941bd6" providerId="AD" clId="Web-{7E09397E-D928-0983-863A-EF24FBA7EB77}" dt="2025-04-26T10:19:24.804" v="51"/>
        <pc:sldMkLst>
          <pc:docMk/>
          <pc:sldMk cId="1507077525" sldId="2147476062"/>
        </pc:sldMkLst>
      </pc:sldChg>
      <pc:sldChg chg="add del replId">
        <pc:chgData name="Ilea Nascimento Paixao" userId="S::ilea.paixao@auraminerals.com::9ce6c8e6-41b1-48ee-a963-5f1712941bd6" providerId="AD" clId="Web-{7E09397E-D928-0983-863A-EF24FBA7EB77}" dt="2025-04-26T10:19:51.242" v="54"/>
        <pc:sldMkLst>
          <pc:docMk/>
          <pc:sldMk cId="2924644765" sldId="2147476063"/>
        </pc:sldMkLst>
      </pc:sldChg>
      <pc:sldChg chg="add ord replId">
        <pc:chgData name="Ilea Nascimento Paixao" userId="S::ilea.paixao@auraminerals.com::9ce6c8e6-41b1-48ee-a963-5f1712941bd6" providerId="AD" clId="Web-{7E09397E-D928-0983-863A-EF24FBA7EB77}" dt="2025-04-26T10:19:30.648" v="52"/>
        <pc:sldMkLst>
          <pc:docMk/>
          <pc:sldMk cId="1786416786" sldId="2147476064"/>
        </pc:sldMkLst>
      </pc:sldChg>
      <pc:sldChg chg="add del replId">
        <pc:chgData name="Ilea Nascimento Paixao" userId="S::ilea.paixao@auraminerals.com::9ce6c8e6-41b1-48ee-a963-5f1712941bd6" providerId="AD" clId="Web-{7E09397E-D928-0983-863A-EF24FBA7EB77}" dt="2025-04-26T10:18:45.037" v="46"/>
        <pc:sldMkLst>
          <pc:docMk/>
          <pc:sldMk cId="4135506211" sldId="2147476065"/>
        </pc:sldMkLst>
      </pc:sldChg>
      <pc:sldChg chg="add replId">
        <pc:chgData name="Ilea Nascimento Paixao" userId="S::ilea.paixao@auraminerals.com::9ce6c8e6-41b1-48ee-a963-5f1712941bd6" providerId="AD" clId="Web-{7E09397E-D928-0983-863A-EF24FBA7EB77}" dt="2025-04-26T10:12:25.569" v="10"/>
        <pc:sldMkLst>
          <pc:docMk/>
          <pc:sldMk cId="2103656786" sldId="2147476066"/>
        </pc:sldMkLst>
      </pc:sldChg>
      <pc:sldChg chg="add replId">
        <pc:chgData name="Ilea Nascimento Paixao" userId="S::ilea.paixao@auraminerals.com::9ce6c8e6-41b1-48ee-a963-5f1712941bd6" providerId="AD" clId="Web-{7E09397E-D928-0983-863A-EF24FBA7EB77}" dt="2025-04-26T10:12:25.725" v="11"/>
        <pc:sldMkLst>
          <pc:docMk/>
          <pc:sldMk cId="1751631981" sldId="2147476067"/>
        </pc:sldMkLst>
      </pc:sldChg>
      <pc:sldChg chg="add replId">
        <pc:chgData name="Ilea Nascimento Paixao" userId="S::ilea.paixao@auraminerals.com::9ce6c8e6-41b1-48ee-a963-5f1712941bd6" providerId="AD" clId="Web-{7E09397E-D928-0983-863A-EF24FBA7EB77}" dt="2025-04-26T10:12:25.819" v="12"/>
        <pc:sldMkLst>
          <pc:docMk/>
          <pc:sldMk cId="536017777" sldId="2147476068"/>
        </pc:sldMkLst>
      </pc:sldChg>
      <pc:sldChg chg="add del replId">
        <pc:chgData name="Ilea Nascimento Paixao" userId="S::ilea.paixao@auraminerals.com::9ce6c8e6-41b1-48ee-a963-5f1712941bd6" providerId="AD" clId="Web-{7E09397E-D928-0983-863A-EF24FBA7EB77}" dt="2025-04-26T10:18:18.239" v="42"/>
        <pc:sldMkLst>
          <pc:docMk/>
          <pc:sldMk cId="3604501477" sldId="2147476069"/>
        </pc:sldMkLst>
      </pc:sldChg>
      <pc:sldChg chg="add replId">
        <pc:chgData name="Ilea Nascimento Paixao" userId="S::ilea.paixao@auraminerals.com::9ce6c8e6-41b1-48ee-a963-5f1712941bd6" providerId="AD" clId="Web-{7E09397E-D928-0983-863A-EF24FBA7EB77}" dt="2025-04-26T10:12:26.038" v="14"/>
        <pc:sldMkLst>
          <pc:docMk/>
          <pc:sldMk cId="1551639993" sldId="2147476070"/>
        </pc:sldMkLst>
      </pc:sldChg>
      <pc:sldChg chg="add del replId">
        <pc:chgData name="Ilea Nascimento Paixao" userId="S::ilea.paixao@auraminerals.com::9ce6c8e6-41b1-48ee-a963-5f1712941bd6" providerId="AD" clId="Web-{7E09397E-D928-0983-863A-EF24FBA7EB77}" dt="2025-04-26T10:16:36.891" v="37"/>
        <pc:sldMkLst>
          <pc:docMk/>
          <pc:sldMk cId="493743350" sldId="2147476071"/>
        </pc:sldMkLst>
      </pc:sldChg>
      <pc:sldChg chg="add replId">
        <pc:chgData name="Ilea Nascimento Paixao" userId="S::ilea.paixao@auraminerals.com::9ce6c8e6-41b1-48ee-a963-5f1712941bd6" providerId="AD" clId="Web-{7E09397E-D928-0983-863A-EF24FBA7EB77}" dt="2025-04-26T10:12:26.241" v="16"/>
        <pc:sldMkLst>
          <pc:docMk/>
          <pc:sldMk cId="1784135998" sldId="2147476072"/>
        </pc:sldMkLst>
      </pc:sldChg>
      <pc:sldChg chg="add del replId">
        <pc:chgData name="Ilea Nascimento Paixao" userId="S::ilea.paixao@auraminerals.com::9ce6c8e6-41b1-48ee-a963-5f1712941bd6" providerId="AD" clId="Web-{7E09397E-D928-0983-863A-EF24FBA7EB77}" dt="2025-04-26T10:16:19.687" v="33"/>
        <pc:sldMkLst>
          <pc:docMk/>
          <pc:sldMk cId="1698597022" sldId="2147476073"/>
        </pc:sldMkLst>
      </pc:sldChg>
      <pc:sldChg chg="modSp add replId">
        <pc:chgData name="Ilea Nascimento Paixao" userId="S::ilea.paixao@auraminerals.com::9ce6c8e6-41b1-48ee-a963-5f1712941bd6" providerId="AD" clId="Web-{7E09397E-D928-0983-863A-EF24FBA7EB77}" dt="2025-04-26T10:12:51.336" v="31" actId="20577"/>
        <pc:sldMkLst>
          <pc:docMk/>
          <pc:sldMk cId="3477093161" sldId="2147476074"/>
        </pc:sldMkLst>
      </pc:sldChg>
      <pc:sldChg chg="add replId">
        <pc:chgData name="Ilea Nascimento Paixao" userId="S::ilea.paixao@auraminerals.com::9ce6c8e6-41b1-48ee-a963-5f1712941bd6" providerId="AD" clId="Web-{7E09397E-D928-0983-863A-EF24FBA7EB77}" dt="2025-04-26T10:12:26.522" v="19"/>
        <pc:sldMkLst>
          <pc:docMk/>
          <pc:sldMk cId="3495175925" sldId="2147476075"/>
        </pc:sldMkLst>
      </pc:sldChg>
      <pc:sldChg chg="modSp add replId">
        <pc:chgData name="Ilea Nascimento Paixao" userId="S::ilea.paixao@auraminerals.com::9ce6c8e6-41b1-48ee-a963-5f1712941bd6" providerId="AD" clId="Web-{7E09397E-D928-0983-863A-EF24FBA7EB77}" dt="2025-04-26T10:16:29.812" v="35" actId="20577"/>
        <pc:sldMkLst>
          <pc:docMk/>
          <pc:sldMk cId="3057699117" sldId="2147476076"/>
        </pc:sldMkLst>
      </pc:sldChg>
      <pc:sldChg chg="modSp add replId">
        <pc:chgData name="Ilea Nascimento Paixao" userId="S::ilea.paixao@auraminerals.com::9ce6c8e6-41b1-48ee-a963-5f1712941bd6" providerId="AD" clId="Web-{7E09397E-D928-0983-863A-EF24FBA7EB77}" dt="2025-04-26T10:16:46.469" v="39" actId="20577"/>
        <pc:sldMkLst>
          <pc:docMk/>
          <pc:sldMk cId="3984379588" sldId="2147476077"/>
        </pc:sldMkLst>
      </pc:sldChg>
      <pc:sldChg chg="add del replId">
        <pc:chgData name="Ilea Nascimento Paixao" userId="S::ilea.paixao@auraminerals.com::9ce6c8e6-41b1-48ee-a963-5f1712941bd6" providerId="AD" clId="Web-{7E09397E-D928-0983-863A-EF24FBA7EB77}" dt="2025-04-26T10:18:48.677" v="47"/>
        <pc:sldMkLst>
          <pc:docMk/>
          <pc:sldMk cId="2635057209" sldId="2147476078"/>
        </pc:sldMkLst>
      </pc:sldChg>
      <pc:sldChg chg="modSp add replId">
        <pc:chgData name="Ilea Nascimento Paixao" userId="S::ilea.paixao@auraminerals.com::9ce6c8e6-41b1-48ee-a963-5f1712941bd6" providerId="AD" clId="Web-{7E09397E-D928-0983-863A-EF24FBA7EB77}" dt="2025-04-26T10:18:25.583" v="44" actId="20577"/>
        <pc:sldMkLst>
          <pc:docMk/>
          <pc:sldMk cId="3599629728" sldId="2147476079"/>
        </pc:sldMkLst>
      </pc:sldChg>
      <pc:sldChg chg="modSp add replId">
        <pc:chgData name="Ilea Nascimento Paixao" userId="S::ilea.paixao@auraminerals.com::9ce6c8e6-41b1-48ee-a963-5f1712941bd6" providerId="AD" clId="Web-{7E09397E-D928-0983-863A-EF24FBA7EB77}" dt="2025-04-26T10:19:17.944" v="49" actId="20577"/>
        <pc:sldMkLst>
          <pc:docMk/>
          <pc:sldMk cId="276141428" sldId="2147476080"/>
        </pc:sldMkLst>
      </pc:sldChg>
      <pc:sldChg chg="modSp add replId">
        <pc:chgData name="Ilea Nascimento Paixao" userId="S::ilea.paixao@auraminerals.com::9ce6c8e6-41b1-48ee-a963-5f1712941bd6" providerId="AD" clId="Web-{7E09397E-D928-0983-863A-EF24FBA7EB77}" dt="2025-04-26T10:20:10.212" v="58" actId="20577"/>
        <pc:sldMkLst>
          <pc:docMk/>
          <pc:sldMk cId="1738344013" sldId="2147476081"/>
        </pc:sldMkLst>
      </pc:sldChg>
      <pc:sldChg chg="modSp add replId">
        <pc:chgData name="Ilea Nascimento Paixao" userId="S::ilea.paixao@auraminerals.com::9ce6c8e6-41b1-48ee-a963-5f1712941bd6" providerId="AD" clId="Web-{7E09397E-D928-0983-863A-EF24FBA7EB77}" dt="2025-04-26T10:20:30.525" v="62" actId="20577"/>
        <pc:sldMkLst>
          <pc:docMk/>
          <pc:sldMk cId="2217222759" sldId="2147476082"/>
        </pc:sldMkLst>
      </pc:sldChg>
      <pc:sldChg chg="add del replId">
        <pc:chgData name="Ilea Nascimento Paixao" userId="S::ilea.paixao@auraminerals.com::9ce6c8e6-41b1-48ee-a963-5f1712941bd6" providerId="AD" clId="Web-{7E09397E-D928-0983-863A-EF24FBA7EB77}" dt="2025-04-26T10:22:12.575" v="188"/>
        <pc:sldMkLst>
          <pc:docMk/>
          <pc:sldMk cId="2370698719" sldId="2147476083"/>
        </pc:sldMkLst>
      </pc:sldChg>
      <pc:sldChg chg="addSp delSp modSp add replId">
        <pc:chgData name="Ilea Nascimento Paixao" userId="S::ilea.paixao@auraminerals.com::9ce6c8e6-41b1-48ee-a963-5f1712941bd6" providerId="AD" clId="Web-{7E09397E-D928-0983-863A-EF24FBA7EB77}" dt="2025-04-26T10:24:55.942" v="331" actId="20577"/>
        <pc:sldMkLst>
          <pc:docMk/>
          <pc:sldMk cId="3275613916" sldId="2147476083"/>
        </pc:sldMkLst>
      </pc:sldChg>
    </pc:docChg>
  </pc:docChgLst>
  <pc:docChgLst>
    <pc:chgData name="Luiza Murta Gatti" userId="d45e09de-ce01-4207-86a4-99141bb0f581" providerId="ADAL" clId="{326EE1AF-8D9B-44F2-80E0-D1F14D122561}"/>
    <pc:docChg chg="undo custSel addSld delSld modSld modSection">
      <pc:chgData name="Luiza Murta Gatti" userId="d45e09de-ce01-4207-86a4-99141bb0f581" providerId="ADAL" clId="{326EE1AF-8D9B-44F2-80E0-D1F14D122561}" dt="2025-04-24T13:01:41.246" v="3553" actId="20577"/>
      <pc:docMkLst>
        <pc:docMk/>
      </pc:docMkLst>
      <pc:sldChg chg="addSp delSp modSp mod">
        <pc:chgData name="Luiza Murta Gatti" userId="d45e09de-ce01-4207-86a4-99141bb0f581" providerId="ADAL" clId="{326EE1AF-8D9B-44F2-80E0-D1F14D122561}" dt="2025-04-23T16:52:44.610" v="52" actId="1076"/>
        <pc:sldMkLst>
          <pc:docMk/>
          <pc:sldMk cId="2669439839" sldId="2147476032"/>
        </pc:sldMkLst>
      </pc:sldChg>
      <pc:sldChg chg="addSp delSp modSp mod">
        <pc:chgData name="Luiza Murta Gatti" userId="d45e09de-ce01-4207-86a4-99141bb0f581" providerId="ADAL" clId="{326EE1AF-8D9B-44F2-80E0-D1F14D122561}" dt="2025-04-23T16:48:16.242" v="45" actId="478"/>
        <pc:sldMkLst>
          <pc:docMk/>
          <pc:sldMk cId="1602685937" sldId="2147476033"/>
        </pc:sldMkLst>
      </pc:sldChg>
      <pc:sldChg chg="addSp delSp modSp mod modShow">
        <pc:chgData name="Luiza Murta Gatti" userId="d45e09de-ce01-4207-86a4-99141bb0f581" providerId="ADAL" clId="{326EE1AF-8D9B-44F2-80E0-D1F14D122561}" dt="2025-04-24T12:59:37.228" v="3546" actId="729"/>
        <pc:sldMkLst>
          <pc:docMk/>
          <pc:sldMk cId="3592187615" sldId="2147476034"/>
        </pc:sldMkLst>
      </pc:sldChg>
      <pc:sldChg chg="addSp modSp mod">
        <pc:chgData name="Luiza Murta Gatti" userId="d45e09de-ce01-4207-86a4-99141bb0f581" providerId="ADAL" clId="{326EE1AF-8D9B-44F2-80E0-D1F14D122561}" dt="2025-04-23T17:02:53.429" v="83" actId="1076"/>
        <pc:sldMkLst>
          <pc:docMk/>
          <pc:sldMk cId="351175153" sldId="2147476036"/>
        </pc:sldMkLst>
      </pc:sldChg>
      <pc:sldChg chg="addSp delSp modSp mod">
        <pc:chgData name="Luiza Murta Gatti" userId="d45e09de-ce01-4207-86a4-99141bb0f581" providerId="ADAL" clId="{326EE1AF-8D9B-44F2-80E0-D1F14D122561}" dt="2025-04-24T13:01:41.246" v="3553" actId="20577"/>
        <pc:sldMkLst>
          <pc:docMk/>
          <pc:sldMk cId="4275080016" sldId="2147476038"/>
        </pc:sldMkLst>
      </pc:sldChg>
      <pc:sldChg chg="addSp delSp modSp del mod">
        <pc:chgData name="Luiza Murta Gatti" userId="d45e09de-ce01-4207-86a4-99141bb0f581" providerId="ADAL" clId="{326EE1AF-8D9B-44F2-80E0-D1F14D122561}" dt="2025-04-23T17:02:49.128" v="82" actId="47"/>
        <pc:sldMkLst>
          <pc:docMk/>
          <pc:sldMk cId="873713960" sldId="2147476039"/>
        </pc:sldMkLst>
      </pc:sldChg>
      <pc:sldChg chg="addSp delSp modSp mod">
        <pc:chgData name="Luiza Murta Gatti" userId="d45e09de-ce01-4207-86a4-99141bb0f581" providerId="ADAL" clId="{326EE1AF-8D9B-44F2-80E0-D1F14D122561}" dt="2025-04-23T16:55:14.269" v="54" actId="478"/>
        <pc:sldMkLst>
          <pc:docMk/>
          <pc:sldMk cId="455569028" sldId="2147476041"/>
        </pc:sldMkLst>
      </pc:sldChg>
      <pc:sldChg chg="addSp modSp mod">
        <pc:chgData name="Luiza Murta Gatti" userId="d45e09de-ce01-4207-86a4-99141bb0f581" providerId="ADAL" clId="{326EE1AF-8D9B-44F2-80E0-D1F14D122561}" dt="2025-04-23T17:10:40.543" v="93" actId="20577"/>
        <pc:sldMkLst>
          <pc:docMk/>
          <pc:sldMk cId="1967063627" sldId="2147476043"/>
        </pc:sldMkLst>
      </pc:sldChg>
      <pc:sldChg chg="addSp modSp mod">
        <pc:chgData name="Luiza Murta Gatti" userId="d45e09de-ce01-4207-86a4-99141bb0f581" providerId="ADAL" clId="{326EE1AF-8D9B-44F2-80E0-D1F14D122561}" dt="2025-04-23T16:29:14.732" v="27" actId="20577"/>
        <pc:sldMkLst>
          <pc:docMk/>
          <pc:sldMk cId="1801003238" sldId="2147476051"/>
        </pc:sldMkLst>
      </pc:sldChg>
      <pc:sldChg chg="addSp delSp modSp add mod">
        <pc:chgData name="Luiza Murta Gatti" userId="d45e09de-ce01-4207-86a4-99141bb0f581" providerId="ADAL" clId="{326EE1AF-8D9B-44F2-80E0-D1F14D122561}" dt="2025-04-24T12:59:14.995" v="3545" actId="20577"/>
        <pc:sldMkLst>
          <pc:docMk/>
          <pc:sldMk cId="2188537962" sldId="2147476054"/>
        </pc:sldMkLst>
      </pc:sldChg>
    </pc:docChg>
  </pc:docChgLst>
  <pc:docChgLst>
    <pc:chgData name="Jackson Ferreira Da Silva" userId="9ea8c8b7-cc4b-4700-b864-019dadec6956" providerId="ADAL" clId="{AD1EA8A9-6C2C-4BC7-B3F5-6B7E10EB8513}"/>
    <pc:docChg chg="delSld modSld modSection">
      <pc:chgData name="Jackson Ferreira Da Silva" userId="9ea8c8b7-cc4b-4700-b864-019dadec6956" providerId="ADAL" clId="{AD1EA8A9-6C2C-4BC7-B3F5-6B7E10EB8513}" dt="2025-07-29T11:14:31.769" v="17" actId="1076"/>
      <pc:docMkLst>
        <pc:docMk/>
      </pc:docMkLst>
      <pc:sldChg chg="modSp mod">
        <pc:chgData name="Jackson Ferreira Da Silva" userId="9ea8c8b7-cc4b-4700-b864-019dadec6956" providerId="ADAL" clId="{AD1EA8A9-6C2C-4BC7-B3F5-6B7E10EB8513}" dt="2025-07-29T11:14:31.769" v="17" actId="1076"/>
        <pc:sldMkLst>
          <pc:docMk/>
          <pc:sldMk cId="1411299618" sldId="366"/>
        </pc:sldMkLst>
      </pc:sldChg>
      <pc:sldChg chg="del">
        <pc:chgData name="Jackson Ferreira Da Silva" userId="9ea8c8b7-cc4b-4700-b864-019dadec6956" providerId="ADAL" clId="{AD1EA8A9-6C2C-4BC7-B3F5-6B7E10EB8513}" dt="2025-07-29T11:13:36.979" v="9" actId="47"/>
        <pc:sldMkLst>
          <pc:docMk/>
          <pc:sldMk cId="709736559" sldId="433"/>
        </pc:sldMkLst>
      </pc:sldChg>
      <pc:sldChg chg="del">
        <pc:chgData name="Jackson Ferreira Da Silva" userId="9ea8c8b7-cc4b-4700-b864-019dadec6956" providerId="ADAL" clId="{AD1EA8A9-6C2C-4BC7-B3F5-6B7E10EB8513}" dt="2025-07-29T11:13:37.484" v="10" actId="47"/>
        <pc:sldMkLst>
          <pc:docMk/>
          <pc:sldMk cId="3235974565" sldId="434"/>
        </pc:sldMkLst>
      </pc:sldChg>
      <pc:sldChg chg="del">
        <pc:chgData name="Jackson Ferreira Da Silva" userId="9ea8c8b7-cc4b-4700-b864-019dadec6956" providerId="ADAL" clId="{AD1EA8A9-6C2C-4BC7-B3F5-6B7E10EB8513}" dt="2025-07-29T11:13:37.971" v="11" actId="47"/>
        <pc:sldMkLst>
          <pc:docMk/>
          <pc:sldMk cId="1248498675" sldId="435"/>
        </pc:sldMkLst>
      </pc:sldChg>
      <pc:sldChg chg="del">
        <pc:chgData name="Jackson Ferreira Da Silva" userId="9ea8c8b7-cc4b-4700-b864-019dadec6956" providerId="ADAL" clId="{AD1EA8A9-6C2C-4BC7-B3F5-6B7E10EB8513}" dt="2025-07-29T11:13:46.539" v="14" actId="47"/>
        <pc:sldMkLst>
          <pc:docMk/>
          <pc:sldMk cId="2346081389" sldId="2147476061"/>
        </pc:sldMkLst>
      </pc:sldChg>
      <pc:sldChg chg="mod modShow">
        <pc:chgData name="Jackson Ferreira Da Silva" userId="9ea8c8b7-cc4b-4700-b864-019dadec6956" providerId="ADAL" clId="{AD1EA8A9-6C2C-4BC7-B3F5-6B7E10EB8513}" dt="2025-07-29T11:13:33.744" v="8" actId="729"/>
        <pc:sldMkLst>
          <pc:docMk/>
          <pc:sldMk cId="1751631981" sldId="2147476067"/>
        </pc:sldMkLst>
      </pc:sldChg>
      <pc:sldChg chg="addSp delSp modSp mod">
        <pc:chgData name="Jackson Ferreira Da Silva" userId="9ea8c8b7-cc4b-4700-b864-019dadec6956" providerId="ADAL" clId="{AD1EA8A9-6C2C-4BC7-B3F5-6B7E10EB8513}" dt="2025-07-29T11:13:28.538" v="7" actId="1076"/>
        <pc:sldMkLst>
          <pc:docMk/>
          <pc:sldMk cId="536017777" sldId="2147476068"/>
        </pc:sldMkLst>
      </pc:sldChg>
      <pc:sldChg chg="addSp delSp modSp mod">
        <pc:chgData name="Jackson Ferreira Da Silva" userId="9ea8c8b7-cc4b-4700-b864-019dadec6956" providerId="ADAL" clId="{AD1EA8A9-6C2C-4BC7-B3F5-6B7E10EB8513}" dt="2025-07-29T11:13:23.848" v="4" actId="1076"/>
        <pc:sldMkLst>
          <pc:docMk/>
          <pc:sldMk cId="1551639993" sldId="2147476070"/>
        </pc:sldMkLst>
      </pc:sldChg>
      <pc:sldChg chg="del">
        <pc:chgData name="Jackson Ferreira Da Silva" userId="9ea8c8b7-cc4b-4700-b864-019dadec6956" providerId="ADAL" clId="{AD1EA8A9-6C2C-4BC7-B3F5-6B7E10EB8513}" dt="2025-07-29T11:13:38.853" v="12" actId="47"/>
        <pc:sldMkLst>
          <pc:docMk/>
          <pc:sldMk cId="2403641974" sldId="2147476088"/>
        </pc:sldMkLst>
      </pc:sldChg>
      <pc:sldChg chg="del">
        <pc:chgData name="Jackson Ferreira Da Silva" userId="9ea8c8b7-cc4b-4700-b864-019dadec6956" providerId="ADAL" clId="{AD1EA8A9-6C2C-4BC7-B3F5-6B7E10EB8513}" dt="2025-07-29T11:13:41.496" v="13" actId="47"/>
        <pc:sldMkLst>
          <pc:docMk/>
          <pc:sldMk cId="2988344202" sldId="2147476089"/>
        </pc:sldMkLst>
      </pc:sldChg>
      <pc:sldMasterChg chg="delSldLayout">
        <pc:chgData name="Jackson Ferreira Da Silva" userId="9ea8c8b7-cc4b-4700-b864-019dadec6956" providerId="ADAL" clId="{AD1EA8A9-6C2C-4BC7-B3F5-6B7E10EB8513}" dt="2025-07-29T11:13:38.853" v="12" actId="47"/>
        <pc:sldMasterMkLst>
          <pc:docMk/>
          <pc:sldMasterMk cId="1826161352" sldId="2147483669"/>
        </pc:sldMasterMkLst>
        <pc:sldLayoutChg chg="del">
          <pc:chgData name="Jackson Ferreira Da Silva" userId="9ea8c8b7-cc4b-4700-b864-019dadec6956" providerId="ADAL" clId="{AD1EA8A9-6C2C-4BC7-B3F5-6B7E10EB8513}" dt="2025-07-29T11:13:38.853" v="12" actId="47"/>
          <pc:sldLayoutMkLst>
            <pc:docMk/>
            <pc:sldMasterMk cId="1826161352" sldId="2147483669"/>
            <pc:sldLayoutMk cId="3293019444" sldId="2147484084"/>
          </pc:sldLayoutMkLst>
        </pc:sldLayoutChg>
      </pc:sldMasterChg>
    </pc:docChg>
  </pc:docChgLst>
  <pc:docChgLst>
    <pc:chgData name="Jhonatan Magalhaes Valadares" userId="72e683c6-46bf-4809-ab1b-c9cfd4ad4890" providerId="ADAL" clId="{484D4710-7681-46FB-8259-B43F4D046BFB}"/>
    <pc:docChg chg="custSel modSld">
      <pc:chgData name="Jhonatan Magalhaes Valadares" userId="72e683c6-46bf-4809-ab1b-c9cfd4ad4890" providerId="ADAL" clId="{484D4710-7681-46FB-8259-B43F4D046BFB}" dt="2025-06-03T15:05:49.200" v="0" actId="700"/>
      <pc:docMkLst>
        <pc:docMk/>
      </pc:docMkLst>
      <pc:sldChg chg="modSp mod chgLayout">
        <pc:chgData name="Jhonatan Magalhaes Valadares" userId="72e683c6-46bf-4809-ab1b-c9cfd4ad4890" providerId="ADAL" clId="{484D4710-7681-46FB-8259-B43F4D046BFB}" dt="2025-06-03T15:05:49.200" v="0" actId="700"/>
        <pc:sldMkLst>
          <pc:docMk/>
          <pc:sldMk cId="1411299618" sldId="366"/>
        </pc:sldMkLst>
      </pc:sldChg>
    </pc:docChg>
  </pc:docChgLst>
  <pc:docChgLst>
    <pc:chgData name="Jhonatan Magalhaes Valadares" userId="S::jhonatan.valadares@auraminerals.com::72e683c6-46bf-4809-ab1b-c9cfd4ad4890" providerId="AD" clId="Web-{779E735E-8909-34AF-EBEF-34968A3A3F6B}"/>
    <pc:docChg chg="modSld">
      <pc:chgData name="Jhonatan Magalhaes Valadares" userId="S::jhonatan.valadares@auraminerals.com::72e683c6-46bf-4809-ab1b-c9cfd4ad4890" providerId="AD" clId="Web-{779E735E-8909-34AF-EBEF-34968A3A3F6B}" dt="2025-07-28T19:32:49.392" v="93"/>
      <pc:docMkLst>
        <pc:docMk/>
      </pc:docMkLst>
      <pc:sldChg chg="addSp delSp modSp">
        <pc:chgData name="Jhonatan Magalhaes Valadares" userId="S::jhonatan.valadares@auraminerals.com::72e683c6-46bf-4809-ab1b-c9cfd4ad4890" providerId="AD" clId="Web-{779E735E-8909-34AF-EBEF-34968A3A3F6B}" dt="2025-07-28T19:32:49.392" v="93"/>
        <pc:sldMkLst>
          <pc:docMk/>
          <pc:sldMk cId="977120997" sldId="2147476085"/>
        </pc:sldMkLst>
      </pc:sldChg>
      <pc:sldChg chg="addSp delSp modSp">
        <pc:chgData name="Jhonatan Magalhaes Valadares" userId="S::jhonatan.valadares@auraminerals.com::72e683c6-46bf-4809-ab1b-c9cfd4ad4890" providerId="AD" clId="Web-{779E735E-8909-34AF-EBEF-34968A3A3F6B}" dt="2025-07-28T19:11:47.341" v="53" actId="1076"/>
        <pc:sldMkLst>
          <pc:docMk/>
          <pc:sldMk cId="2523071463" sldId="2147476087"/>
        </pc:sldMkLst>
      </pc:sldChg>
    </pc:docChg>
  </pc:docChgLst>
  <pc:docChgLst>
    <pc:chgData name="Ilea Nascimento Paixao" userId="9ce6c8e6-41b1-48ee-a963-5f1712941bd6" providerId="ADAL" clId="{2312F926-5E2D-4698-8A9F-878A7F6309A6}"/>
    <pc:docChg chg="delSld modSection">
      <pc:chgData name="Ilea Nascimento Paixao" userId="9ce6c8e6-41b1-48ee-a963-5f1712941bd6" providerId="ADAL" clId="{2312F926-5E2D-4698-8A9F-878A7F6309A6}" dt="2025-03-26T13:38:00.041" v="0" actId="47"/>
      <pc:docMkLst>
        <pc:docMk/>
      </pc:docMkLst>
      <pc:sldChg chg="del">
        <pc:chgData name="Ilea Nascimento Paixao" userId="9ce6c8e6-41b1-48ee-a963-5f1712941bd6" providerId="ADAL" clId="{2312F926-5E2D-4698-8A9F-878A7F6309A6}" dt="2025-03-26T13:38:00.041" v="0" actId="47"/>
        <pc:sldMkLst>
          <pc:docMk/>
          <pc:sldMk cId="4125412150" sldId="2147475993"/>
        </pc:sldMkLst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r>
              <a:rPr lang="en-US" sz="1400" dirty="0" err="1">
                <a:solidFill>
                  <a:schemeClr val="tx1"/>
                </a:solidFill>
              </a:rPr>
              <a:t>Geração</a:t>
            </a:r>
            <a:r>
              <a:rPr lang="en-US" sz="1400" baseline="0" dirty="0">
                <a:solidFill>
                  <a:schemeClr val="tx1"/>
                </a:solidFill>
              </a:rPr>
              <a:t> de </a:t>
            </a:r>
            <a:r>
              <a:rPr lang="en-US" sz="1400" baseline="0" dirty="0" err="1">
                <a:solidFill>
                  <a:schemeClr val="tx1"/>
                </a:solidFill>
              </a:rPr>
              <a:t>resíduos</a:t>
            </a:r>
            <a:r>
              <a:rPr lang="en-US" sz="1400" baseline="0" dirty="0">
                <a:solidFill>
                  <a:schemeClr val="tx1"/>
                </a:solidFill>
              </a:rPr>
              <a:t>/</a:t>
            </a:r>
            <a:r>
              <a:rPr lang="en-US" sz="1400" baseline="0" dirty="0" err="1">
                <a:solidFill>
                  <a:schemeClr val="tx1"/>
                </a:solidFill>
              </a:rPr>
              <a:t>mês</a:t>
            </a:r>
            <a:r>
              <a:rPr lang="en-US" sz="1400" baseline="0" dirty="0">
                <a:solidFill>
                  <a:schemeClr val="tx1"/>
                </a:solidFill>
              </a:rPr>
              <a:t> (kg)</a:t>
            </a:r>
            <a:endParaRPr lang="en-US" sz="1400" dirty="0">
              <a:solidFill>
                <a:schemeClr val="tx1"/>
              </a:solidFill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2.2299582067202863E-2"/>
          <c:y val="0.2215618434070796"/>
          <c:w val="0.95094091945215375"/>
          <c:h val="0.56409138724289076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Planilha1!$B$1</c:f>
              <c:strCache>
                <c:ptCount val="1"/>
                <c:pt idx="0">
                  <c:v>Série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Planilha1!$A$2:$A$5</c:f>
              <c:strCache>
                <c:ptCount val="4"/>
                <c:pt idx="0">
                  <c:v>Pneu</c:v>
                </c:pt>
                <c:pt idx="1">
                  <c:v>Sucata </c:v>
                </c:pt>
                <c:pt idx="2">
                  <c:v>Efluentes</c:v>
                </c:pt>
                <c:pt idx="3">
                  <c:v>Outros </c:v>
                </c:pt>
              </c:strCache>
            </c:strRef>
          </c:cat>
          <c:val>
            <c:numRef>
              <c:f>Planilha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9DC-4284-9B0A-FE11F4B0A5C2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215803760"/>
        <c:axId val="215802800"/>
      </c:barChart>
      <c:catAx>
        <c:axId val="21580376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215802800"/>
        <c:crosses val="autoZero"/>
        <c:auto val="1"/>
        <c:lblAlgn val="ctr"/>
        <c:lblOffset val="100"/>
        <c:noMultiLvlLbl val="0"/>
      </c:catAx>
      <c:valAx>
        <c:axId val="215802800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21580376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>
            <a:extLst>
              <a:ext uri="{FF2B5EF4-FFF2-40B4-BE49-F238E27FC236}">
                <a16:creationId xmlns:a16="http://schemas.microsoft.com/office/drawing/2014/main" id="{2572FE05-4A93-C867-2E96-D13379903CF3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>
            <a:extLst>
              <a:ext uri="{FF2B5EF4-FFF2-40B4-BE49-F238E27FC236}">
                <a16:creationId xmlns:a16="http://schemas.microsoft.com/office/drawing/2014/main" id="{39F9A6F7-B8FE-CC60-68C0-D13BA8CBC34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A180962-7FAF-44B1-96D5-CFACA975D2D3}" type="datetimeFigureOut">
              <a:rPr lang="pt-BR" smtClean="0"/>
              <a:t>16/01/2026</a:t>
            </a:fld>
            <a:endParaRPr lang="pt-BR"/>
          </a:p>
        </p:txBody>
      </p:sp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345DD607-4924-9765-F76B-587DB2DEC8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541B6703-8AF6-3974-7F93-E83526100A76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59EDFA6-2C49-4916-881D-6828571E7E37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517435613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 txBox="1">
            <a:spLocks noGrp="1"/>
          </p:cNvSpPr>
          <p:nvPr>
            <p:ph type="hdr" idx="2"/>
          </p:nvPr>
        </p:nvSpPr>
        <p:spPr>
          <a:xfrm>
            <a:off x="0" y="0"/>
            <a:ext cx="2971800" cy="458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" name="Google Shape;4;n"/>
          <p:cNvSpPr txBox="1">
            <a:spLocks noGrp="1"/>
          </p:cNvSpPr>
          <p:nvPr>
            <p:ph type="dt" idx="10"/>
          </p:nvPr>
        </p:nvSpPr>
        <p:spPr>
          <a:xfrm>
            <a:off x="3884613" y="0"/>
            <a:ext cx="2971800" cy="458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r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" name="Google Shape;5;n"/>
          <p:cNvSpPr>
            <a:spLocks noGrp="1" noRot="1" noChangeAspect="1"/>
          </p:cNvSpPr>
          <p:nvPr>
            <p:ph type="sldImg" idx="3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6" name="Google Shape;6;n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" name="Google Shape;7;n"/>
          <p:cNvSpPr txBox="1">
            <a:spLocks noGrp="1"/>
          </p:cNvSpPr>
          <p:nvPr>
            <p:ph type="ftr" idx="11"/>
          </p:nvPr>
        </p:nvSpPr>
        <p:spPr>
          <a:xfrm>
            <a:off x="0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" name="Google Shape;8;n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‹nº›</a:t>
            </a:fld>
            <a:endParaRPr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4572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z="1200" b="0" i="0" u="none" strike="noStrike" cap="none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1</a:t>
            </a:fld>
            <a:endParaRPr lang="en-US"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51507830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FC9F6F8-BB22-7683-1593-047B81BD78B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>
            <a:extLst>
              <a:ext uri="{FF2B5EF4-FFF2-40B4-BE49-F238E27FC236}">
                <a16:creationId xmlns:a16="http://schemas.microsoft.com/office/drawing/2014/main" id="{65689CAA-6DD4-AA42-EB8A-F9C94EBFF1E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>
            <a:extLst>
              <a:ext uri="{FF2B5EF4-FFF2-40B4-BE49-F238E27FC236}">
                <a16:creationId xmlns:a16="http://schemas.microsoft.com/office/drawing/2014/main" id="{AE541762-C58E-FD8A-DC07-FA68ED74705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3CD9B0C0-B5AF-DA1C-4479-85CB7B310EE3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z="1200" b="0" i="0" u="none" strike="noStrike" cap="none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10</a:t>
            </a:fld>
            <a:endParaRPr lang="en-US"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61559924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F4DDAF4-EFA7-1ABC-AB57-7546BE4D83D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>
            <a:extLst>
              <a:ext uri="{FF2B5EF4-FFF2-40B4-BE49-F238E27FC236}">
                <a16:creationId xmlns:a16="http://schemas.microsoft.com/office/drawing/2014/main" id="{C4EF1E7E-8FC8-9FC0-7E6A-B4B4E526BCE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>
            <a:extLst>
              <a:ext uri="{FF2B5EF4-FFF2-40B4-BE49-F238E27FC236}">
                <a16:creationId xmlns:a16="http://schemas.microsoft.com/office/drawing/2014/main" id="{6353D4AA-8E5E-0971-ECE2-421FDB079B1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D1E71669-7CE2-C9DB-C420-4DA319C8224D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z="1200" b="0" i="0" u="none" strike="noStrike" cap="none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11</a:t>
            </a:fld>
            <a:endParaRPr lang="en-US"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89808269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42ACE0D-7E84-B7E3-8181-BC72C405330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>
            <a:extLst>
              <a:ext uri="{FF2B5EF4-FFF2-40B4-BE49-F238E27FC236}">
                <a16:creationId xmlns:a16="http://schemas.microsoft.com/office/drawing/2014/main" id="{FCC35DB8-3B2D-C9E3-71A3-926D70500FE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>
            <a:extLst>
              <a:ext uri="{FF2B5EF4-FFF2-40B4-BE49-F238E27FC236}">
                <a16:creationId xmlns:a16="http://schemas.microsoft.com/office/drawing/2014/main" id="{BD912C22-FECA-63D3-2BAA-92697976036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45E27C87-1C38-E58A-8B48-9971A8889E04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z="1200" b="0" i="0" u="none" strike="noStrike" cap="none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12</a:t>
            </a:fld>
            <a:endParaRPr lang="en-US"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7694193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403AB16-1C93-C72C-6B57-E8E94A95FAB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>
            <a:extLst>
              <a:ext uri="{FF2B5EF4-FFF2-40B4-BE49-F238E27FC236}">
                <a16:creationId xmlns:a16="http://schemas.microsoft.com/office/drawing/2014/main" id="{E4ACF0D7-D588-51C6-9299-726518657A1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>
            <a:extLst>
              <a:ext uri="{FF2B5EF4-FFF2-40B4-BE49-F238E27FC236}">
                <a16:creationId xmlns:a16="http://schemas.microsoft.com/office/drawing/2014/main" id="{4224BD73-2648-37A3-2582-75304716149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43E8DBBE-D8F8-95EC-A620-4FA02BBAA2DC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z="1200" b="0" i="0" u="none" strike="noStrike" cap="none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13</a:t>
            </a:fld>
            <a:endParaRPr lang="en-US"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00492018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7E2559D-3E09-4478-9315-35B110E0B582}" type="slidenum">
              <a:rPr lang="pt-BR" smtClean="0"/>
              <a:pPr/>
              <a:t>2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1948826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2248219-979C-1B20-1A7C-6BEF13DAE31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>
            <a:extLst>
              <a:ext uri="{FF2B5EF4-FFF2-40B4-BE49-F238E27FC236}">
                <a16:creationId xmlns:a16="http://schemas.microsoft.com/office/drawing/2014/main" id="{02B4C31E-C2AF-9574-FF2B-EED965AD522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>
            <a:extLst>
              <a:ext uri="{FF2B5EF4-FFF2-40B4-BE49-F238E27FC236}">
                <a16:creationId xmlns:a16="http://schemas.microsoft.com/office/drawing/2014/main" id="{FFF12062-2278-7FF9-B617-ACDD9144077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A0A3DA5B-0687-8887-EB59-E5ADD253908C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z="1200" b="0" i="0" u="none" strike="noStrike" cap="none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3</a:t>
            </a:fld>
            <a:endParaRPr lang="en-US"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84543557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2C850BF-CBA8-CD2F-C07F-AEE15133D50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>
            <a:extLst>
              <a:ext uri="{FF2B5EF4-FFF2-40B4-BE49-F238E27FC236}">
                <a16:creationId xmlns:a16="http://schemas.microsoft.com/office/drawing/2014/main" id="{8071F147-3E01-3DA0-1680-0A5E85F3075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>
            <a:extLst>
              <a:ext uri="{FF2B5EF4-FFF2-40B4-BE49-F238E27FC236}">
                <a16:creationId xmlns:a16="http://schemas.microsoft.com/office/drawing/2014/main" id="{909613CE-7F27-AD7B-96F1-65150EB5856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B00531C9-8FBA-2E09-92AA-351346E4CAD8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z="1200" b="0" i="0" u="none" strike="noStrike" cap="none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4</a:t>
            </a:fld>
            <a:endParaRPr lang="en-US"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2288837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5E9C311-10FE-7CB7-900F-C86ABCDB54C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>
            <a:extLst>
              <a:ext uri="{FF2B5EF4-FFF2-40B4-BE49-F238E27FC236}">
                <a16:creationId xmlns:a16="http://schemas.microsoft.com/office/drawing/2014/main" id="{30F38BF7-8797-8C43-663F-561838D8213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>
            <a:extLst>
              <a:ext uri="{FF2B5EF4-FFF2-40B4-BE49-F238E27FC236}">
                <a16:creationId xmlns:a16="http://schemas.microsoft.com/office/drawing/2014/main" id="{4949C9A2-F764-170C-5C69-A6E9E517439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29E19803-0183-9DB5-1489-7C41173C150F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00000000-1234-1234-1234-123412341234}" type="slidenum">
              <a:rPr kumimoji="0" lang="en-US" sz="12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5</a:t>
            </a:fld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20938537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921C109-3DFE-28B7-D573-553ED4E20DB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>
            <a:extLst>
              <a:ext uri="{FF2B5EF4-FFF2-40B4-BE49-F238E27FC236}">
                <a16:creationId xmlns:a16="http://schemas.microsoft.com/office/drawing/2014/main" id="{726888B3-C3A2-F3D6-B539-946EE8AD565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>
            <a:extLst>
              <a:ext uri="{FF2B5EF4-FFF2-40B4-BE49-F238E27FC236}">
                <a16:creationId xmlns:a16="http://schemas.microsoft.com/office/drawing/2014/main" id="{18DC83D1-D945-FBFA-E162-2C8C0EB1DA0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3758B6F4-4F66-6C43-5C38-5FC08F57512F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z="1200" b="0" i="0" u="none" strike="noStrike" cap="none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6</a:t>
            </a:fld>
            <a:endParaRPr lang="en-US"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94007555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DEF1274-5735-0298-837E-D841C73A538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>
            <a:extLst>
              <a:ext uri="{FF2B5EF4-FFF2-40B4-BE49-F238E27FC236}">
                <a16:creationId xmlns:a16="http://schemas.microsoft.com/office/drawing/2014/main" id="{52C6E58A-C67E-CCC4-19D1-46E0E1102E8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3" name="Espaço Reservado para Anotações 2">
            <a:extLst>
              <a:ext uri="{FF2B5EF4-FFF2-40B4-BE49-F238E27FC236}">
                <a16:creationId xmlns:a16="http://schemas.microsoft.com/office/drawing/2014/main" id="{1A826548-A09C-89B6-76EB-72FAAF73044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7C44E0C5-4F2A-A313-3188-F5BA5DA337F4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z="1200" b="0" i="0" u="none" strike="noStrike" cap="none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7</a:t>
            </a:fld>
            <a:endParaRPr lang="en-US"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9638810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E6104EA-3C55-2B21-F362-BFA759A2E99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>
            <a:extLst>
              <a:ext uri="{FF2B5EF4-FFF2-40B4-BE49-F238E27FC236}">
                <a16:creationId xmlns:a16="http://schemas.microsoft.com/office/drawing/2014/main" id="{58AA5BDE-511E-9B9F-1CAA-C9AB17A8F47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>
            <a:extLst>
              <a:ext uri="{FF2B5EF4-FFF2-40B4-BE49-F238E27FC236}">
                <a16:creationId xmlns:a16="http://schemas.microsoft.com/office/drawing/2014/main" id="{83841FD4-7A1F-BDB8-579C-3E8300C1C2B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D7E15BBD-3F19-2F27-F2E9-6A41DDCA6596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z="1200" b="0" i="0" u="none" strike="noStrike" cap="none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8</a:t>
            </a:fld>
            <a:endParaRPr lang="en-US"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5751828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26B0986-D648-8CEC-A125-3BE9781826D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>
            <a:extLst>
              <a:ext uri="{FF2B5EF4-FFF2-40B4-BE49-F238E27FC236}">
                <a16:creationId xmlns:a16="http://schemas.microsoft.com/office/drawing/2014/main" id="{85CE7B7F-FC6D-30C0-15CE-F81E779C50A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>
            <a:extLst>
              <a:ext uri="{FF2B5EF4-FFF2-40B4-BE49-F238E27FC236}">
                <a16:creationId xmlns:a16="http://schemas.microsoft.com/office/drawing/2014/main" id="{9A1CAA0C-8F20-F12A-0F31-C3B79AFA5FA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61B317BA-3A20-6205-DBA6-2071D194B6D8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z="1200" b="0" i="0" u="none" strike="noStrike" cap="none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9</a:t>
            </a:fld>
            <a:endParaRPr lang="en-US"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89179831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7" Type="http://schemas.openxmlformats.org/officeDocument/2006/relationships/image" Target="../media/image5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4.png"/><Relationship Id="rId5" Type="http://schemas.openxmlformats.org/officeDocument/2006/relationships/image" Target="../media/image53.svg"/><Relationship Id="rId4" Type="http://schemas.openxmlformats.org/officeDocument/2006/relationships/image" Target="../media/image52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svg"/><Relationship Id="rId2" Type="http://schemas.openxmlformats.org/officeDocument/2006/relationships/image" Target="../media/image60.png"/><Relationship Id="rId1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svg"/><Relationship Id="rId2" Type="http://schemas.openxmlformats.org/officeDocument/2006/relationships/image" Target="../media/image60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3.svg"/><Relationship Id="rId4" Type="http://schemas.openxmlformats.org/officeDocument/2006/relationships/image" Target="../media/image2.png"/></Relationships>
</file>

<file path=ppt/slideLayouts/_rels/slideLayout10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6.png"/><Relationship Id="rId3" Type="http://schemas.openxmlformats.org/officeDocument/2006/relationships/image" Target="../media/image3.svg"/><Relationship Id="rId7" Type="http://schemas.openxmlformats.org/officeDocument/2006/relationships/image" Target="../media/image65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64.png"/><Relationship Id="rId5" Type="http://schemas.openxmlformats.org/officeDocument/2006/relationships/image" Target="../media/image63.svg"/><Relationship Id="rId4" Type="http://schemas.openxmlformats.org/officeDocument/2006/relationships/image" Target="../media/image62.png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svg"/><Relationship Id="rId2" Type="http://schemas.openxmlformats.org/officeDocument/2006/relationships/image" Target="../media/image62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66.png"/><Relationship Id="rId5" Type="http://schemas.openxmlformats.org/officeDocument/2006/relationships/image" Target="../media/image65.svg"/><Relationship Id="rId4" Type="http://schemas.openxmlformats.org/officeDocument/2006/relationships/image" Target="../media/image64.png"/></Relationships>
</file>

<file path=ppt/slideLayouts/_rels/slideLayout10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9.svg"/><Relationship Id="rId3" Type="http://schemas.openxmlformats.org/officeDocument/2006/relationships/image" Target="../media/image68.svg"/><Relationship Id="rId7" Type="http://schemas.openxmlformats.org/officeDocument/2006/relationships/image" Target="../media/image58.png"/><Relationship Id="rId2" Type="http://schemas.openxmlformats.org/officeDocument/2006/relationships/image" Target="../media/image67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69.png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svg"/><Relationship Id="rId2" Type="http://schemas.openxmlformats.org/officeDocument/2006/relationships/image" Target="../media/image60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66.png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63.svg"/><Relationship Id="rId4" Type="http://schemas.openxmlformats.org/officeDocument/2006/relationships/image" Target="../media/image62.png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63.svg"/><Relationship Id="rId4" Type="http://schemas.openxmlformats.org/officeDocument/2006/relationships/image" Target="../media/image62.png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7" Type="http://schemas.openxmlformats.org/officeDocument/2006/relationships/image" Target="../media/image65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64.png"/><Relationship Id="rId5" Type="http://schemas.openxmlformats.org/officeDocument/2006/relationships/image" Target="../media/image63.svg"/><Relationship Id="rId4" Type="http://schemas.openxmlformats.org/officeDocument/2006/relationships/image" Target="../media/image62.pn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3.svg"/><Relationship Id="rId4" Type="http://schemas.openxmlformats.org/officeDocument/2006/relationships/image" Target="../media/image62.png"/></Relationships>
</file>

<file path=ppt/slideLayouts/_rels/slideLayout1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6.png"/><Relationship Id="rId3" Type="http://schemas.openxmlformats.org/officeDocument/2006/relationships/image" Target="../media/image3.svg"/><Relationship Id="rId7" Type="http://schemas.openxmlformats.org/officeDocument/2006/relationships/image" Target="../media/image65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64.png"/><Relationship Id="rId5" Type="http://schemas.openxmlformats.org/officeDocument/2006/relationships/image" Target="../media/image63.svg"/><Relationship Id="rId4" Type="http://schemas.openxmlformats.org/officeDocument/2006/relationships/image" Target="../media/image62.png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svg"/><Relationship Id="rId7" Type="http://schemas.openxmlformats.org/officeDocument/2006/relationships/image" Target="../media/image5.svg"/><Relationship Id="rId2" Type="http://schemas.openxmlformats.org/officeDocument/2006/relationships/image" Target="../media/image70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4.png"/><Relationship Id="rId5" Type="http://schemas.openxmlformats.org/officeDocument/2006/relationships/image" Target="../media/image53.svg"/><Relationship Id="rId4" Type="http://schemas.openxmlformats.org/officeDocument/2006/relationships/image" Target="../media/image52.png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svg"/><Relationship Id="rId7" Type="http://schemas.openxmlformats.org/officeDocument/2006/relationships/image" Target="../media/image75.svg"/><Relationship Id="rId2" Type="http://schemas.openxmlformats.org/officeDocument/2006/relationships/image" Target="../media/image60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74.png"/><Relationship Id="rId5" Type="http://schemas.openxmlformats.org/officeDocument/2006/relationships/image" Target="../media/image73.svg"/><Relationship Id="rId4" Type="http://schemas.openxmlformats.org/officeDocument/2006/relationships/image" Target="../media/image72.png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svg"/><Relationship Id="rId7" Type="http://schemas.openxmlformats.org/officeDocument/2006/relationships/image" Target="../media/image77.svg"/><Relationship Id="rId2" Type="http://schemas.openxmlformats.org/officeDocument/2006/relationships/image" Target="../media/image54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76.png"/><Relationship Id="rId5" Type="http://schemas.openxmlformats.org/officeDocument/2006/relationships/image" Target="../media/image59.svg"/><Relationship Id="rId4" Type="http://schemas.openxmlformats.org/officeDocument/2006/relationships/image" Target="../media/image58.png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66.png"/><Relationship Id="rId5" Type="http://schemas.openxmlformats.org/officeDocument/2006/relationships/image" Target="../media/image63.svg"/><Relationship Id="rId4" Type="http://schemas.openxmlformats.org/officeDocument/2006/relationships/image" Target="../media/image62.png"/></Relationships>
</file>

<file path=ppt/slideLayouts/_rels/slideLayout1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78.png"/><Relationship Id="rId3" Type="http://schemas.openxmlformats.org/officeDocument/2006/relationships/image" Target="../media/image3.svg"/><Relationship Id="rId7" Type="http://schemas.openxmlformats.org/officeDocument/2006/relationships/image" Target="../media/image6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62.png"/><Relationship Id="rId5" Type="http://schemas.openxmlformats.org/officeDocument/2006/relationships/image" Target="../media/image65.svg"/><Relationship Id="rId4" Type="http://schemas.openxmlformats.org/officeDocument/2006/relationships/image" Target="../media/image64.png"/><Relationship Id="rId9" Type="http://schemas.openxmlformats.org/officeDocument/2006/relationships/image" Target="../media/image79.svg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svg"/><Relationship Id="rId2" Type="http://schemas.openxmlformats.org/officeDocument/2006/relationships/image" Target="../media/image60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3.svg"/><Relationship Id="rId4" Type="http://schemas.openxmlformats.org/officeDocument/2006/relationships/image" Target="../media/image2.png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6.png"/><Relationship Id="rId1" Type="http://schemas.openxmlformats.org/officeDocument/2006/relationships/slideMaster" Target="../slideMasters/slideMaster4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6.png"/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3.svg"/><Relationship Id="rId4" Type="http://schemas.openxmlformats.org/officeDocument/2006/relationships/image" Target="../media/image62.png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svg"/><Relationship Id="rId2" Type="http://schemas.openxmlformats.org/officeDocument/2006/relationships/image" Target="../media/image60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66.png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1.svg"/><Relationship Id="rId2" Type="http://schemas.openxmlformats.org/officeDocument/2006/relationships/image" Target="../media/image80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66.png"/><Relationship Id="rId5" Type="http://schemas.openxmlformats.org/officeDocument/2006/relationships/image" Target="../media/image83.svg"/><Relationship Id="rId4" Type="http://schemas.openxmlformats.org/officeDocument/2006/relationships/image" Target="../media/image82.png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5.svg"/><Relationship Id="rId2" Type="http://schemas.openxmlformats.org/officeDocument/2006/relationships/image" Target="../media/image84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83.svg"/><Relationship Id="rId4" Type="http://schemas.openxmlformats.org/officeDocument/2006/relationships/image" Target="../media/image82.png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9.xml"/><Relationship Id="rId5" Type="http://schemas.openxmlformats.org/officeDocument/2006/relationships/image" Target="../media/image86.png"/><Relationship Id="rId4" Type="http://schemas.openxmlformats.org/officeDocument/2006/relationships/image" Target="../media/image1.emf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7" Type="http://schemas.openxmlformats.org/officeDocument/2006/relationships/image" Target="../media/image65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4.png"/><Relationship Id="rId5" Type="http://schemas.openxmlformats.org/officeDocument/2006/relationships/image" Target="../media/image63.svg"/><Relationship Id="rId4" Type="http://schemas.openxmlformats.org/officeDocument/2006/relationships/image" Target="../media/image62.png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8.svg"/><Relationship Id="rId2" Type="http://schemas.openxmlformats.org/officeDocument/2006/relationships/image" Target="../media/image87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89.png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1.svg"/><Relationship Id="rId2" Type="http://schemas.openxmlformats.org/officeDocument/2006/relationships/image" Target="../media/image90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94.svg"/><Relationship Id="rId5" Type="http://schemas.openxmlformats.org/officeDocument/2006/relationships/image" Target="../media/image93.png"/><Relationship Id="rId4" Type="http://schemas.openxmlformats.org/officeDocument/2006/relationships/image" Target="../media/image92.png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6.svg"/><Relationship Id="rId2" Type="http://schemas.openxmlformats.org/officeDocument/2006/relationships/image" Target="../media/image95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97.png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8.svg"/><Relationship Id="rId2" Type="http://schemas.openxmlformats.org/officeDocument/2006/relationships/image" Target="../media/image87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98.png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7" Type="http://schemas.openxmlformats.org/officeDocument/2006/relationships/image" Target="../media/image100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0.xml"/><Relationship Id="rId6" Type="http://schemas.openxmlformats.org/officeDocument/2006/relationships/image" Target="../media/image88.svg"/><Relationship Id="rId5" Type="http://schemas.openxmlformats.org/officeDocument/2006/relationships/image" Target="../media/image87.png"/><Relationship Id="rId4" Type="http://schemas.openxmlformats.org/officeDocument/2006/relationships/image" Target="../media/image99.emf"/></Relationships>
</file>

<file path=ppt/slideLayouts/_rels/slideLayout1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5.svg"/><Relationship Id="rId3" Type="http://schemas.openxmlformats.org/officeDocument/2006/relationships/oleObject" Target="../embeddings/oleObject7.bin"/><Relationship Id="rId7" Type="http://schemas.openxmlformats.org/officeDocument/2006/relationships/image" Target="../media/image64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1.xml"/><Relationship Id="rId6" Type="http://schemas.openxmlformats.org/officeDocument/2006/relationships/image" Target="../media/image63.svg"/><Relationship Id="rId5" Type="http://schemas.openxmlformats.org/officeDocument/2006/relationships/image" Target="../media/image62.png"/><Relationship Id="rId4" Type="http://schemas.openxmlformats.org/officeDocument/2006/relationships/image" Target="../media/image105.emf"/><Relationship Id="rId9" Type="http://schemas.openxmlformats.org/officeDocument/2006/relationships/image" Target="../media/image66.png"/></Relationships>
</file>

<file path=ppt/slideLayouts/_rels/slideLayout1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2.xml"/><Relationship Id="rId5" Type="http://schemas.openxmlformats.org/officeDocument/2006/relationships/image" Target="../media/image104.png"/><Relationship Id="rId4" Type="http://schemas.openxmlformats.org/officeDocument/2006/relationships/image" Target="../media/image103.emf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6.png"/><Relationship Id="rId3" Type="http://schemas.openxmlformats.org/officeDocument/2006/relationships/image" Target="../media/image3.svg"/><Relationship Id="rId7" Type="http://schemas.openxmlformats.org/officeDocument/2006/relationships/image" Target="../media/image65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4.png"/><Relationship Id="rId5" Type="http://schemas.openxmlformats.org/officeDocument/2006/relationships/image" Target="../media/image63.svg"/><Relationship Id="rId4" Type="http://schemas.openxmlformats.org/officeDocument/2006/relationships/image" Target="../media/image62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svg"/><Relationship Id="rId7" Type="http://schemas.openxmlformats.org/officeDocument/2006/relationships/image" Target="../media/image5.svg"/><Relationship Id="rId2" Type="http://schemas.openxmlformats.org/officeDocument/2006/relationships/image" Target="../media/image70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4.png"/><Relationship Id="rId5" Type="http://schemas.openxmlformats.org/officeDocument/2006/relationships/image" Target="../media/image53.svg"/><Relationship Id="rId4" Type="http://schemas.openxmlformats.org/officeDocument/2006/relationships/image" Target="../media/image52.pn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svg"/><Relationship Id="rId7" Type="http://schemas.openxmlformats.org/officeDocument/2006/relationships/image" Target="../media/image75.svg"/><Relationship Id="rId2" Type="http://schemas.openxmlformats.org/officeDocument/2006/relationships/image" Target="../media/image60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4.png"/><Relationship Id="rId5" Type="http://schemas.openxmlformats.org/officeDocument/2006/relationships/image" Target="../media/image73.svg"/><Relationship Id="rId4" Type="http://schemas.openxmlformats.org/officeDocument/2006/relationships/image" Target="../media/image72.pn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svg"/><Relationship Id="rId7" Type="http://schemas.openxmlformats.org/officeDocument/2006/relationships/image" Target="../media/image77.svg"/><Relationship Id="rId2" Type="http://schemas.openxmlformats.org/officeDocument/2006/relationships/image" Target="../media/image5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6.png"/><Relationship Id="rId5" Type="http://schemas.openxmlformats.org/officeDocument/2006/relationships/image" Target="../media/image59.svg"/><Relationship Id="rId4" Type="http://schemas.openxmlformats.org/officeDocument/2006/relationships/image" Target="../media/image58.pn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6.png"/><Relationship Id="rId5" Type="http://schemas.openxmlformats.org/officeDocument/2006/relationships/image" Target="../media/image63.svg"/><Relationship Id="rId4" Type="http://schemas.openxmlformats.org/officeDocument/2006/relationships/image" Target="../media/image62.png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0.png"/><Relationship Id="rId3" Type="http://schemas.openxmlformats.org/officeDocument/2006/relationships/image" Target="../media/image57.svg"/><Relationship Id="rId7" Type="http://schemas.openxmlformats.org/officeDocument/2006/relationships/image" Target="../media/image59.svg"/><Relationship Id="rId2" Type="http://schemas.openxmlformats.org/officeDocument/2006/relationships/image" Target="../media/image5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8.png"/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9" Type="http://schemas.openxmlformats.org/officeDocument/2006/relationships/image" Target="../media/image61.svg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78.png"/><Relationship Id="rId3" Type="http://schemas.openxmlformats.org/officeDocument/2006/relationships/image" Target="../media/image3.svg"/><Relationship Id="rId7" Type="http://schemas.openxmlformats.org/officeDocument/2006/relationships/image" Target="../media/image6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2.png"/><Relationship Id="rId5" Type="http://schemas.openxmlformats.org/officeDocument/2006/relationships/image" Target="../media/image65.svg"/><Relationship Id="rId4" Type="http://schemas.openxmlformats.org/officeDocument/2006/relationships/image" Target="../media/image64.png"/><Relationship Id="rId9" Type="http://schemas.openxmlformats.org/officeDocument/2006/relationships/image" Target="../media/image79.sv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svg"/><Relationship Id="rId2" Type="http://schemas.openxmlformats.org/officeDocument/2006/relationships/image" Target="../media/image60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svg"/><Relationship Id="rId4" Type="http://schemas.openxmlformats.org/officeDocument/2006/relationships/image" Target="../media/image2.png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6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6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svg"/><Relationship Id="rId2" Type="http://schemas.openxmlformats.org/officeDocument/2006/relationships/image" Target="../media/image60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6.png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1.svg"/><Relationship Id="rId2" Type="http://schemas.openxmlformats.org/officeDocument/2006/relationships/image" Target="../media/image80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6.png"/><Relationship Id="rId5" Type="http://schemas.openxmlformats.org/officeDocument/2006/relationships/image" Target="../media/image83.svg"/><Relationship Id="rId4" Type="http://schemas.openxmlformats.org/officeDocument/2006/relationships/image" Target="../media/image82.png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5.svg"/><Relationship Id="rId2" Type="http://schemas.openxmlformats.org/officeDocument/2006/relationships/image" Target="../media/image84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83.svg"/><Relationship Id="rId4" Type="http://schemas.openxmlformats.org/officeDocument/2006/relationships/image" Target="../media/image82.png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86.png"/><Relationship Id="rId4" Type="http://schemas.openxmlformats.org/officeDocument/2006/relationships/image" Target="../media/image1.emf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0.png"/><Relationship Id="rId3" Type="http://schemas.openxmlformats.org/officeDocument/2006/relationships/image" Target="../media/image57.svg"/><Relationship Id="rId7" Type="http://schemas.openxmlformats.org/officeDocument/2006/relationships/image" Target="../media/image59.svg"/><Relationship Id="rId2" Type="http://schemas.openxmlformats.org/officeDocument/2006/relationships/image" Target="../media/image5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8.png"/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9" Type="http://schemas.openxmlformats.org/officeDocument/2006/relationships/image" Target="../media/image61.svg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8.svg"/><Relationship Id="rId2" Type="http://schemas.openxmlformats.org/officeDocument/2006/relationships/image" Target="../media/image8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89.png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1.svg"/><Relationship Id="rId2" Type="http://schemas.openxmlformats.org/officeDocument/2006/relationships/image" Target="../media/image90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94.svg"/><Relationship Id="rId5" Type="http://schemas.openxmlformats.org/officeDocument/2006/relationships/image" Target="../media/image93.png"/><Relationship Id="rId4" Type="http://schemas.openxmlformats.org/officeDocument/2006/relationships/image" Target="../media/image92.png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6.svg"/><Relationship Id="rId2" Type="http://schemas.openxmlformats.org/officeDocument/2006/relationships/image" Target="../media/image9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7.png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8.svg"/><Relationship Id="rId2" Type="http://schemas.openxmlformats.org/officeDocument/2006/relationships/image" Target="../media/image8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8.png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7" Type="http://schemas.openxmlformats.org/officeDocument/2006/relationships/image" Target="../media/image100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88.svg"/><Relationship Id="rId5" Type="http://schemas.openxmlformats.org/officeDocument/2006/relationships/image" Target="../media/image87.png"/><Relationship Id="rId4" Type="http://schemas.openxmlformats.org/officeDocument/2006/relationships/image" Target="../media/image99.emf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svg"/><Relationship Id="rId7" Type="http://schemas.openxmlformats.org/officeDocument/2006/relationships/image" Target="../media/image3.svg"/><Relationship Id="rId2" Type="http://schemas.openxmlformats.org/officeDocument/2006/relationships/image" Target="../media/image6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.png"/><Relationship Id="rId5" Type="http://schemas.openxmlformats.org/officeDocument/2006/relationships/image" Target="../media/image65.svg"/><Relationship Id="rId4" Type="http://schemas.openxmlformats.org/officeDocument/2006/relationships/image" Target="../media/image64.png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svg"/><Relationship Id="rId2" Type="http://schemas.openxmlformats.org/officeDocument/2006/relationships/image" Target="../media/image60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1.svg"/><Relationship Id="rId2" Type="http://schemas.openxmlformats.org/officeDocument/2006/relationships/image" Target="../media/image6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02.svg"/><Relationship Id="rId4" Type="http://schemas.openxmlformats.org/officeDocument/2006/relationships/image" Target="../media/image64.png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7" Type="http://schemas.openxmlformats.org/officeDocument/2006/relationships/image" Target="../media/image5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54.png"/><Relationship Id="rId5" Type="http://schemas.openxmlformats.org/officeDocument/2006/relationships/image" Target="../media/image53.svg"/><Relationship Id="rId4" Type="http://schemas.openxmlformats.org/officeDocument/2006/relationships/image" Target="../media/image52.png"/></Relationships>
</file>

<file path=ppt/slideLayouts/_rels/slideLayout4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0.png"/><Relationship Id="rId3" Type="http://schemas.openxmlformats.org/officeDocument/2006/relationships/image" Target="../media/image57.svg"/><Relationship Id="rId7" Type="http://schemas.openxmlformats.org/officeDocument/2006/relationships/image" Target="../media/image59.svg"/><Relationship Id="rId2" Type="http://schemas.openxmlformats.org/officeDocument/2006/relationships/image" Target="../media/image56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58.png"/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9" Type="http://schemas.openxmlformats.org/officeDocument/2006/relationships/image" Target="../media/image61.svg"/></Relationships>
</file>

<file path=ppt/slideLayouts/_rels/slideLayout4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0.png"/><Relationship Id="rId3" Type="http://schemas.openxmlformats.org/officeDocument/2006/relationships/image" Target="../media/image57.svg"/><Relationship Id="rId7" Type="http://schemas.openxmlformats.org/officeDocument/2006/relationships/image" Target="../media/image59.svg"/><Relationship Id="rId2" Type="http://schemas.openxmlformats.org/officeDocument/2006/relationships/image" Target="../media/image56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58.png"/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9" Type="http://schemas.openxmlformats.org/officeDocument/2006/relationships/image" Target="../media/image61.svg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svg"/><Relationship Id="rId2" Type="http://schemas.openxmlformats.org/officeDocument/2006/relationships/image" Target="../media/image60.png"/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svg"/><Relationship Id="rId2" Type="http://schemas.openxmlformats.org/officeDocument/2006/relationships/image" Target="../media/image60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3.svg"/><Relationship Id="rId4" Type="http://schemas.openxmlformats.org/officeDocument/2006/relationships/image" Target="../media/image2.png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7" Type="http://schemas.openxmlformats.org/officeDocument/2006/relationships/image" Target="../media/image65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64.png"/><Relationship Id="rId5" Type="http://schemas.openxmlformats.org/officeDocument/2006/relationships/image" Target="../media/image63.svg"/><Relationship Id="rId4" Type="http://schemas.openxmlformats.org/officeDocument/2006/relationships/image" Target="../media/image62.png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svg"/><Relationship Id="rId2" Type="http://schemas.openxmlformats.org/officeDocument/2006/relationships/image" Target="../media/image62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65.svg"/><Relationship Id="rId4" Type="http://schemas.openxmlformats.org/officeDocument/2006/relationships/image" Target="../media/image64.png"/></Relationships>
</file>

<file path=ppt/slideLayouts/_rels/slideLayout4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9.svg"/><Relationship Id="rId3" Type="http://schemas.openxmlformats.org/officeDocument/2006/relationships/image" Target="../media/image68.svg"/><Relationship Id="rId7" Type="http://schemas.openxmlformats.org/officeDocument/2006/relationships/image" Target="../media/image58.png"/><Relationship Id="rId2" Type="http://schemas.openxmlformats.org/officeDocument/2006/relationships/image" Target="../media/image67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69.png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svg"/><Relationship Id="rId2" Type="http://schemas.openxmlformats.org/officeDocument/2006/relationships/image" Target="../media/image60.png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svg"/><Relationship Id="rId2" Type="http://schemas.openxmlformats.org/officeDocument/2006/relationships/image" Target="../media/image60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svg"/><Relationship Id="rId4" Type="http://schemas.openxmlformats.org/officeDocument/2006/relationships/image" Target="../media/image2.png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63.svg"/><Relationship Id="rId4" Type="http://schemas.openxmlformats.org/officeDocument/2006/relationships/image" Target="../media/image62.png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63.svg"/><Relationship Id="rId4" Type="http://schemas.openxmlformats.org/officeDocument/2006/relationships/image" Target="../media/image62.png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7" Type="http://schemas.openxmlformats.org/officeDocument/2006/relationships/image" Target="../media/image65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64.png"/><Relationship Id="rId5" Type="http://schemas.openxmlformats.org/officeDocument/2006/relationships/image" Target="../media/image63.svg"/><Relationship Id="rId4" Type="http://schemas.openxmlformats.org/officeDocument/2006/relationships/image" Target="../media/image62.png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7" Type="http://schemas.openxmlformats.org/officeDocument/2006/relationships/image" Target="../media/image65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64.png"/><Relationship Id="rId5" Type="http://schemas.openxmlformats.org/officeDocument/2006/relationships/image" Target="../media/image63.svg"/><Relationship Id="rId4" Type="http://schemas.openxmlformats.org/officeDocument/2006/relationships/image" Target="../media/image62.png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svg"/><Relationship Id="rId7" Type="http://schemas.openxmlformats.org/officeDocument/2006/relationships/image" Target="../media/image5.svg"/><Relationship Id="rId2" Type="http://schemas.openxmlformats.org/officeDocument/2006/relationships/image" Target="../media/image70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4.png"/><Relationship Id="rId5" Type="http://schemas.openxmlformats.org/officeDocument/2006/relationships/image" Target="../media/image53.svg"/><Relationship Id="rId4" Type="http://schemas.openxmlformats.org/officeDocument/2006/relationships/image" Target="../media/image52.png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svg"/><Relationship Id="rId7" Type="http://schemas.openxmlformats.org/officeDocument/2006/relationships/image" Target="../media/image75.svg"/><Relationship Id="rId2" Type="http://schemas.openxmlformats.org/officeDocument/2006/relationships/image" Target="../media/image60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74.png"/><Relationship Id="rId5" Type="http://schemas.openxmlformats.org/officeDocument/2006/relationships/image" Target="../media/image73.svg"/><Relationship Id="rId4" Type="http://schemas.openxmlformats.org/officeDocument/2006/relationships/image" Target="../media/image72.png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svg"/><Relationship Id="rId7" Type="http://schemas.openxmlformats.org/officeDocument/2006/relationships/image" Target="../media/image77.svg"/><Relationship Id="rId2" Type="http://schemas.openxmlformats.org/officeDocument/2006/relationships/image" Target="../media/image54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76.png"/><Relationship Id="rId5" Type="http://schemas.openxmlformats.org/officeDocument/2006/relationships/image" Target="../media/image59.svg"/><Relationship Id="rId4" Type="http://schemas.openxmlformats.org/officeDocument/2006/relationships/image" Target="../media/image58.png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63.svg"/><Relationship Id="rId4" Type="http://schemas.openxmlformats.org/officeDocument/2006/relationships/image" Target="../media/image62.png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6.png"/><Relationship Id="rId3" Type="http://schemas.openxmlformats.org/officeDocument/2006/relationships/image" Target="../media/image3.svg"/><Relationship Id="rId7" Type="http://schemas.openxmlformats.org/officeDocument/2006/relationships/image" Target="../media/image65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4.png"/><Relationship Id="rId5" Type="http://schemas.openxmlformats.org/officeDocument/2006/relationships/image" Target="../media/image63.svg"/><Relationship Id="rId4" Type="http://schemas.openxmlformats.org/officeDocument/2006/relationships/image" Target="../media/image62.png"/></Relationships>
</file>

<file path=ppt/slideLayouts/_rels/slideLayout60.xml.rels><?xml version="1.0" encoding="UTF-8" standalone="yes"?>
<Relationships xmlns="http://schemas.openxmlformats.org/package/2006/relationships"><Relationship Id="rId8" Type="http://schemas.openxmlformats.org/officeDocument/2006/relationships/image" Target="../media/image78.png"/><Relationship Id="rId3" Type="http://schemas.openxmlformats.org/officeDocument/2006/relationships/image" Target="../media/image3.svg"/><Relationship Id="rId7" Type="http://schemas.openxmlformats.org/officeDocument/2006/relationships/image" Target="../media/image6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62.png"/><Relationship Id="rId5" Type="http://schemas.openxmlformats.org/officeDocument/2006/relationships/image" Target="../media/image65.svg"/><Relationship Id="rId4" Type="http://schemas.openxmlformats.org/officeDocument/2006/relationships/image" Target="../media/image64.png"/><Relationship Id="rId9" Type="http://schemas.openxmlformats.org/officeDocument/2006/relationships/image" Target="../media/image79.svg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svg"/><Relationship Id="rId2" Type="http://schemas.openxmlformats.org/officeDocument/2006/relationships/image" Target="../media/image60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3.svg"/><Relationship Id="rId4" Type="http://schemas.openxmlformats.org/officeDocument/2006/relationships/image" Target="../media/image2.png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svg"/><Relationship Id="rId2" Type="http://schemas.openxmlformats.org/officeDocument/2006/relationships/image" Target="../media/image60.png"/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1.svg"/><Relationship Id="rId2" Type="http://schemas.openxmlformats.org/officeDocument/2006/relationships/image" Target="../media/image80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83.svg"/><Relationship Id="rId4" Type="http://schemas.openxmlformats.org/officeDocument/2006/relationships/image" Target="../media/image82.png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5.svg"/><Relationship Id="rId2" Type="http://schemas.openxmlformats.org/officeDocument/2006/relationships/image" Target="../media/image84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83.svg"/><Relationship Id="rId4" Type="http://schemas.openxmlformats.org/officeDocument/2006/relationships/image" Target="../media/image82.png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.xml"/><Relationship Id="rId5" Type="http://schemas.openxmlformats.org/officeDocument/2006/relationships/image" Target="../media/image104.png"/><Relationship Id="rId4" Type="http://schemas.openxmlformats.org/officeDocument/2006/relationships/image" Target="../media/image103.emf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7" Type="http://schemas.openxmlformats.org/officeDocument/2006/relationships/image" Target="../media/image5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54.png"/><Relationship Id="rId5" Type="http://schemas.openxmlformats.org/officeDocument/2006/relationships/image" Target="../media/image53.svg"/><Relationship Id="rId4" Type="http://schemas.openxmlformats.org/officeDocument/2006/relationships/image" Target="../media/image52.pn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svg"/><Relationship Id="rId2" Type="http://schemas.openxmlformats.org/officeDocument/2006/relationships/image" Target="../media/image6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6.png"/><Relationship Id="rId5" Type="http://schemas.openxmlformats.org/officeDocument/2006/relationships/image" Target="../media/image65.svg"/><Relationship Id="rId4" Type="http://schemas.openxmlformats.org/officeDocument/2006/relationships/image" Target="../media/image64.png"/></Relationships>
</file>

<file path=ppt/slideLayouts/_rels/slideLayout7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0.png"/><Relationship Id="rId3" Type="http://schemas.openxmlformats.org/officeDocument/2006/relationships/image" Target="../media/image57.svg"/><Relationship Id="rId7" Type="http://schemas.openxmlformats.org/officeDocument/2006/relationships/image" Target="../media/image59.svg"/><Relationship Id="rId2" Type="http://schemas.openxmlformats.org/officeDocument/2006/relationships/image" Target="../media/image56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58.png"/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9" Type="http://schemas.openxmlformats.org/officeDocument/2006/relationships/image" Target="../media/image61.svg"/></Relationships>
</file>

<file path=ppt/slideLayouts/_rels/slideLayout7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0.png"/><Relationship Id="rId3" Type="http://schemas.openxmlformats.org/officeDocument/2006/relationships/image" Target="../media/image57.svg"/><Relationship Id="rId7" Type="http://schemas.openxmlformats.org/officeDocument/2006/relationships/image" Target="../media/image59.svg"/><Relationship Id="rId2" Type="http://schemas.openxmlformats.org/officeDocument/2006/relationships/image" Target="../media/image56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58.png"/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9" Type="http://schemas.openxmlformats.org/officeDocument/2006/relationships/image" Target="../media/image61.svg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svg"/><Relationship Id="rId2" Type="http://schemas.openxmlformats.org/officeDocument/2006/relationships/image" Target="../media/image60.png"/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svg"/><Relationship Id="rId2" Type="http://schemas.openxmlformats.org/officeDocument/2006/relationships/image" Target="../media/image60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3.svg"/><Relationship Id="rId4" Type="http://schemas.openxmlformats.org/officeDocument/2006/relationships/image" Target="../media/image2.png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7" Type="http://schemas.openxmlformats.org/officeDocument/2006/relationships/image" Target="../media/image65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64.png"/><Relationship Id="rId5" Type="http://schemas.openxmlformats.org/officeDocument/2006/relationships/image" Target="../media/image63.svg"/><Relationship Id="rId4" Type="http://schemas.openxmlformats.org/officeDocument/2006/relationships/image" Target="../media/image62.png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svg"/><Relationship Id="rId2" Type="http://schemas.openxmlformats.org/officeDocument/2006/relationships/image" Target="../media/image62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65.svg"/><Relationship Id="rId4" Type="http://schemas.openxmlformats.org/officeDocument/2006/relationships/image" Target="../media/image64.png"/></Relationships>
</file>

<file path=ppt/slideLayouts/_rels/slideLayout7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9.svg"/><Relationship Id="rId3" Type="http://schemas.openxmlformats.org/officeDocument/2006/relationships/image" Target="../media/image68.svg"/><Relationship Id="rId7" Type="http://schemas.openxmlformats.org/officeDocument/2006/relationships/image" Target="../media/image58.png"/><Relationship Id="rId2" Type="http://schemas.openxmlformats.org/officeDocument/2006/relationships/image" Target="../media/image67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69.png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svg"/><Relationship Id="rId2" Type="http://schemas.openxmlformats.org/officeDocument/2006/relationships/image" Target="../media/image60.png"/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63.svg"/><Relationship Id="rId4" Type="http://schemas.openxmlformats.org/officeDocument/2006/relationships/image" Target="../media/image62.png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9.svg"/><Relationship Id="rId3" Type="http://schemas.openxmlformats.org/officeDocument/2006/relationships/image" Target="../media/image68.svg"/><Relationship Id="rId7" Type="http://schemas.openxmlformats.org/officeDocument/2006/relationships/image" Target="../media/image58.png"/><Relationship Id="rId2" Type="http://schemas.openxmlformats.org/officeDocument/2006/relationships/image" Target="../media/image67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69.png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63.svg"/><Relationship Id="rId4" Type="http://schemas.openxmlformats.org/officeDocument/2006/relationships/image" Target="../media/image62.png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7" Type="http://schemas.openxmlformats.org/officeDocument/2006/relationships/image" Target="../media/image65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64.png"/><Relationship Id="rId5" Type="http://schemas.openxmlformats.org/officeDocument/2006/relationships/image" Target="../media/image63.svg"/><Relationship Id="rId4" Type="http://schemas.openxmlformats.org/officeDocument/2006/relationships/image" Target="../media/image62.png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7" Type="http://schemas.openxmlformats.org/officeDocument/2006/relationships/image" Target="../media/image65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64.png"/><Relationship Id="rId5" Type="http://schemas.openxmlformats.org/officeDocument/2006/relationships/image" Target="../media/image63.svg"/><Relationship Id="rId4" Type="http://schemas.openxmlformats.org/officeDocument/2006/relationships/image" Target="../media/image62.png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svg"/><Relationship Id="rId7" Type="http://schemas.openxmlformats.org/officeDocument/2006/relationships/image" Target="../media/image5.svg"/><Relationship Id="rId2" Type="http://schemas.openxmlformats.org/officeDocument/2006/relationships/image" Target="../media/image70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4.png"/><Relationship Id="rId5" Type="http://schemas.openxmlformats.org/officeDocument/2006/relationships/image" Target="../media/image53.svg"/><Relationship Id="rId4" Type="http://schemas.openxmlformats.org/officeDocument/2006/relationships/image" Target="../media/image52.png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svg"/><Relationship Id="rId7" Type="http://schemas.openxmlformats.org/officeDocument/2006/relationships/image" Target="../media/image75.svg"/><Relationship Id="rId2" Type="http://schemas.openxmlformats.org/officeDocument/2006/relationships/image" Target="../media/image60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74.png"/><Relationship Id="rId5" Type="http://schemas.openxmlformats.org/officeDocument/2006/relationships/image" Target="../media/image73.svg"/><Relationship Id="rId4" Type="http://schemas.openxmlformats.org/officeDocument/2006/relationships/image" Target="../media/image72.png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svg"/><Relationship Id="rId7" Type="http://schemas.openxmlformats.org/officeDocument/2006/relationships/image" Target="../media/image77.svg"/><Relationship Id="rId2" Type="http://schemas.openxmlformats.org/officeDocument/2006/relationships/image" Target="../media/image54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76.png"/><Relationship Id="rId5" Type="http://schemas.openxmlformats.org/officeDocument/2006/relationships/image" Target="../media/image59.svg"/><Relationship Id="rId4" Type="http://schemas.openxmlformats.org/officeDocument/2006/relationships/image" Target="../media/image58.png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63.svg"/><Relationship Id="rId4" Type="http://schemas.openxmlformats.org/officeDocument/2006/relationships/image" Target="../media/image62.png"/></Relationships>
</file>

<file path=ppt/slideLayouts/_rels/slideLayout88.xml.rels><?xml version="1.0" encoding="UTF-8" standalone="yes"?>
<Relationships xmlns="http://schemas.openxmlformats.org/package/2006/relationships"><Relationship Id="rId8" Type="http://schemas.openxmlformats.org/officeDocument/2006/relationships/image" Target="../media/image78.png"/><Relationship Id="rId3" Type="http://schemas.openxmlformats.org/officeDocument/2006/relationships/image" Target="../media/image3.svg"/><Relationship Id="rId7" Type="http://schemas.openxmlformats.org/officeDocument/2006/relationships/image" Target="../media/image6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62.png"/><Relationship Id="rId5" Type="http://schemas.openxmlformats.org/officeDocument/2006/relationships/image" Target="../media/image65.svg"/><Relationship Id="rId4" Type="http://schemas.openxmlformats.org/officeDocument/2006/relationships/image" Target="../media/image64.png"/><Relationship Id="rId9" Type="http://schemas.openxmlformats.org/officeDocument/2006/relationships/image" Target="../media/image79.svg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svg"/><Relationship Id="rId2" Type="http://schemas.openxmlformats.org/officeDocument/2006/relationships/image" Target="../media/image60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3.svg"/><Relationship Id="rId4" Type="http://schemas.openxmlformats.org/officeDocument/2006/relationships/image" Target="../media/image2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svg"/><Relationship Id="rId2" Type="http://schemas.openxmlformats.org/officeDocument/2006/relationships/image" Target="../media/image60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6.png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svg"/><Relationship Id="rId2" Type="http://schemas.openxmlformats.org/officeDocument/2006/relationships/image" Target="../media/image60.png"/><Relationship Id="rId1" Type="http://schemas.openxmlformats.org/officeDocument/2006/relationships/slideMaster" Target="../slideMasters/slideMaster3.xml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1.svg"/><Relationship Id="rId2" Type="http://schemas.openxmlformats.org/officeDocument/2006/relationships/image" Target="../media/image80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83.svg"/><Relationship Id="rId4" Type="http://schemas.openxmlformats.org/officeDocument/2006/relationships/image" Target="../media/image82.png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5.svg"/><Relationship Id="rId2" Type="http://schemas.openxmlformats.org/officeDocument/2006/relationships/image" Target="../media/image84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83.svg"/><Relationship Id="rId4" Type="http://schemas.openxmlformats.org/officeDocument/2006/relationships/image" Target="../media/image82.png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7" Type="http://schemas.openxmlformats.org/officeDocument/2006/relationships/image" Target="../media/image5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54.png"/><Relationship Id="rId5" Type="http://schemas.openxmlformats.org/officeDocument/2006/relationships/image" Target="../media/image53.svg"/><Relationship Id="rId4" Type="http://schemas.openxmlformats.org/officeDocument/2006/relationships/image" Target="../media/image52.png"/></Relationships>
</file>

<file path=ppt/slideLayouts/_rels/slideLayout98.xml.rels><?xml version="1.0" encoding="UTF-8" standalone="yes"?>
<Relationships xmlns="http://schemas.openxmlformats.org/package/2006/relationships"><Relationship Id="rId8" Type="http://schemas.openxmlformats.org/officeDocument/2006/relationships/image" Target="../media/image60.png"/><Relationship Id="rId3" Type="http://schemas.openxmlformats.org/officeDocument/2006/relationships/image" Target="../media/image57.svg"/><Relationship Id="rId7" Type="http://schemas.openxmlformats.org/officeDocument/2006/relationships/image" Target="../media/image59.svg"/><Relationship Id="rId2" Type="http://schemas.openxmlformats.org/officeDocument/2006/relationships/image" Target="../media/image56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58.png"/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9" Type="http://schemas.openxmlformats.org/officeDocument/2006/relationships/image" Target="../media/image61.svg"/></Relationships>
</file>

<file path=ppt/slideLayouts/_rels/slideLayout9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0.png"/><Relationship Id="rId3" Type="http://schemas.openxmlformats.org/officeDocument/2006/relationships/image" Target="../media/image57.svg"/><Relationship Id="rId7" Type="http://schemas.openxmlformats.org/officeDocument/2006/relationships/image" Target="../media/image59.svg"/><Relationship Id="rId2" Type="http://schemas.openxmlformats.org/officeDocument/2006/relationships/image" Target="../media/image56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58.png"/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9" Type="http://schemas.openxmlformats.org/officeDocument/2006/relationships/image" Target="../media/image61.sv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E339FF7-E679-BC64-FE01-C490964293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44562" y="2848767"/>
            <a:ext cx="6832600" cy="1281113"/>
          </a:xfrm>
        </p:spPr>
        <p:txBody>
          <a:bodyPr>
            <a:noAutofit/>
          </a:bodyPr>
          <a:lstStyle>
            <a:lvl1pPr>
              <a:lnSpc>
                <a:spcPct val="85000"/>
              </a:lnSpc>
              <a:defRPr lang="pt-BR" sz="5400" b="1" i="0" u="none" strike="noStrike" kern="1200" cap="all" spc="-100" baseline="0" dirty="0" smtClean="0">
                <a:solidFill>
                  <a:schemeClr val="accent1"/>
                </a:solidFill>
                <a:latin typeface="+mj-lt"/>
                <a:ea typeface="+mj-ea"/>
                <a:cs typeface="+mj-cs"/>
                <a:sym typeface="Arial"/>
              </a:defRPr>
            </a:lvl1pPr>
          </a:lstStyle>
          <a:p>
            <a:r>
              <a:rPr lang="pt-BR"/>
              <a:t>Clique para editar o </a:t>
            </a:r>
            <a:r>
              <a:rPr lang="pt-BR" err="1"/>
              <a:t>títulO</a:t>
            </a:r>
            <a:endParaRPr lang="pt-BR"/>
          </a:p>
        </p:txBody>
      </p:sp>
      <p:pic>
        <p:nvPicPr>
          <p:cNvPr id="9" name="Gráfico 8">
            <a:extLst>
              <a:ext uri="{FF2B5EF4-FFF2-40B4-BE49-F238E27FC236}">
                <a16:creationId xmlns:a16="http://schemas.microsoft.com/office/drawing/2014/main" id="{74D81A32-4C7C-0CCE-4AE1-180F087D38D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8386" y="476863"/>
            <a:ext cx="1412714" cy="829797"/>
          </a:xfrm>
          <a:prstGeom prst="rect">
            <a:avLst/>
          </a:prstGeom>
        </p:spPr>
      </p:pic>
      <p:pic>
        <p:nvPicPr>
          <p:cNvPr id="10" name="Gráfico 9">
            <a:extLst>
              <a:ext uri="{FF2B5EF4-FFF2-40B4-BE49-F238E27FC236}">
                <a16:creationId xmlns:a16="http://schemas.microsoft.com/office/drawing/2014/main" id="{9BD457A8-84E7-7430-6D08-43149ED43C5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-643448" y="4877887"/>
            <a:ext cx="1577057" cy="1853043"/>
          </a:xfrm>
          <a:prstGeom prst="rect">
            <a:avLst/>
          </a:prstGeom>
        </p:spPr>
      </p:pic>
      <p:sp>
        <p:nvSpPr>
          <p:cNvPr id="12" name="Espaço Reservado para Texto 11">
            <a:extLst>
              <a:ext uri="{FF2B5EF4-FFF2-40B4-BE49-F238E27FC236}">
                <a16:creationId xmlns:a16="http://schemas.microsoft.com/office/drawing/2014/main" id="{0D810081-EA73-009A-C87B-3D42044833B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14400" y="2449218"/>
            <a:ext cx="6832600" cy="447675"/>
          </a:xfrm>
        </p:spPr>
        <p:txBody>
          <a:bodyPr lIns="144000">
            <a:normAutofit/>
          </a:bodyPr>
          <a:lstStyle>
            <a:lvl1pPr marL="0" marR="0" indent="0" algn="l" defTabSz="914400" rtl="0" eaLnBrk="1" latinLnBrk="0" hangingPunct="1">
              <a:lnSpc>
                <a:spcPct val="100000"/>
              </a:lnSpc>
              <a:spcBef>
                <a:spcPts val="2000"/>
              </a:spcBef>
              <a:spcAft>
                <a:spcPts val="500"/>
              </a:spcAft>
              <a:buClrTx/>
              <a:buFont typeface="Arial" panose="020B0604020202020204" pitchFamily="34" charset="0"/>
              <a:buNone/>
              <a:defRPr lang="pt-BR" sz="1500" b="0" i="0" u="none" strike="noStrike" kern="1200" cap="all" spc="10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Arial"/>
              </a:defRPr>
            </a:lvl1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13" name="Espaço Reservado para Texto 11">
            <a:extLst>
              <a:ext uri="{FF2B5EF4-FFF2-40B4-BE49-F238E27FC236}">
                <a16:creationId xmlns:a16="http://schemas.microsoft.com/office/drawing/2014/main" id="{C8458586-A2E0-FAC7-BE44-2EA68F6CF93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914400" y="4205706"/>
            <a:ext cx="6832600" cy="447675"/>
          </a:xfrm>
        </p:spPr>
        <p:txBody>
          <a:bodyPr lIns="144000" anchor="t">
            <a:normAutofit/>
          </a:bodyPr>
          <a:lstStyle>
            <a:lvl1pPr marL="0" marR="0" indent="0" algn="l" defTabSz="914400" rtl="0" eaLnBrk="1" latinLnBrk="0" hangingPunct="1">
              <a:lnSpc>
                <a:spcPct val="100000"/>
              </a:lnSpc>
              <a:spcBef>
                <a:spcPts val="2000"/>
              </a:spcBef>
              <a:spcAft>
                <a:spcPts val="500"/>
              </a:spcAft>
              <a:buClrTx/>
              <a:buFont typeface="Arial" panose="020B0604020202020204" pitchFamily="34" charset="0"/>
              <a:buNone/>
              <a:defRPr lang="pt-BR" sz="1500" b="0" i="0" u="none" strike="noStrike" kern="1200" cap="all" spc="10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Arial"/>
              </a:defRPr>
            </a:lvl1pPr>
          </a:lstStyle>
          <a:p>
            <a:pPr lvl="0"/>
            <a:r>
              <a:rPr lang="pt-BR"/>
              <a:t>Clique para editar os estilos de texto Mestres</a:t>
            </a:r>
          </a:p>
        </p:txBody>
      </p:sp>
      <p:pic>
        <p:nvPicPr>
          <p:cNvPr id="14" name="Gráfico 13">
            <a:extLst>
              <a:ext uri="{FF2B5EF4-FFF2-40B4-BE49-F238E27FC236}">
                <a16:creationId xmlns:a16="http://schemas.microsoft.com/office/drawing/2014/main" id="{24C9451C-4B61-4874-1435-D78622F233BB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975600" y="-2844501"/>
            <a:ext cx="6858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272790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lipse 10">
            <a:extLst>
              <a:ext uri="{FF2B5EF4-FFF2-40B4-BE49-F238E27FC236}">
                <a16:creationId xmlns:a16="http://schemas.microsoft.com/office/drawing/2014/main" id="{33D9D3EE-07B8-DDE0-D24C-617A25DF28E4}"/>
              </a:ext>
            </a:extLst>
          </p:cNvPr>
          <p:cNvSpPr>
            <a:spLocks noGrp="1" noRot="1" noChangeAspect="1" noMove="1" noResize="1" noEditPoints="1" noAdjustHandles="1" noChangeArrowheads="1" noChangeShapeType="1"/>
          </p:cNvSpPr>
          <p:nvPr userDrawn="1"/>
        </p:nvSpPr>
        <p:spPr>
          <a:xfrm>
            <a:off x="6178550" y="-394648"/>
            <a:ext cx="6228000" cy="62280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0" name="Espaço Reservado para Imagem 9">
            <a:extLst>
              <a:ext uri="{FF2B5EF4-FFF2-40B4-BE49-F238E27FC236}">
                <a16:creationId xmlns:a16="http://schemas.microsoft.com/office/drawing/2014/main" id="{FBBB0E18-BC75-0FC9-7E6F-94F735FD7A0A}"/>
              </a:ext>
            </a:extLst>
          </p:cNvPr>
          <p:cNvSpPr>
            <a:spLocks noGrp="1" noChangeAspect="1"/>
          </p:cNvSpPr>
          <p:nvPr>
            <p:ph type="pic" sz="quarter" idx="27"/>
          </p:nvPr>
        </p:nvSpPr>
        <p:spPr>
          <a:xfrm>
            <a:off x="6178335" y="-394649"/>
            <a:ext cx="6228231" cy="5890966"/>
          </a:xfrm>
          <a:custGeom>
            <a:avLst/>
            <a:gdLst>
              <a:gd name="connsiteX0" fmla="*/ 0 w 6228000"/>
              <a:gd name="connsiteY0" fmla="*/ 3114000 h 6228000"/>
              <a:gd name="connsiteX1" fmla="*/ 3114000 w 6228000"/>
              <a:gd name="connsiteY1" fmla="*/ 0 h 6228000"/>
              <a:gd name="connsiteX2" fmla="*/ 6228000 w 6228000"/>
              <a:gd name="connsiteY2" fmla="*/ 3114000 h 6228000"/>
              <a:gd name="connsiteX3" fmla="*/ 3114000 w 6228000"/>
              <a:gd name="connsiteY3" fmla="*/ 6228000 h 6228000"/>
              <a:gd name="connsiteX4" fmla="*/ 0 w 6228000"/>
              <a:gd name="connsiteY4" fmla="*/ 3114000 h 6228000"/>
              <a:gd name="connsiteX0" fmla="*/ 335458 w 6563458"/>
              <a:gd name="connsiteY0" fmla="*/ 3114000 h 6235728"/>
              <a:gd name="connsiteX1" fmla="*/ 3449458 w 6563458"/>
              <a:gd name="connsiteY1" fmla="*/ 0 h 6235728"/>
              <a:gd name="connsiteX2" fmla="*/ 6563458 w 6563458"/>
              <a:gd name="connsiteY2" fmla="*/ 3114000 h 6235728"/>
              <a:gd name="connsiteX3" fmla="*/ 3449458 w 6563458"/>
              <a:gd name="connsiteY3" fmla="*/ 6228000 h 6235728"/>
              <a:gd name="connsiteX4" fmla="*/ 436684 w 6563458"/>
              <a:gd name="connsiteY4" fmla="*/ 3971566 h 6235728"/>
              <a:gd name="connsiteX5" fmla="*/ 335458 w 6563458"/>
              <a:gd name="connsiteY5" fmla="*/ 3114000 h 6235728"/>
              <a:gd name="connsiteX0" fmla="*/ 198652 w 6426652"/>
              <a:gd name="connsiteY0" fmla="*/ 3114000 h 6235728"/>
              <a:gd name="connsiteX1" fmla="*/ 3312652 w 6426652"/>
              <a:gd name="connsiteY1" fmla="*/ 0 h 6235728"/>
              <a:gd name="connsiteX2" fmla="*/ 6426652 w 6426652"/>
              <a:gd name="connsiteY2" fmla="*/ 3114000 h 6235728"/>
              <a:gd name="connsiteX3" fmla="*/ 3312652 w 6426652"/>
              <a:gd name="connsiteY3" fmla="*/ 6228000 h 6235728"/>
              <a:gd name="connsiteX4" fmla="*/ 299878 w 6426652"/>
              <a:gd name="connsiteY4" fmla="*/ 3971566 h 6235728"/>
              <a:gd name="connsiteX5" fmla="*/ 198652 w 6426652"/>
              <a:gd name="connsiteY5" fmla="*/ 3114000 h 6235728"/>
              <a:gd name="connsiteX0" fmla="*/ 0 w 6228000"/>
              <a:gd name="connsiteY0" fmla="*/ 3114000 h 6235728"/>
              <a:gd name="connsiteX1" fmla="*/ 3114000 w 6228000"/>
              <a:gd name="connsiteY1" fmla="*/ 0 h 6235728"/>
              <a:gd name="connsiteX2" fmla="*/ 6228000 w 6228000"/>
              <a:gd name="connsiteY2" fmla="*/ 3114000 h 6235728"/>
              <a:gd name="connsiteX3" fmla="*/ 3114000 w 6228000"/>
              <a:gd name="connsiteY3" fmla="*/ 6228000 h 6235728"/>
              <a:gd name="connsiteX4" fmla="*/ 101226 w 6228000"/>
              <a:gd name="connsiteY4" fmla="*/ 3971566 h 6235728"/>
              <a:gd name="connsiteX5" fmla="*/ 0 w 6228000"/>
              <a:gd name="connsiteY5" fmla="*/ 3114000 h 6235728"/>
              <a:gd name="connsiteX0" fmla="*/ 3161 w 6231161"/>
              <a:gd name="connsiteY0" fmla="*/ 3114000 h 6235728"/>
              <a:gd name="connsiteX1" fmla="*/ 3117161 w 6231161"/>
              <a:gd name="connsiteY1" fmla="*/ 0 h 6235728"/>
              <a:gd name="connsiteX2" fmla="*/ 6231161 w 6231161"/>
              <a:gd name="connsiteY2" fmla="*/ 3114000 h 6235728"/>
              <a:gd name="connsiteX3" fmla="*/ 3117161 w 6231161"/>
              <a:gd name="connsiteY3" fmla="*/ 6228000 h 6235728"/>
              <a:gd name="connsiteX4" fmla="*/ 104387 w 6231161"/>
              <a:gd name="connsiteY4" fmla="*/ 3971566 h 6235728"/>
              <a:gd name="connsiteX5" fmla="*/ 3161 w 6231161"/>
              <a:gd name="connsiteY5" fmla="*/ 3114000 h 6235728"/>
              <a:gd name="connsiteX0" fmla="*/ 3161 w 6231161"/>
              <a:gd name="connsiteY0" fmla="*/ 3114000 h 6234127"/>
              <a:gd name="connsiteX1" fmla="*/ 3117161 w 6231161"/>
              <a:gd name="connsiteY1" fmla="*/ 0 h 6234127"/>
              <a:gd name="connsiteX2" fmla="*/ 6231161 w 6231161"/>
              <a:gd name="connsiteY2" fmla="*/ 3114000 h 6234127"/>
              <a:gd name="connsiteX3" fmla="*/ 3117161 w 6231161"/>
              <a:gd name="connsiteY3" fmla="*/ 6228000 h 6234127"/>
              <a:gd name="connsiteX4" fmla="*/ 104387 w 6231161"/>
              <a:gd name="connsiteY4" fmla="*/ 3971566 h 6234127"/>
              <a:gd name="connsiteX5" fmla="*/ 3161 w 6231161"/>
              <a:gd name="connsiteY5" fmla="*/ 3114000 h 6234127"/>
              <a:gd name="connsiteX0" fmla="*/ 232739 w 6460739"/>
              <a:gd name="connsiteY0" fmla="*/ 3114000 h 4134120"/>
              <a:gd name="connsiteX1" fmla="*/ 3346739 w 6460739"/>
              <a:gd name="connsiteY1" fmla="*/ 0 h 4134120"/>
              <a:gd name="connsiteX2" fmla="*/ 6460739 w 6460739"/>
              <a:gd name="connsiteY2" fmla="*/ 3114000 h 4134120"/>
              <a:gd name="connsiteX3" fmla="*/ 4624210 w 6460739"/>
              <a:gd name="connsiteY3" fmla="*/ 3968895 h 4134120"/>
              <a:gd name="connsiteX4" fmla="*/ 333965 w 6460739"/>
              <a:gd name="connsiteY4" fmla="*/ 3971566 h 4134120"/>
              <a:gd name="connsiteX5" fmla="*/ 232739 w 6460739"/>
              <a:gd name="connsiteY5" fmla="*/ 3114000 h 4134120"/>
              <a:gd name="connsiteX0" fmla="*/ 232739 w 6533426"/>
              <a:gd name="connsiteY0" fmla="*/ 3114000 h 4101226"/>
              <a:gd name="connsiteX1" fmla="*/ 3346739 w 6533426"/>
              <a:gd name="connsiteY1" fmla="*/ 0 h 4101226"/>
              <a:gd name="connsiteX2" fmla="*/ 6460739 w 6533426"/>
              <a:gd name="connsiteY2" fmla="*/ 3114000 h 4101226"/>
              <a:gd name="connsiteX3" fmla="*/ 5470743 w 6533426"/>
              <a:gd name="connsiteY3" fmla="*/ 4052249 h 4101226"/>
              <a:gd name="connsiteX4" fmla="*/ 4624210 w 6533426"/>
              <a:gd name="connsiteY4" fmla="*/ 3968895 h 4101226"/>
              <a:gd name="connsiteX5" fmla="*/ 333965 w 6533426"/>
              <a:gd name="connsiteY5" fmla="*/ 3971566 h 4101226"/>
              <a:gd name="connsiteX6" fmla="*/ 232739 w 6533426"/>
              <a:gd name="connsiteY6" fmla="*/ 3114000 h 4101226"/>
              <a:gd name="connsiteX0" fmla="*/ 232739 w 6507150"/>
              <a:gd name="connsiteY0" fmla="*/ 3114000 h 5929534"/>
              <a:gd name="connsiteX1" fmla="*/ 3346739 w 6507150"/>
              <a:gd name="connsiteY1" fmla="*/ 0 h 5929534"/>
              <a:gd name="connsiteX2" fmla="*/ 6460739 w 6507150"/>
              <a:gd name="connsiteY2" fmla="*/ 3114000 h 5929534"/>
              <a:gd name="connsiteX3" fmla="*/ 4731155 w 6507150"/>
              <a:gd name="connsiteY3" fmla="*/ 5921390 h 5929534"/>
              <a:gd name="connsiteX4" fmla="*/ 4624210 w 6507150"/>
              <a:gd name="connsiteY4" fmla="*/ 3968895 h 5929534"/>
              <a:gd name="connsiteX5" fmla="*/ 333965 w 6507150"/>
              <a:gd name="connsiteY5" fmla="*/ 3971566 h 5929534"/>
              <a:gd name="connsiteX6" fmla="*/ 232739 w 6507150"/>
              <a:gd name="connsiteY6" fmla="*/ 3114000 h 5929534"/>
              <a:gd name="connsiteX0" fmla="*/ 232739 w 6526554"/>
              <a:gd name="connsiteY0" fmla="*/ 3114000 h 5929534"/>
              <a:gd name="connsiteX1" fmla="*/ 3346739 w 6526554"/>
              <a:gd name="connsiteY1" fmla="*/ 0 h 5929534"/>
              <a:gd name="connsiteX2" fmla="*/ 6460739 w 6526554"/>
              <a:gd name="connsiteY2" fmla="*/ 3114000 h 5929534"/>
              <a:gd name="connsiteX3" fmla="*/ 4731155 w 6526554"/>
              <a:gd name="connsiteY3" fmla="*/ 5921390 h 5929534"/>
              <a:gd name="connsiteX4" fmla="*/ 4624210 w 6526554"/>
              <a:gd name="connsiteY4" fmla="*/ 3968895 h 5929534"/>
              <a:gd name="connsiteX5" fmla="*/ 333965 w 6526554"/>
              <a:gd name="connsiteY5" fmla="*/ 3971566 h 5929534"/>
              <a:gd name="connsiteX6" fmla="*/ 232739 w 6526554"/>
              <a:gd name="connsiteY6" fmla="*/ 3114000 h 5929534"/>
              <a:gd name="connsiteX0" fmla="*/ 232739 w 6526554"/>
              <a:gd name="connsiteY0" fmla="*/ 3114000 h 5929534"/>
              <a:gd name="connsiteX1" fmla="*/ 3346739 w 6526554"/>
              <a:gd name="connsiteY1" fmla="*/ 0 h 5929534"/>
              <a:gd name="connsiteX2" fmla="*/ 6460739 w 6526554"/>
              <a:gd name="connsiteY2" fmla="*/ 3114000 h 5929534"/>
              <a:gd name="connsiteX3" fmla="*/ 4731155 w 6526554"/>
              <a:gd name="connsiteY3" fmla="*/ 5921390 h 5929534"/>
              <a:gd name="connsiteX4" fmla="*/ 4624210 w 6526554"/>
              <a:gd name="connsiteY4" fmla="*/ 3968895 h 5929534"/>
              <a:gd name="connsiteX5" fmla="*/ 333965 w 6526554"/>
              <a:gd name="connsiteY5" fmla="*/ 3971566 h 5929534"/>
              <a:gd name="connsiteX6" fmla="*/ 232739 w 6526554"/>
              <a:gd name="connsiteY6" fmla="*/ 3114000 h 5929534"/>
              <a:gd name="connsiteX0" fmla="*/ 232739 w 6462699"/>
              <a:gd name="connsiteY0" fmla="*/ 3114000 h 5929534"/>
              <a:gd name="connsiteX1" fmla="*/ 3346739 w 6462699"/>
              <a:gd name="connsiteY1" fmla="*/ 0 h 5929534"/>
              <a:gd name="connsiteX2" fmla="*/ 6460739 w 6462699"/>
              <a:gd name="connsiteY2" fmla="*/ 3114000 h 5929534"/>
              <a:gd name="connsiteX3" fmla="*/ 4731155 w 6462699"/>
              <a:gd name="connsiteY3" fmla="*/ 5921390 h 5929534"/>
              <a:gd name="connsiteX4" fmla="*/ 4624210 w 6462699"/>
              <a:gd name="connsiteY4" fmla="*/ 3968895 h 5929534"/>
              <a:gd name="connsiteX5" fmla="*/ 333965 w 6462699"/>
              <a:gd name="connsiteY5" fmla="*/ 3971566 h 5929534"/>
              <a:gd name="connsiteX6" fmla="*/ 232739 w 6462699"/>
              <a:gd name="connsiteY6" fmla="*/ 3114000 h 5929534"/>
              <a:gd name="connsiteX0" fmla="*/ 232739 w 6462699"/>
              <a:gd name="connsiteY0" fmla="*/ 3114000 h 5929534"/>
              <a:gd name="connsiteX1" fmla="*/ 3346739 w 6462699"/>
              <a:gd name="connsiteY1" fmla="*/ 0 h 5929534"/>
              <a:gd name="connsiteX2" fmla="*/ 6460739 w 6462699"/>
              <a:gd name="connsiteY2" fmla="*/ 3114000 h 5929534"/>
              <a:gd name="connsiteX3" fmla="*/ 4731155 w 6462699"/>
              <a:gd name="connsiteY3" fmla="*/ 5921390 h 5929534"/>
              <a:gd name="connsiteX4" fmla="*/ 4624210 w 6462699"/>
              <a:gd name="connsiteY4" fmla="*/ 3968895 h 5929534"/>
              <a:gd name="connsiteX5" fmla="*/ 333965 w 6462699"/>
              <a:gd name="connsiteY5" fmla="*/ 3971566 h 5929534"/>
              <a:gd name="connsiteX6" fmla="*/ 232739 w 6462699"/>
              <a:gd name="connsiteY6" fmla="*/ 3114000 h 5929534"/>
              <a:gd name="connsiteX0" fmla="*/ 232739 w 6462699"/>
              <a:gd name="connsiteY0" fmla="*/ 3114000 h 5929534"/>
              <a:gd name="connsiteX1" fmla="*/ 3346739 w 6462699"/>
              <a:gd name="connsiteY1" fmla="*/ 0 h 5929534"/>
              <a:gd name="connsiteX2" fmla="*/ 6460739 w 6462699"/>
              <a:gd name="connsiteY2" fmla="*/ 3114000 h 5929534"/>
              <a:gd name="connsiteX3" fmla="*/ 4731155 w 6462699"/>
              <a:gd name="connsiteY3" fmla="*/ 5921390 h 5929534"/>
              <a:gd name="connsiteX4" fmla="*/ 4624210 w 6462699"/>
              <a:gd name="connsiteY4" fmla="*/ 3968895 h 5929534"/>
              <a:gd name="connsiteX5" fmla="*/ 333965 w 6462699"/>
              <a:gd name="connsiteY5" fmla="*/ 3971566 h 5929534"/>
              <a:gd name="connsiteX6" fmla="*/ 232739 w 6462699"/>
              <a:gd name="connsiteY6" fmla="*/ 3114000 h 5929534"/>
              <a:gd name="connsiteX0" fmla="*/ 232739 w 6462699"/>
              <a:gd name="connsiteY0" fmla="*/ 3114000 h 5929534"/>
              <a:gd name="connsiteX1" fmla="*/ 3346739 w 6462699"/>
              <a:gd name="connsiteY1" fmla="*/ 0 h 5929534"/>
              <a:gd name="connsiteX2" fmla="*/ 6460739 w 6462699"/>
              <a:gd name="connsiteY2" fmla="*/ 3114000 h 5929534"/>
              <a:gd name="connsiteX3" fmla="*/ 4731155 w 6462699"/>
              <a:gd name="connsiteY3" fmla="*/ 5921390 h 5929534"/>
              <a:gd name="connsiteX4" fmla="*/ 4624210 w 6462699"/>
              <a:gd name="connsiteY4" fmla="*/ 3968895 h 5929534"/>
              <a:gd name="connsiteX5" fmla="*/ 333965 w 6462699"/>
              <a:gd name="connsiteY5" fmla="*/ 3971566 h 5929534"/>
              <a:gd name="connsiteX6" fmla="*/ 232739 w 6462699"/>
              <a:gd name="connsiteY6" fmla="*/ 3114000 h 5929534"/>
              <a:gd name="connsiteX0" fmla="*/ 3162 w 6233122"/>
              <a:gd name="connsiteY0" fmla="*/ 3114000 h 5929534"/>
              <a:gd name="connsiteX1" fmla="*/ 3117162 w 6233122"/>
              <a:gd name="connsiteY1" fmla="*/ 0 h 5929534"/>
              <a:gd name="connsiteX2" fmla="*/ 6231162 w 6233122"/>
              <a:gd name="connsiteY2" fmla="*/ 3114000 h 5929534"/>
              <a:gd name="connsiteX3" fmla="*/ 4501578 w 6233122"/>
              <a:gd name="connsiteY3" fmla="*/ 5921390 h 5929534"/>
              <a:gd name="connsiteX4" fmla="*/ 4394633 w 6233122"/>
              <a:gd name="connsiteY4" fmla="*/ 3968895 h 5929534"/>
              <a:gd name="connsiteX5" fmla="*/ 104388 w 6233122"/>
              <a:gd name="connsiteY5" fmla="*/ 3971566 h 5929534"/>
              <a:gd name="connsiteX6" fmla="*/ 3162 w 6233122"/>
              <a:gd name="connsiteY6" fmla="*/ 3114000 h 5929534"/>
              <a:gd name="connsiteX0" fmla="*/ 5446 w 6235406"/>
              <a:gd name="connsiteY0" fmla="*/ 3114000 h 5929534"/>
              <a:gd name="connsiteX1" fmla="*/ 3119446 w 6235406"/>
              <a:gd name="connsiteY1" fmla="*/ 0 h 5929534"/>
              <a:gd name="connsiteX2" fmla="*/ 6233446 w 6235406"/>
              <a:gd name="connsiteY2" fmla="*/ 3114000 h 5929534"/>
              <a:gd name="connsiteX3" fmla="*/ 4503862 w 6235406"/>
              <a:gd name="connsiteY3" fmla="*/ 5921390 h 5929534"/>
              <a:gd name="connsiteX4" fmla="*/ 4396917 w 6235406"/>
              <a:gd name="connsiteY4" fmla="*/ 3968895 h 5929534"/>
              <a:gd name="connsiteX5" fmla="*/ 106672 w 6235406"/>
              <a:gd name="connsiteY5" fmla="*/ 3971566 h 5929534"/>
              <a:gd name="connsiteX6" fmla="*/ 5446 w 6235406"/>
              <a:gd name="connsiteY6" fmla="*/ 3114000 h 5929534"/>
              <a:gd name="connsiteX0" fmla="*/ 5446 w 6235406"/>
              <a:gd name="connsiteY0" fmla="*/ 3114000 h 5929534"/>
              <a:gd name="connsiteX1" fmla="*/ 3119446 w 6235406"/>
              <a:gd name="connsiteY1" fmla="*/ 0 h 5929534"/>
              <a:gd name="connsiteX2" fmla="*/ 6233446 w 6235406"/>
              <a:gd name="connsiteY2" fmla="*/ 3114000 h 5929534"/>
              <a:gd name="connsiteX3" fmla="*/ 4503862 w 6235406"/>
              <a:gd name="connsiteY3" fmla="*/ 5921390 h 5929534"/>
              <a:gd name="connsiteX4" fmla="*/ 4396917 w 6235406"/>
              <a:gd name="connsiteY4" fmla="*/ 3968895 h 5929534"/>
              <a:gd name="connsiteX5" fmla="*/ 106672 w 6235406"/>
              <a:gd name="connsiteY5" fmla="*/ 3971566 h 5929534"/>
              <a:gd name="connsiteX6" fmla="*/ 5446 w 6235406"/>
              <a:gd name="connsiteY6" fmla="*/ 3114000 h 5929534"/>
              <a:gd name="connsiteX0" fmla="*/ 5446 w 6235406"/>
              <a:gd name="connsiteY0" fmla="*/ 3114000 h 5929534"/>
              <a:gd name="connsiteX1" fmla="*/ 3119446 w 6235406"/>
              <a:gd name="connsiteY1" fmla="*/ 0 h 5929534"/>
              <a:gd name="connsiteX2" fmla="*/ 6233446 w 6235406"/>
              <a:gd name="connsiteY2" fmla="*/ 3114000 h 5929534"/>
              <a:gd name="connsiteX3" fmla="*/ 4503862 w 6235406"/>
              <a:gd name="connsiteY3" fmla="*/ 5921390 h 5929534"/>
              <a:gd name="connsiteX4" fmla="*/ 4396917 w 6235406"/>
              <a:gd name="connsiteY4" fmla="*/ 3968895 h 5929534"/>
              <a:gd name="connsiteX5" fmla="*/ 106672 w 6235406"/>
              <a:gd name="connsiteY5" fmla="*/ 3971566 h 5929534"/>
              <a:gd name="connsiteX6" fmla="*/ 5446 w 6235406"/>
              <a:gd name="connsiteY6" fmla="*/ 3114000 h 5929534"/>
              <a:gd name="connsiteX0" fmla="*/ 5446 w 6235406"/>
              <a:gd name="connsiteY0" fmla="*/ 3114000 h 5929534"/>
              <a:gd name="connsiteX1" fmla="*/ 3119446 w 6235406"/>
              <a:gd name="connsiteY1" fmla="*/ 0 h 5929534"/>
              <a:gd name="connsiteX2" fmla="*/ 6233446 w 6235406"/>
              <a:gd name="connsiteY2" fmla="*/ 3114000 h 5929534"/>
              <a:gd name="connsiteX3" fmla="*/ 4503862 w 6235406"/>
              <a:gd name="connsiteY3" fmla="*/ 5921390 h 5929534"/>
              <a:gd name="connsiteX4" fmla="*/ 4396917 w 6235406"/>
              <a:gd name="connsiteY4" fmla="*/ 3968895 h 5929534"/>
              <a:gd name="connsiteX5" fmla="*/ 106672 w 6235406"/>
              <a:gd name="connsiteY5" fmla="*/ 3971566 h 5929534"/>
              <a:gd name="connsiteX6" fmla="*/ 5446 w 6235406"/>
              <a:gd name="connsiteY6" fmla="*/ 3114000 h 5929534"/>
              <a:gd name="connsiteX0" fmla="*/ 5446 w 6235406"/>
              <a:gd name="connsiteY0" fmla="*/ 3114000 h 5929534"/>
              <a:gd name="connsiteX1" fmla="*/ 3119446 w 6235406"/>
              <a:gd name="connsiteY1" fmla="*/ 0 h 5929534"/>
              <a:gd name="connsiteX2" fmla="*/ 6233446 w 6235406"/>
              <a:gd name="connsiteY2" fmla="*/ 3114000 h 5929534"/>
              <a:gd name="connsiteX3" fmla="*/ 4503862 w 6235406"/>
              <a:gd name="connsiteY3" fmla="*/ 5921390 h 5929534"/>
              <a:gd name="connsiteX4" fmla="*/ 4396917 w 6235406"/>
              <a:gd name="connsiteY4" fmla="*/ 3968895 h 5929534"/>
              <a:gd name="connsiteX5" fmla="*/ 106672 w 6235406"/>
              <a:gd name="connsiteY5" fmla="*/ 3971566 h 5929534"/>
              <a:gd name="connsiteX6" fmla="*/ 5446 w 6235406"/>
              <a:gd name="connsiteY6" fmla="*/ 3114000 h 5929534"/>
              <a:gd name="connsiteX0" fmla="*/ 5446 w 6235406"/>
              <a:gd name="connsiteY0" fmla="*/ 3114000 h 5929650"/>
              <a:gd name="connsiteX1" fmla="*/ 3119446 w 6235406"/>
              <a:gd name="connsiteY1" fmla="*/ 0 h 5929650"/>
              <a:gd name="connsiteX2" fmla="*/ 6233446 w 6235406"/>
              <a:gd name="connsiteY2" fmla="*/ 3114000 h 5929650"/>
              <a:gd name="connsiteX3" fmla="*/ 4503862 w 6235406"/>
              <a:gd name="connsiteY3" fmla="*/ 5921390 h 5929650"/>
              <a:gd name="connsiteX4" fmla="*/ 4396917 w 6235406"/>
              <a:gd name="connsiteY4" fmla="*/ 3968895 h 5929650"/>
              <a:gd name="connsiteX5" fmla="*/ 106672 w 6235406"/>
              <a:gd name="connsiteY5" fmla="*/ 3971566 h 5929650"/>
              <a:gd name="connsiteX6" fmla="*/ 5446 w 6235406"/>
              <a:gd name="connsiteY6" fmla="*/ 3114000 h 5929650"/>
              <a:gd name="connsiteX0" fmla="*/ 5446 w 6235406"/>
              <a:gd name="connsiteY0" fmla="*/ 3114000 h 5929650"/>
              <a:gd name="connsiteX1" fmla="*/ 3119446 w 6235406"/>
              <a:gd name="connsiteY1" fmla="*/ 0 h 5929650"/>
              <a:gd name="connsiteX2" fmla="*/ 6233446 w 6235406"/>
              <a:gd name="connsiteY2" fmla="*/ 3114000 h 5929650"/>
              <a:gd name="connsiteX3" fmla="*/ 4503862 w 6235406"/>
              <a:gd name="connsiteY3" fmla="*/ 5921390 h 5929650"/>
              <a:gd name="connsiteX4" fmla="*/ 4396917 w 6235406"/>
              <a:gd name="connsiteY4" fmla="*/ 3968895 h 5929650"/>
              <a:gd name="connsiteX5" fmla="*/ 106672 w 6235406"/>
              <a:gd name="connsiteY5" fmla="*/ 3971566 h 5929650"/>
              <a:gd name="connsiteX6" fmla="*/ 5446 w 6235406"/>
              <a:gd name="connsiteY6" fmla="*/ 3114000 h 5929650"/>
              <a:gd name="connsiteX0" fmla="*/ 5446 w 6235406"/>
              <a:gd name="connsiteY0" fmla="*/ 3114000 h 5929650"/>
              <a:gd name="connsiteX1" fmla="*/ 3119446 w 6235406"/>
              <a:gd name="connsiteY1" fmla="*/ 0 h 5929650"/>
              <a:gd name="connsiteX2" fmla="*/ 6233446 w 6235406"/>
              <a:gd name="connsiteY2" fmla="*/ 3114000 h 5929650"/>
              <a:gd name="connsiteX3" fmla="*/ 4503862 w 6235406"/>
              <a:gd name="connsiteY3" fmla="*/ 5921390 h 5929650"/>
              <a:gd name="connsiteX4" fmla="*/ 4396917 w 6235406"/>
              <a:gd name="connsiteY4" fmla="*/ 3968895 h 5929650"/>
              <a:gd name="connsiteX5" fmla="*/ 106672 w 6235406"/>
              <a:gd name="connsiteY5" fmla="*/ 3971566 h 5929650"/>
              <a:gd name="connsiteX6" fmla="*/ 5446 w 6235406"/>
              <a:gd name="connsiteY6" fmla="*/ 3114000 h 5929650"/>
              <a:gd name="connsiteX0" fmla="*/ 5446 w 6235406"/>
              <a:gd name="connsiteY0" fmla="*/ 3114000 h 5921390"/>
              <a:gd name="connsiteX1" fmla="*/ 3119446 w 6235406"/>
              <a:gd name="connsiteY1" fmla="*/ 0 h 5921390"/>
              <a:gd name="connsiteX2" fmla="*/ 6233446 w 6235406"/>
              <a:gd name="connsiteY2" fmla="*/ 3114000 h 5921390"/>
              <a:gd name="connsiteX3" fmla="*/ 4503862 w 6235406"/>
              <a:gd name="connsiteY3" fmla="*/ 5921390 h 5921390"/>
              <a:gd name="connsiteX4" fmla="*/ 4396917 w 6235406"/>
              <a:gd name="connsiteY4" fmla="*/ 3968895 h 5921390"/>
              <a:gd name="connsiteX5" fmla="*/ 106672 w 6235406"/>
              <a:gd name="connsiteY5" fmla="*/ 3971566 h 5921390"/>
              <a:gd name="connsiteX6" fmla="*/ 5446 w 6235406"/>
              <a:gd name="connsiteY6" fmla="*/ 3114000 h 5921390"/>
              <a:gd name="connsiteX0" fmla="*/ 5446 w 6235406"/>
              <a:gd name="connsiteY0" fmla="*/ 3114000 h 5921390"/>
              <a:gd name="connsiteX1" fmla="*/ 3119446 w 6235406"/>
              <a:gd name="connsiteY1" fmla="*/ 0 h 5921390"/>
              <a:gd name="connsiteX2" fmla="*/ 6233446 w 6235406"/>
              <a:gd name="connsiteY2" fmla="*/ 3114000 h 5921390"/>
              <a:gd name="connsiteX3" fmla="*/ 4503862 w 6235406"/>
              <a:gd name="connsiteY3" fmla="*/ 5921390 h 5921390"/>
              <a:gd name="connsiteX4" fmla="*/ 4396917 w 6235406"/>
              <a:gd name="connsiteY4" fmla="*/ 3968895 h 5921390"/>
              <a:gd name="connsiteX5" fmla="*/ 106672 w 6235406"/>
              <a:gd name="connsiteY5" fmla="*/ 3971566 h 5921390"/>
              <a:gd name="connsiteX6" fmla="*/ 5446 w 6235406"/>
              <a:gd name="connsiteY6" fmla="*/ 3114000 h 5921390"/>
              <a:gd name="connsiteX0" fmla="*/ 5446 w 6235406"/>
              <a:gd name="connsiteY0" fmla="*/ 3114000 h 5921390"/>
              <a:gd name="connsiteX1" fmla="*/ 3119446 w 6235406"/>
              <a:gd name="connsiteY1" fmla="*/ 0 h 5921390"/>
              <a:gd name="connsiteX2" fmla="*/ 6233446 w 6235406"/>
              <a:gd name="connsiteY2" fmla="*/ 3114000 h 5921390"/>
              <a:gd name="connsiteX3" fmla="*/ 4503862 w 6235406"/>
              <a:gd name="connsiteY3" fmla="*/ 5921390 h 5921390"/>
              <a:gd name="connsiteX4" fmla="*/ 4396917 w 6235406"/>
              <a:gd name="connsiteY4" fmla="*/ 3968895 h 5921390"/>
              <a:gd name="connsiteX5" fmla="*/ 106672 w 6235406"/>
              <a:gd name="connsiteY5" fmla="*/ 3971566 h 5921390"/>
              <a:gd name="connsiteX6" fmla="*/ 5446 w 6235406"/>
              <a:gd name="connsiteY6" fmla="*/ 3114000 h 5921390"/>
              <a:gd name="connsiteX0" fmla="*/ 5446 w 6235406"/>
              <a:gd name="connsiteY0" fmla="*/ 3114000 h 5938745"/>
              <a:gd name="connsiteX1" fmla="*/ 3119446 w 6235406"/>
              <a:gd name="connsiteY1" fmla="*/ 0 h 5938745"/>
              <a:gd name="connsiteX2" fmla="*/ 6233446 w 6235406"/>
              <a:gd name="connsiteY2" fmla="*/ 3114000 h 5938745"/>
              <a:gd name="connsiteX3" fmla="*/ 4503862 w 6235406"/>
              <a:gd name="connsiteY3" fmla="*/ 5921390 h 5938745"/>
              <a:gd name="connsiteX4" fmla="*/ 4455038 w 6235406"/>
              <a:gd name="connsiteY4" fmla="*/ 4284366 h 5938745"/>
              <a:gd name="connsiteX5" fmla="*/ 4396917 w 6235406"/>
              <a:gd name="connsiteY5" fmla="*/ 3968895 h 5938745"/>
              <a:gd name="connsiteX6" fmla="*/ 106672 w 6235406"/>
              <a:gd name="connsiteY6" fmla="*/ 3971566 h 5938745"/>
              <a:gd name="connsiteX7" fmla="*/ 5446 w 6235406"/>
              <a:gd name="connsiteY7" fmla="*/ 3114000 h 5938745"/>
              <a:gd name="connsiteX0" fmla="*/ 5446 w 6235406"/>
              <a:gd name="connsiteY0" fmla="*/ 3114000 h 5938745"/>
              <a:gd name="connsiteX1" fmla="*/ 3119446 w 6235406"/>
              <a:gd name="connsiteY1" fmla="*/ 0 h 5938745"/>
              <a:gd name="connsiteX2" fmla="*/ 6233446 w 6235406"/>
              <a:gd name="connsiteY2" fmla="*/ 3114000 h 5938745"/>
              <a:gd name="connsiteX3" fmla="*/ 4503862 w 6235406"/>
              <a:gd name="connsiteY3" fmla="*/ 5921390 h 5938745"/>
              <a:gd name="connsiteX4" fmla="*/ 4455038 w 6235406"/>
              <a:gd name="connsiteY4" fmla="*/ 4284366 h 5938745"/>
              <a:gd name="connsiteX5" fmla="*/ 4396917 w 6235406"/>
              <a:gd name="connsiteY5" fmla="*/ 3968895 h 5938745"/>
              <a:gd name="connsiteX6" fmla="*/ 106672 w 6235406"/>
              <a:gd name="connsiteY6" fmla="*/ 3971566 h 5938745"/>
              <a:gd name="connsiteX7" fmla="*/ 5446 w 6235406"/>
              <a:gd name="connsiteY7" fmla="*/ 3114000 h 5938745"/>
              <a:gd name="connsiteX0" fmla="*/ 5446 w 6235406"/>
              <a:gd name="connsiteY0" fmla="*/ 3114000 h 5938745"/>
              <a:gd name="connsiteX1" fmla="*/ 3119446 w 6235406"/>
              <a:gd name="connsiteY1" fmla="*/ 0 h 5938745"/>
              <a:gd name="connsiteX2" fmla="*/ 6233446 w 6235406"/>
              <a:gd name="connsiteY2" fmla="*/ 3114000 h 5938745"/>
              <a:gd name="connsiteX3" fmla="*/ 4503862 w 6235406"/>
              <a:gd name="connsiteY3" fmla="*/ 5921390 h 5938745"/>
              <a:gd name="connsiteX4" fmla="*/ 4483173 w 6235406"/>
              <a:gd name="connsiteY4" fmla="*/ 4284366 h 5938745"/>
              <a:gd name="connsiteX5" fmla="*/ 4396917 w 6235406"/>
              <a:gd name="connsiteY5" fmla="*/ 3968895 h 5938745"/>
              <a:gd name="connsiteX6" fmla="*/ 106672 w 6235406"/>
              <a:gd name="connsiteY6" fmla="*/ 3971566 h 5938745"/>
              <a:gd name="connsiteX7" fmla="*/ 5446 w 6235406"/>
              <a:gd name="connsiteY7" fmla="*/ 3114000 h 5938745"/>
              <a:gd name="connsiteX0" fmla="*/ 5446 w 6235406"/>
              <a:gd name="connsiteY0" fmla="*/ 3114000 h 5938818"/>
              <a:gd name="connsiteX1" fmla="*/ 3119446 w 6235406"/>
              <a:gd name="connsiteY1" fmla="*/ 0 h 5938818"/>
              <a:gd name="connsiteX2" fmla="*/ 6233446 w 6235406"/>
              <a:gd name="connsiteY2" fmla="*/ 3114000 h 5938818"/>
              <a:gd name="connsiteX3" fmla="*/ 4503862 w 6235406"/>
              <a:gd name="connsiteY3" fmla="*/ 5921390 h 5938818"/>
              <a:gd name="connsiteX4" fmla="*/ 4483173 w 6235406"/>
              <a:gd name="connsiteY4" fmla="*/ 4284366 h 5938818"/>
              <a:gd name="connsiteX5" fmla="*/ 4396917 w 6235406"/>
              <a:gd name="connsiteY5" fmla="*/ 3968895 h 5938818"/>
              <a:gd name="connsiteX6" fmla="*/ 106672 w 6235406"/>
              <a:gd name="connsiteY6" fmla="*/ 3971566 h 5938818"/>
              <a:gd name="connsiteX7" fmla="*/ 5446 w 6235406"/>
              <a:gd name="connsiteY7" fmla="*/ 3114000 h 5938818"/>
              <a:gd name="connsiteX0" fmla="*/ 5446 w 6235406"/>
              <a:gd name="connsiteY0" fmla="*/ 3114000 h 5938818"/>
              <a:gd name="connsiteX1" fmla="*/ 3119446 w 6235406"/>
              <a:gd name="connsiteY1" fmla="*/ 0 h 5938818"/>
              <a:gd name="connsiteX2" fmla="*/ 6233446 w 6235406"/>
              <a:gd name="connsiteY2" fmla="*/ 3114000 h 5938818"/>
              <a:gd name="connsiteX3" fmla="*/ 4503862 w 6235406"/>
              <a:gd name="connsiteY3" fmla="*/ 5921390 h 5938818"/>
              <a:gd name="connsiteX4" fmla="*/ 4483173 w 6235406"/>
              <a:gd name="connsiteY4" fmla="*/ 4284366 h 5938818"/>
              <a:gd name="connsiteX5" fmla="*/ 4396917 w 6235406"/>
              <a:gd name="connsiteY5" fmla="*/ 3968895 h 5938818"/>
              <a:gd name="connsiteX6" fmla="*/ 106672 w 6235406"/>
              <a:gd name="connsiteY6" fmla="*/ 3971566 h 5938818"/>
              <a:gd name="connsiteX7" fmla="*/ 5446 w 6235406"/>
              <a:gd name="connsiteY7" fmla="*/ 3114000 h 5938818"/>
              <a:gd name="connsiteX0" fmla="*/ 5446 w 6235406"/>
              <a:gd name="connsiteY0" fmla="*/ 3114000 h 5938818"/>
              <a:gd name="connsiteX1" fmla="*/ 3119446 w 6235406"/>
              <a:gd name="connsiteY1" fmla="*/ 0 h 5938818"/>
              <a:gd name="connsiteX2" fmla="*/ 6233446 w 6235406"/>
              <a:gd name="connsiteY2" fmla="*/ 3114000 h 5938818"/>
              <a:gd name="connsiteX3" fmla="*/ 4503862 w 6235406"/>
              <a:gd name="connsiteY3" fmla="*/ 5921390 h 5938818"/>
              <a:gd name="connsiteX4" fmla="*/ 4483173 w 6235406"/>
              <a:gd name="connsiteY4" fmla="*/ 4284366 h 5938818"/>
              <a:gd name="connsiteX5" fmla="*/ 4396917 w 6235406"/>
              <a:gd name="connsiteY5" fmla="*/ 3968895 h 5938818"/>
              <a:gd name="connsiteX6" fmla="*/ 106672 w 6235406"/>
              <a:gd name="connsiteY6" fmla="*/ 3971566 h 5938818"/>
              <a:gd name="connsiteX7" fmla="*/ 5446 w 6235406"/>
              <a:gd name="connsiteY7" fmla="*/ 3114000 h 5938818"/>
              <a:gd name="connsiteX0" fmla="*/ 5446 w 6235406"/>
              <a:gd name="connsiteY0" fmla="*/ 3114000 h 5938818"/>
              <a:gd name="connsiteX1" fmla="*/ 3119446 w 6235406"/>
              <a:gd name="connsiteY1" fmla="*/ 0 h 5938818"/>
              <a:gd name="connsiteX2" fmla="*/ 6233446 w 6235406"/>
              <a:gd name="connsiteY2" fmla="*/ 3114000 h 5938818"/>
              <a:gd name="connsiteX3" fmla="*/ 4503862 w 6235406"/>
              <a:gd name="connsiteY3" fmla="*/ 5921390 h 5938818"/>
              <a:gd name="connsiteX4" fmla="*/ 4483173 w 6235406"/>
              <a:gd name="connsiteY4" fmla="*/ 4284366 h 5938818"/>
              <a:gd name="connsiteX5" fmla="*/ 4396917 w 6235406"/>
              <a:gd name="connsiteY5" fmla="*/ 3968895 h 5938818"/>
              <a:gd name="connsiteX6" fmla="*/ 106672 w 6235406"/>
              <a:gd name="connsiteY6" fmla="*/ 3971566 h 5938818"/>
              <a:gd name="connsiteX7" fmla="*/ 5446 w 6235406"/>
              <a:gd name="connsiteY7" fmla="*/ 3114000 h 5938818"/>
              <a:gd name="connsiteX0" fmla="*/ 5446 w 6235406"/>
              <a:gd name="connsiteY0" fmla="*/ 3114000 h 5921941"/>
              <a:gd name="connsiteX1" fmla="*/ 3119446 w 6235406"/>
              <a:gd name="connsiteY1" fmla="*/ 0 h 5921941"/>
              <a:gd name="connsiteX2" fmla="*/ 6233446 w 6235406"/>
              <a:gd name="connsiteY2" fmla="*/ 3114000 h 5921941"/>
              <a:gd name="connsiteX3" fmla="*/ 4490214 w 6235406"/>
              <a:gd name="connsiteY3" fmla="*/ 5904331 h 5921941"/>
              <a:gd name="connsiteX4" fmla="*/ 4483173 w 6235406"/>
              <a:gd name="connsiteY4" fmla="*/ 4284366 h 5921941"/>
              <a:gd name="connsiteX5" fmla="*/ 4396917 w 6235406"/>
              <a:gd name="connsiteY5" fmla="*/ 3968895 h 5921941"/>
              <a:gd name="connsiteX6" fmla="*/ 106672 w 6235406"/>
              <a:gd name="connsiteY6" fmla="*/ 3971566 h 5921941"/>
              <a:gd name="connsiteX7" fmla="*/ 5446 w 6235406"/>
              <a:gd name="connsiteY7" fmla="*/ 3114000 h 5921941"/>
              <a:gd name="connsiteX0" fmla="*/ 5446 w 6235406"/>
              <a:gd name="connsiteY0" fmla="*/ 3114000 h 5921941"/>
              <a:gd name="connsiteX1" fmla="*/ 3119446 w 6235406"/>
              <a:gd name="connsiteY1" fmla="*/ 0 h 5921941"/>
              <a:gd name="connsiteX2" fmla="*/ 6233446 w 6235406"/>
              <a:gd name="connsiteY2" fmla="*/ 3114000 h 5921941"/>
              <a:gd name="connsiteX3" fmla="*/ 4490214 w 6235406"/>
              <a:gd name="connsiteY3" fmla="*/ 5904331 h 5921941"/>
              <a:gd name="connsiteX4" fmla="*/ 4483173 w 6235406"/>
              <a:gd name="connsiteY4" fmla="*/ 4284366 h 5921941"/>
              <a:gd name="connsiteX5" fmla="*/ 4396917 w 6235406"/>
              <a:gd name="connsiteY5" fmla="*/ 3968895 h 5921941"/>
              <a:gd name="connsiteX6" fmla="*/ 106672 w 6235406"/>
              <a:gd name="connsiteY6" fmla="*/ 3971566 h 5921941"/>
              <a:gd name="connsiteX7" fmla="*/ 5446 w 6235406"/>
              <a:gd name="connsiteY7" fmla="*/ 3114000 h 5921941"/>
              <a:gd name="connsiteX0" fmla="*/ 5446 w 6235406"/>
              <a:gd name="connsiteY0" fmla="*/ 3114000 h 5904331"/>
              <a:gd name="connsiteX1" fmla="*/ 3119446 w 6235406"/>
              <a:gd name="connsiteY1" fmla="*/ 0 h 5904331"/>
              <a:gd name="connsiteX2" fmla="*/ 6233446 w 6235406"/>
              <a:gd name="connsiteY2" fmla="*/ 3114000 h 5904331"/>
              <a:gd name="connsiteX3" fmla="*/ 4490214 w 6235406"/>
              <a:gd name="connsiteY3" fmla="*/ 5904331 h 5904331"/>
              <a:gd name="connsiteX4" fmla="*/ 4483173 w 6235406"/>
              <a:gd name="connsiteY4" fmla="*/ 4284366 h 5904331"/>
              <a:gd name="connsiteX5" fmla="*/ 4396917 w 6235406"/>
              <a:gd name="connsiteY5" fmla="*/ 3968895 h 5904331"/>
              <a:gd name="connsiteX6" fmla="*/ 106672 w 6235406"/>
              <a:gd name="connsiteY6" fmla="*/ 3971566 h 5904331"/>
              <a:gd name="connsiteX7" fmla="*/ 5446 w 6235406"/>
              <a:gd name="connsiteY7" fmla="*/ 3114000 h 5904331"/>
              <a:gd name="connsiteX0" fmla="*/ 5446 w 6235406"/>
              <a:gd name="connsiteY0" fmla="*/ 3114000 h 5904331"/>
              <a:gd name="connsiteX1" fmla="*/ 3119446 w 6235406"/>
              <a:gd name="connsiteY1" fmla="*/ 0 h 5904331"/>
              <a:gd name="connsiteX2" fmla="*/ 6233446 w 6235406"/>
              <a:gd name="connsiteY2" fmla="*/ 3114000 h 5904331"/>
              <a:gd name="connsiteX3" fmla="*/ 4490214 w 6235406"/>
              <a:gd name="connsiteY3" fmla="*/ 5904331 h 5904331"/>
              <a:gd name="connsiteX4" fmla="*/ 4483173 w 6235406"/>
              <a:gd name="connsiteY4" fmla="*/ 4284366 h 5904331"/>
              <a:gd name="connsiteX5" fmla="*/ 4396917 w 6235406"/>
              <a:gd name="connsiteY5" fmla="*/ 3968895 h 5904331"/>
              <a:gd name="connsiteX6" fmla="*/ 106672 w 6235406"/>
              <a:gd name="connsiteY6" fmla="*/ 3971566 h 5904331"/>
              <a:gd name="connsiteX7" fmla="*/ 5446 w 6235406"/>
              <a:gd name="connsiteY7" fmla="*/ 3114000 h 5904331"/>
              <a:gd name="connsiteX0" fmla="*/ 5446 w 6235406"/>
              <a:gd name="connsiteY0" fmla="*/ 3114000 h 5904331"/>
              <a:gd name="connsiteX1" fmla="*/ 3119446 w 6235406"/>
              <a:gd name="connsiteY1" fmla="*/ 0 h 5904331"/>
              <a:gd name="connsiteX2" fmla="*/ 6233446 w 6235406"/>
              <a:gd name="connsiteY2" fmla="*/ 3114000 h 5904331"/>
              <a:gd name="connsiteX3" fmla="*/ 4490214 w 6235406"/>
              <a:gd name="connsiteY3" fmla="*/ 5904331 h 5904331"/>
              <a:gd name="connsiteX4" fmla="*/ 4483173 w 6235406"/>
              <a:gd name="connsiteY4" fmla="*/ 4284366 h 5904331"/>
              <a:gd name="connsiteX5" fmla="*/ 4396917 w 6235406"/>
              <a:gd name="connsiteY5" fmla="*/ 3968895 h 5904331"/>
              <a:gd name="connsiteX6" fmla="*/ 106672 w 6235406"/>
              <a:gd name="connsiteY6" fmla="*/ 3971566 h 5904331"/>
              <a:gd name="connsiteX7" fmla="*/ 5446 w 6235406"/>
              <a:gd name="connsiteY7" fmla="*/ 3114000 h 5904331"/>
              <a:gd name="connsiteX0" fmla="*/ 5446 w 6235406"/>
              <a:gd name="connsiteY0" fmla="*/ 3114000 h 5904331"/>
              <a:gd name="connsiteX1" fmla="*/ 3119446 w 6235406"/>
              <a:gd name="connsiteY1" fmla="*/ 0 h 5904331"/>
              <a:gd name="connsiteX2" fmla="*/ 6233446 w 6235406"/>
              <a:gd name="connsiteY2" fmla="*/ 3114000 h 5904331"/>
              <a:gd name="connsiteX3" fmla="*/ 4490214 w 6235406"/>
              <a:gd name="connsiteY3" fmla="*/ 5904331 h 5904331"/>
              <a:gd name="connsiteX4" fmla="*/ 4483173 w 6235406"/>
              <a:gd name="connsiteY4" fmla="*/ 4284366 h 5904331"/>
              <a:gd name="connsiteX5" fmla="*/ 4396917 w 6235406"/>
              <a:gd name="connsiteY5" fmla="*/ 3968895 h 5904331"/>
              <a:gd name="connsiteX6" fmla="*/ 106672 w 6235406"/>
              <a:gd name="connsiteY6" fmla="*/ 3971566 h 5904331"/>
              <a:gd name="connsiteX7" fmla="*/ 5446 w 6235406"/>
              <a:gd name="connsiteY7" fmla="*/ 3114000 h 5904331"/>
              <a:gd name="connsiteX0" fmla="*/ 5446 w 6235406"/>
              <a:gd name="connsiteY0" fmla="*/ 3114000 h 5904331"/>
              <a:gd name="connsiteX1" fmla="*/ 3119446 w 6235406"/>
              <a:gd name="connsiteY1" fmla="*/ 0 h 5904331"/>
              <a:gd name="connsiteX2" fmla="*/ 6233446 w 6235406"/>
              <a:gd name="connsiteY2" fmla="*/ 3114000 h 5904331"/>
              <a:gd name="connsiteX3" fmla="*/ 4490214 w 6235406"/>
              <a:gd name="connsiteY3" fmla="*/ 5904331 h 5904331"/>
              <a:gd name="connsiteX4" fmla="*/ 4486585 w 6235406"/>
              <a:gd name="connsiteY4" fmla="*/ 4137653 h 5904331"/>
              <a:gd name="connsiteX5" fmla="*/ 4396917 w 6235406"/>
              <a:gd name="connsiteY5" fmla="*/ 3968895 h 5904331"/>
              <a:gd name="connsiteX6" fmla="*/ 106672 w 6235406"/>
              <a:gd name="connsiteY6" fmla="*/ 3971566 h 5904331"/>
              <a:gd name="connsiteX7" fmla="*/ 5446 w 6235406"/>
              <a:gd name="connsiteY7" fmla="*/ 3114000 h 5904331"/>
              <a:gd name="connsiteX0" fmla="*/ 5446 w 6235406"/>
              <a:gd name="connsiteY0" fmla="*/ 3114000 h 5904331"/>
              <a:gd name="connsiteX1" fmla="*/ 3119446 w 6235406"/>
              <a:gd name="connsiteY1" fmla="*/ 0 h 5904331"/>
              <a:gd name="connsiteX2" fmla="*/ 6233446 w 6235406"/>
              <a:gd name="connsiteY2" fmla="*/ 3114000 h 5904331"/>
              <a:gd name="connsiteX3" fmla="*/ 4490214 w 6235406"/>
              <a:gd name="connsiteY3" fmla="*/ 5904331 h 5904331"/>
              <a:gd name="connsiteX4" fmla="*/ 4486585 w 6235406"/>
              <a:gd name="connsiteY4" fmla="*/ 4147888 h 5904331"/>
              <a:gd name="connsiteX5" fmla="*/ 4396917 w 6235406"/>
              <a:gd name="connsiteY5" fmla="*/ 3968895 h 5904331"/>
              <a:gd name="connsiteX6" fmla="*/ 106672 w 6235406"/>
              <a:gd name="connsiteY6" fmla="*/ 3971566 h 5904331"/>
              <a:gd name="connsiteX7" fmla="*/ 5446 w 6235406"/>
              <a:gd name="connsiteY7" fmla="*/ 3114000 h 5904331"/>
              <a:gd name="connsiteX0" fmla="*/ 5446 w 6235406"/>
              <a:gd name="connsiteY0" fmla="*/ 3114000 h 5904331"/>
              <a:gd name="connsiteX1" fmla="*/ 3119446 w 6235406"/>
              <a:gd name="connsiteY1" fmla="*/ 0 h 5904331"/>
              <a:gd name="connsiteX2" fmla="*/ 6233446 w 6235406"/>
              <a:gd name="connsiteY2" fmla="*/ 3114000 h 5904331"/>
              <a:gd name="connsiteX3" fmla="*/ 4490214 w 6235406"/>
              <a:gd name="connsiteY3" fmla="*/ 5904331 h 5904331"/>
              <a:gd name="connsiteX4" fmla="*/ 4486585 w 6235406"/>
              <a:gd name="connsiteY4" fmla="*/ 4147888 h 5904331"/>
              <a:gd name="connsiteX5" fmla="*/ 4396917 w 6235406"/>
              <a:gd name="connsiteY5" fmla="*/ 3968895 h 5904331"/>
              <a:gd name="connsiteX6" fmla="*/ 106672 w 6235406"/>
              <a:gd name="connsiteY6" fmla="*/ 3971566 h 5904331"/>
              <a:gd name="connsiteX7" fmla="*/ 5446 w 6235406"/>
              <a:gd name="connsiteY7" fmla="*/ 3114000 h 5904331"/>
              <a:gd name="connsiteX0" fmla="*/ 120811 w 6350771"/>
              <a:gd name="connsiteY0" fmla="*/ 3114000 h 5904331"/>
              <a:gd name="connsiteX1" fmla="*/ 3234811 w 6350771"/>
              <a:gd name="connsiteY1" fmla="*/ 0 h 5904331"/>
              <a:gd name="connsiteX2" fmla="*/ 6348811 w 6350771"/>
              <a:gd name="connsiteY2" fmla="*/ 3114000 h 5904331"/>
              <a:gd name="connsiteX3" fmla="*/ 4605579 w 6350771"/>
              <a:gd name="connsiteY3" fmla="*/ 5904331 h 5904331"/>
              <a:gd name="connsiteX4" fmla="*/ 4601950 w 6350771"/>
              <a:gd name="connsiteY4" fmla="*/ 4147888 h 5904331"/>
              <a:gd name="connsiteX5" fmla="*/ 4512282 w 6350771"/>
              <a:gd name="connsiteY5" fmla="*/ 3968895 h 5904331"/>
              <a:gd name="connsiteX6" fmla="*/ 293688 w 6350771"/>
              <a:gd name="connsiteY6" fmla="*/ 3968154 h 5904331"/>
              <a:gd name="connsiteX7" fmla="*/ 120811 w 6350771"/>
              <a:gd name="connsiteY7" fmla="*/ 3114000 h 5904331"/>
              <a:gd name="connsiteX0" fmla="*/ 120811 w 6350771"/>
              <a:gd name="connsiteY0" fmla="*/ 3114000 h 5904331"/>
              <a:gd name="connsiteX1" fmla="*/ 3234811 w 6350771"/>
              <a:gd name="connsiteY1" fmla="*/ 0 h 5904331"/>
              <a:gd name="connsiteX2" fmla="*/ 6348811 w 6350771"/>
              <a:gd name="connsiteY2" fmla="*/ 3114000 h 5904331"/>
              <a:gd name="connsiteX3" fmla="*/ 4605579 w 6350771"/>
              <a:gd name="connsiteY3" fmla="*/ 5904331 h 5904331"/>
              <a:gd name="connsiteX4" fmla="*/ 4601950 w 6350771"/>
              <a:gd name="connsiteY4" fmla="*/ 4147888 h 5904331"/>
              <a:gd name="connsiteX5" fmla="*/ 4512282 w 6350771"/>
              <a:gd name="connsiteY5" fmla="*/ 3968895 h 5904331"/>
              <a:gd name="connsiteX6" fmla="*/ 293688 w 6350771"/>
              <a:gd name="connsiteY6" fmla="*/ 3968154 h 5904331"/>
              <a:gd name="connsiteX7" fmla="*/ 120811 w 6350771"/>
              <a:gd name="connsiteY7" fmla="*/ 3114000 h 5904331"/>
              <a:gd name="connsiteX0" fmla="*/ 12 w 6229972"/>
              <a:gd name="connsiteY0" fmla="*/ 3114000 h 5904331"/>
              <a:gd name="connsiteX1" fmla="*/ 3114012 w 6229972"/>
              <a:gd name="connsiteY1" fmla="*/ 0 h 5904331"/>
              <a:gd name="connsiteX2" fmla="*/ 6228012 w 6229972"/>
              <a:gd name="connsiteY2" fmla="*/ 3114000 h 5904331"/>
              <a:gd name="connsiteX3" fmla="*/ 4484780 w 6229972"/>
              <a:gd name="connsiteY3" fmla="*/ 5904331 h 5904331"/>
              <a:gd name="connsiteX4" fmla="*/ 4481151 w 6229972"/>
              <a:gd name="connsiteY4" fmla="*/ 4147888 h 5904331"/>
              <a:gd name="connsiteX5" fmla="*/ 4391483 w 6229972"/>
              <a:gd name="connsiteY5" fmla="*/ 3968895 h 5904331"/>
              <a:gd name="connsiteX6" fmla="*/ 172889 w 6229972"/>
              <a:gd name="connsiteY6" fmla="*/ 3968154 h 5904331"/>
              <a:gd name="connsiteX7" fmla="*/ 12 w 6229972"/>
              <a:gd name="connsiteY7" fmla="*/ 3114000 h 5904331"/>
              <a:gd name="connsiteX0" fmla="*/ 12 w 6229972"/>
              <a:gd name="connsiteY0" fmla="*/ 3114000 h 5904331"/>
              <a:gd name="connsiteX1" fmla="*/ 3114012 w 6229972"/>
              <a:gd name="connsiteY1" fmla="*/ 0 h 5904331"/>
              <a:gd name="connsiteX2" fmla="*/ 6228012 w 6229972"/>
              <a:gd name="connsiteY2" fmla="*/ 3114000 h 5904331"/>
              <a:gd name="connsiteX3" fmla="*/ 4484780 w 6229972"/>
              <a:gd name="connsiteY3" fmla="*/ 5904331 h 5904331"/>
              <a:gd name="connsiteX4" fmla="*/ 4481151 w 6229972"/>
              <a:gd name="connsiteY4" fmla="*/ 4147888 h 5904331"/>
              <a:gd name="connsiteX5" fmla="*/ 4391483 w 6229972"/>
              <a:gd name="connsiteY5" fmla="*/ 3968895 h 5904331"/>
              <a:gd name="connsiteX6" fmla="*/ 172889 w 6229972"/>
              <a:gd name="connsiteY6" fmla="*/ 3968154 h 5904331"/>
              <a:gd name="connsiteX7" fmla="*/ 12 w 6229972"/>
              <a:gd name="connsiteY7" fmla="*/ 3114000 h 5904331"/>
              <a:gd name="connsiteX0" fmla="*/ 12 w 6229972"/>
              <a:gd name="connsiteY0" fmla="*/ 3114000 h 5904331"/>
              <a:gd name="connsiteX1" fmla="*/ 3114012 w 6229972"/>
              <a:gd name="connsiteY1" fmla="*/ 0 h 5904331"/>
              <a:gd name="connsiteX2" fmla="*/ 6228012 w 6229972"/>
              <a:gd name="connsiteY2" fmla="*/ 3114000 h 5904331"/>
              <a:gd name="connsiteX3" fmla="*/ 4484780 w 6229972"/>
              <a:gd name="connsiteY3" fmla="*/ 5904331 h 5904331"/>
              <a:gd name="connsiteX4" fmla="*/ 4481151 w 6229972"/>
              <a:gd name="connsiteY4" fmla="*/ 4147888 h 5904331"/>
              <a:gd name="connsiteX5" fmla="*/ 4391483 w 6229972"/>
              <a:gd name="connsiteY5" fmla="*/ 3968895 h 5904331"/>
              <a:gd name="connsiteX6" fmla="*/ 172889 w 6229972"/>
              <a:gd name="connsiteY6" fmla="*/ 3968154 h 5904331"/>
              <a:gd name="connsiteX7" fmla="*/ 12 w 6229972"/>
              <a:gd name="connsiteY7" fmla="*/ 3114000 h 5904331"/>
              <a:gd name="connsiteX0" fmla="*/ 165707 w 6395667"/>
              <a:gd name="connsiteY0" fmla="*/ 3114000 h 5904331"/>
              <a:gd name="connsiteX1" fmla="*/ 3279707 w 6395667"/>
              <a:gd name="connsiteY1" fmla="*/ 0 h 5904331"/>
              <a:gd name="connsiteX2" fmla="*/ 6393707 w 6395667"/>
              <a:gd name="connsiteY2" fmla="*/ 3114000 h 5904331"/>
              <a:gd name="connsiteX3" fmla="*/ 4650475 w 6395667"/>
              <a:gd name="connsiteY3" fmla="*/ 5904331 h 5904331"/>
              <a:gd name="connsiteX4" fmla="*/ 4646846 w 6395667"/>
              <a:gd name="connsiteY4" fmla="*/ 4147888 h 5904331"/>
              <a:gd name="connsiteX5" fmla="*/ 4557178 w 6395667"/>
              <a:gd name="connsiteY5" fmla="*/ 3968895 h 5904331"/>
              <a:gd name="connsiteX6" fmla="*/ 338584 w 6395667"/>
              <a:gd name="connsiteY6" fmla="*/ 3968154 h 5904331"/>
              <a:gd name="connsiteX7" fmla="*/ 418664 w 6395667"/>
              <a:gd name="connsiteY7" fmla="*/ 3789530 h 5904331"/>
              <a:gd name="connsiteX8" fmla="*/ 165707 w 6395667"/>
              <a:gd name="connsiteY8" fmla="*/ 3114000 h 5904331"/>
              <a:gd name="connsiteX0" fmla="*/ 165707 w 6395667"/>
              <a:gd name="connsiteY0" fmla="*/ 3114000 h 5904331"/>
              <a:gd name="connsiteX1" fmla="*/ 3279707 w 6395667"/>
              <a:gd name="connsiteY1" fmla="*/ 0 h 5904331"/>
              <a:gd name="connsiteX2" fmla="*/ 6393707 w 6395667"/>
              <a:gd name="connsiteY2" fmla="*/ 3114000 h 5904331"/>
              <a:gd name="connsiteX3" fmla="*/ 4650475 w 6395667"/>
              <a:gd name="connsiteY3" fmla="*/ 5904331 h 5904331"/>
              <a:gd name="connsiteX4" fmla="*/ 4646846 w 6395667"/>
              <a:gd name="connsiteY4" fmla="*/ 4147888 h 5904331"/>
              <a:gd name="connsiteX5" fmla="*/ 4557178 w 6395667"/>
              <a:gd name="connsiteY5" fmla="*/ 3968895 h 5904331"/>
              <a:gd name="connsiteX6" fmla="*/ 338584 w 6395667"/>
              <a:gd name="connsiteY6" fmla="*/ 3968154 h 5904331"/>
              <a:gd name="connsiteX7" fmla="*/ 418664 w 6395667"/>
              <a:gd name="connsiteY7" fmla="*/ 3789530 h 5904331"/>
              <a:gd name="connsiteX8" fmla="*/ 165707 w 6395667"/>
              <a:gd name="connsiteY8" fmla="*/ 3114000 h 5904331"/>
              <a:gd name="connsiteX0" fmla="*/ 187804 w 6417764"/>
              <a:gd name="connsiteY0" fmla="*/ 3114000 h 5904331"/>
              <a:gd name="connsiteX1" fmla="*/ 3301804 w 6417764"/>
              <a:gd name="connsiteY1" fmla="*/ 0 h 5904331"/>
              <a:gd name="connsiteX2" fmla="*/ 6415804 w 6417764"/>
              <a:gd name="connsiteY2" fmla="*/ 3114000 h 5904331"/>
              <a:gd name="connsiteX3" fmla="*/ 4672572 w 6417764"/>
              <a:gd name="connsiteY3" fmla="*/ 5904331 h 5904331"/>
              <a:gd name="connsiteX4" fmla="*/ 4668943 w 6417764"/>
              <a:gd name="connsiteY4" fmla="*/ 4147888 h 5904331"/>
              <a:gd name="connsiteX5" fmla="*/ 4579275 w 6417764"/>
              <a:gd name="connsiteY5" fmla="*/ 3968895 h 5904331"/>
              <a:gd name="connsiteX6" fmla="*/ 360681 w 6417764"/>
              <a:gd name="connsiteY6" fmla="*/ 3968154 h 5904331"/>
              <a:gd name="connsiteX7" fmla="*/ 317931 w 6417764"/>
              <a:gd name="connsiteY7" fmla="*/ 3984011 h 5904331"/>
              <a:gd name="connsiteX8" fmla="*/ 187804 w 6417764"/>
              <a:gd name="connsiteY8" fmla="*/ 3114000 h 5904331"/>
              <a:gd name="connsiteX0" fmla="*/ 187804 w 6417764"/>
              <a:gd name="connsiteY0" fmla="*/ 3114000 h 5904331"/>
              <a:gd name="connsiteX1" fmla="*/ 3301804 w 6417764"/>
              <a:gd name="connsiteY1" fmla="*/ 0 h 5904331"/>
              <a:gd name="connsiteX2" fmla="*/ 6415804 w 6417764"/>
              <a:gd name="connsiteY2" fmla="*/ 3114000 h 5904331"/>
              <a:gd name="connsiteX3" fmla="*/ 4672572 w 6417764"/>
              <a:gd name="connsiteY3" fmla="*/ 5904331 h 5904331"/>
              <a:gd name="connsiteX4" fmla="*/ 4668943 w 6417764"/>
              <a:gd name="connsiteY4" fmla="*/ 4147888 h 5904331"/>
              <a:gd name="connsiteX5" fmla="*/ 4579275 w 6417764"/>
              <a:gd name="connsiteY5" fmla="*/ 3968895 h 5904331"/>
              <a:gd name="connsiteX6" fmla="*/ 360681 w 6417764"/>
              <a:gd name="connsiteY6" fmla="*/ 3968154 h 5904331"/>
              <a:gd name="connsiteX7" fmla="*/ 317931 w 6417764"/>
              <a:gd name="connsiteY7" fmla="*/ 3984011 h 5904331"/>
              <a:gd name="connsiteX8" fmla="*/ 187804 w 6417764"/>
              <a:gd name="connsiteY8" fmla="*/ 3114000 h 5904331"/>
              <a:gd name="connsiteX0" fmla="*/ 183019 w 6412979"/>
              <a:gd name="connsiteY0" fmla="*/ 3114000 h 5904331"/>
              <a:gd name="connsiteX1" fmla="*/ 3297019 w 6412979"/>
              <a:gd name="connsiteY1" fmla="*/ 0 h 5904331"/>
              <a:gd name="connsiteX2" fmla="*/ 6411019 w 6412979"/>
              <a:gd name="connsiteY2" fmla="*/ 3114000 h 5904331"/>
              <a:gd name="connsiteX3" fmla="*/ 4667787 w 6412979"/>
              <a:gd name="connsiteY3" fmla="*/ 5904331 h 5904331"/>
              <a:gd name="connsiteX4" fmla="*/ 4664158 w 6412979"/>
              <a:gd name="connsiteY4" fmla="*/ 4147888 h 5904331"/>
              <a:gd name="connsiteX5" fmla="*/ 4574490 w 6412979"/>
              <a:gd name="connsiteY5" fmla="*/ 3968895 h 5904331"/>
              <a:gd name="connsiteX6" fmla="*/ 355896 w 6412979"/>
              <a:gd name="connsiteY6" fmla="*/ 3968154 h 5904331"/>
              <a:gd name="connsiteX7" fmla="*/ 313146 w 6412979"/>
              <a:gd name="connsiteY7" fmla="*/ 3984011 h 5904331"/>
              <a:gd name="connsiteX8" fmla="*/ 183019 w 6412979"/>
              <a:gd name="connsiteY8" fmla="*/ 3114000 h 5904331"/>
              <a:gd name="connsiteX0" fmla="*/ 144151 w 6374111"/>
              <a:gd name="connsiteY0" fmla="*/ 3114000 h 5904331"/>
              <a:gd name="connsiteX1" fmla="*/ 3258151 w 6374111"/>
              <a:gd name="connsiteY1" fmla="*/ 0 h 5904331"/>
              <a:gd name="connsiteX2" fmla="*/ 6372151 w 6374111"/>
              <a:gd name="connsiteY2" fmla="*/ 3114000 h 5904331"/>
              <a:gd name="connsiteX3" fmla="*/ 4628919 w 6374111"/>
              <a:gd name="connsiteY3" fmla="*/ 5904331 h 5904331"/>
              <a:gd name="connsiteX4" fmla="*/ 4625290 w 6374111"/>
              <a:gd name="connsiteY4" fmla="*/ 4147888 h 5904331"/>
              <a:gd name="connsiteX5" fmla="*/ 4535622 w 6374111"/>
              <a:gd name="connsiteY5" fmla="*/ 3968895 h 5904331"/>
              <a:gd name="connsiteX6" fmla="*/ 317028 w 6374111"/>
              <a:gd name="connsiteY6" fmla="*/ 3968154 h 5904331"/>
              <a:gd name="connsiteX7" fmla="*/ 274278 w 6374111"/>
              <a:gd name="connsiteY7" fmla="*/ 3984011 h 5904331"/>
              <a:gd name="connsiteX8" fmla="*/ 144151 w 6374111"/>
              <a:gd name="connsiteY8" fmla="*/ 3114000 h 5904331"/>
              <a:gd name="connsiteX0" fmla="*/ 141340 w 6371300"/>
              <a:gd name="connsiteY0" fmla="*/ 3114000 h 5904331"/>
              <a:gd name="connsiteX1" fmla="*/ 3255340 w 6371300"/>
              <a:gd name="connsiteY1" fmla="*/ 0 h 5904331"/>
              <a:gd name="connsiteX2" fmla="*/ 6369340 w 6371300"/>
              <a:gd name="connsiteY2" fmla="*/ 3114000 h 5904331"/>
              <a:gd name="connsiteX3" fmla="*/ 4626108 w 6371300"/>
              <a:gd name="connsiteY3" fmla="*/ 5904331 h 5904331"/>
              <a:gd name="connsiteX4" fmla="*/ 4622479 w 6371300"/>
              <a:gd name="connsiteY4" fmla="*/ 4147888 h 5904331"/>
              <a:gd name="connsiteX5" fmla="*/ 4532811 w 6371300"/>
              <a:gd name="connsiteY5" fmla="*/ 3968895 h 5904331"/>
              <a:gd name="connsiteX6" fmla="*/ 314217 w 6371300"/>
              <a:gd name="connsiteY6" fmla="*/ 3968154 h 5904331"/>
              <a:gd name="connsiteX7" fmla="*/ 281702 w 6371300"/>
              <a:gd name="connsiteY7" fmla="*/ 3987423 h 5904331"/>
              <a:gd name="connsiteX8" fmla="*/ 141340 w 6371300"/>
              <a:gd name="connsiteY8" fmla="*/ 3114000 h 5904331"/>
              <a:gd name="connsiteX0" fmla="*/ 181 w 6230141"/>
              <a:gd name="connsiteY0" fmla="*/ 3114000 h 5904331"/>
              <a:gd name="connsiteX1" fmla="*/ 3114181 w 6230141"/>
              <a:gd name="connsiteY1" fmla="*/ 0 h 5904331"/>
              <a:gd name="connsiteX2" fmla="*/ 6228181 w 6230141"/>
              <a:gd name="connsiteY2" fmla="*/ 3114000 h 5904331"/>
              <a:gd name="connsiteX3" fmla="*/ 4484949 w 6230141"/>
              <a:gd name="connsiteY3" fmla="*/ 5904331 h 5904331"/>
              <a:gd name="connsiteX4" fmla="*/ 4481320 w 6230141"/>
              <a:gd name="connsiteY4" fmla="*/ 4147888 h 5904331"/>
              <a:gd name="connsiteX5" fmla="*/ 4391652 w 6230141"/>
              <a:gd name="connsiteY5" fmla="*/ 3968895 h 5904331"/>
              <a:gd name="connsiteX6" fmla="*/ 173058 w 6230141"/>
              <a:gd name="connsiteY6" fmla="*/ 3968154 h 5904331"/>
              <a:gd name="connsiteX7" fmla="*/ 140543 w 6230141"/>
              <a:gd name="connsiteY7" fmla="*/ 3987423 h 5904331"/>
              <a:gd name="connsiteX8" fmla="*/ 181 w 6230141"/>
              <a:gd name="connsiteY8" fmla="*/ 3114000 h 5904331"/>
              <a:gd name="connsiteX0" fmla="*/ 199 w 6230159"/>
              <a:gd name="connsiteY0" fmla="*/ 3114000 h 5904331"/>
              <a:gd name="connsiteX1" fmla="*/ 3114199 w 6230159"/>
              <a:gd name="connsiteY1" fmla="*/ 0 h 5904331"/>
              <a:gd name="connsiteX2" fmla="*/ 6228199 w 6230159"/>
              <a:gd name="connsiteY2" fmla="*/ 3114000 h 5904331"/>
              <a:gd name="connsiteX3" fmla="*/ 4484967 w 6230159"/>
              <a:gd name="connsiteY3" fmla="*/ 5904331 h 5904331"/>
              <a:gd name="connsiteX4" fmla="*/ 4481338 w 6230159"/>
              <a:gd name="connsiteY4" fmla="*/ 4147888 h 5904331"/>
              <a:gd name="connsiteX5" fmla="*/ 4391670 w 6230159"/>
              <a:gd name="connsiteY5" fmla="*/ 3968895 h 5904331"/>
              <a:gd name="connsiteX6" fmla="*/ 173076 w 6230159"/>
              <a:gd name="connsiteY6" fmla="*/ 3968154 h 5904331"/>
              <a:gd name="connsiteX7" fmla="*/ 126914 w 6230159"/>
              <a:gd name="connsiteY7" fmla="*/ 3990835 h 5904331"/>
              <a:gd name="connsiteX8" fmla="*/ 199 w 6230159"/>
              <a:gd name="connsiteY8" fmla="*/ 3114000 h 5904331"/>
              <a:gd name="connsiteX0" fmla="*/ 199 w 6230159"/>
              <a:gd name="connsiteY0" fmla="*/ 3114000 h 5904331"/>
              <a:gd name="connsiteX1" fmla="*/ 3114199 w 6230159"/>
              <a:gd name="connsiteY1" fmla="*/ 0 h 5904331"/>
              <a:gd name="connsiteX2" fmla="*/ 6228199 w 6230159"/>
              <a:gd name="connsiteY2" fmla="*/ 3114000 h 5904331"/>
              <a:gd name="connsiteX3" fmla="*/ 4484967 w 6230159"/>
              <a:gd name="connsiteY3" fmla="*/ 5904331 h 5904331"/>
              <a:gd name="connsiteX4" fmla="*/ 4481338 w 6230159"/>
              <a:gd name="connsiteY4" fmla="*/ 4147888 h 5904331"/>
              <a:gd name="connsiteX5" fmla="*/ 4391670 w 6230159"/>
              <a:gd name="connsiteY5" fmla="*/ 3968895 h 5904331"/>
              <a:gd name="connsiteX6" fmla="*/ 173076 w 6230159"/>
              <a:gd name="connsiteY6" fmla="*/ 3968154 h 5904331"/>
              <a:gd name="connsiteX7" fmla="*/ 126914 w 6230159"/>
              <a:gd name="connsiteY7" fmla="*/ 3990835 h 5904331"/>
              <a:gd name="connsiteX8" fmla="*/ 199 w 6230159"/>
              <a:gd name="connsiteY8" fmla="*/ 3114000 h 5904331"/>
              <a:gd name="connsiteX0" fmla="*/ 199 w 6230159"/>
              <a:gd name="connsiteY0" fmla="*/ 3114000 h 5904331"/>
              <a:gd name="connsiteX1" fmla="*/ 3114199 w 6230159"/>
              <a:gd name="connsiteY1" fmla="*/ 0 h 5904331"/>
              <a:gd name="connsiteX2" fmla="*/ 6228199 w 6230159"/>
              <a:gd name="connsiteY2" fmla="*/ 3114000 h 5904331"/>
              <a:gd name="connsiteX3" fmla="*/ 4484967 w 6230159"/>
              <a:gd name="connsiteY3" fmla="*/ 5904331 h 5904331"/>
              <a:gd name="connsiteX4" fmla="*/ 4481338 w 6230159"/>
              <a:gd name="connsiteY4" fmla="*/ 4147888 h 5904331"/>
              <a:gd name="connsiteX5" fmla="*/ 4391670 w 6230159"/>
              <a:gd name="connsiteY5" fmla="*/ 3968895 h 5904331"/>
              <a:gd name="connsiteX6" fmla="*/ 194243 w 6230159"/>
              <a:gd name="connsiteY6" fmla="*/ 3968154 h 5904331"/>
              <a:gd name="connsiteX7" fmla="*/ 126914 w 6230159"/>
              <a:gd name="connsiteY7" fmla="*/ 3990835 h 5904331"/>
              <a:gd name="connsiteX8" fmla="*/ 199 w 6230159"/>
              <a:gd name="connsiteY8" fmla="*/ 3114000 h 5904331"/>
              <a:gd name="connsiteX0" fmla="*/ 199 w 6228217"/>
              <a:gd name="connsiteY0" fmla="*/ 3114000 h 5904331"/>
              <a:gd name="connsiteX1" fmla="*/ 3114199 w 6228217"/>
              <a:gd name="connsiteY1" fmla="*/ 0 h 5904331"/>
              <a:gd name="connsiteX2" fmla="*/ 6228199 w 6228217"/>
              <a:gd name="connsiteY2" fmla="*/ 3114000 h 5904331"/>
              <a:gd name="connsiteX3" fmla="*/ 4484967 w 6228217"/>
              <a:gd name="connsiteY3" fmla="*/ 5904331 h 5904331"/>
              <a:gd name="connsiteX4" fmla="*/ 4481338 w 6228217"/>
              <a:gd name="connsiteY4" fmla="*/ 4147888 h 5904331"/>
              <a:gd name="connsiteX5" fmla="*/ 4391670 w 6228217"/>
              <a:gd name="connsiteY5" fmla="*/ 3968895 h 5904331"/>
              <a:gd name="connsiteX6" fmla="*/ 194243 w 6228217"/>
              <a:gd name="connsiteY6" fmla="*/ 3968154 h 5904331"/>
              <a:gd name="connsiteX7" fmla="*/ 126914 w 6228217"/>
              <a:gd name="connsiteY7" fmla="*/ 3990835 h 5904331"/>
              <a:gd name="connsiteX8" fmla="*/ 199 w 6228217"/>
              <a:gd name="connsiteY8" fmla="*/ 3114000 h 5904331"/>
              <a:gd name="connsiteX0" fmla="*/ 199 w 6228217"/>
              <a:gd name="connsiteY0" fmla="*/ 3114000 h 5904331"/>
              <a:gd name="connsiteX1" fmla="*/ 3114199 w 6228217"/>
              <a:gd name="connsiteY1" fmla="*/ 0 h 5904331"/>
              <a:gd name="connsiteX2" fmla="*/ 6228199 w 6228217"/>
              <a:gd name="connsiteY2" fmla="*/ 3114000 h 5904331"/>
              <a:gd name="connsiteX3" fmla="*/ 4484967 w 6228217"/>
              <a:gd name="connsiteY3" fmla="*/ 5904331 h 5904331"/>
              <a:gd name="connsiteX4" fmla="*/ 4481338 w 6228217"/>
              <a:gd name="connsiteY4" fmla="*/ 4147888 h 5904331"/>
              <a:gd name="connsiteX5" fmla="*/ 4391670 w 6228217"/>
              <a:gd name="connsiteY5" fmla="*/ 3968895 h 5904331"/>
              <a:gd name="connsiteX6" fmla="*/ 194243 w 6228217"/>
              <a:gd name="connsiteY6" fmla="*/ 3968154 h 5904331"/>
              <a:gd name="connsiteX7" fmla="*/ 126914 w 6228217"/>
              <a:gd name="connsiteY7" fmla="*/ 3990835 h 5904331"/>
              <a:gd name="connsiteX8" fmla="*/ 199 w 6228217"/>
              <a:gd name="connsiteY8" fmla="*/ 3114000 h 5904331"/>
              <a:gd name="connsiteX0" fmla="*/ 199 w 6228217"/>
              <a:gd name="connsiteY0" fmla="*/ 3114000 h 5904331"/>
              <a:gd name="connsiteX1" fmla="*/ 3114199 w 6228217"/>
              <a:gd name="connsiteY1" fmla="*/ 0 h 5904331"/>
              <a:gd name="connsiteX2" fmla="*/ 6228199 w 6228217"/>
              <a:gd name="connsiteY2" fmla="*/ 3114000 h 5904331"/>
              <a:gd name="connsiteX3" fmla="*/ 4484967 w 6228217"/>
              <a:gd name="connsiteY3" fmla="*/ 5904331 h 5904331"/>
              <a:gd name="connsiteX4" fmla="*/ 4481338 w 6228217"/>
              <a:gd name="connsiteY4" fmla="*/ 4147888 h 5904331"/>
              <a:gd name="connsiteX5" fmla="*/ 4391670 w 6228217"/>
              <a:gd name="connsiteY5" fmla="*/ 3968895 h 5904331"/>
              <a:gd name="connsiteX6" fmla="*/ 194243 w 6228217"/>
              <a:gd name="connsiteY6" fmla="*/ 3968154 h 5904331"/>
              <a:gd name="connsiteX7" fmla="*/ 126914 w 6228217"/>
              <a:gd name="connsiteY7" fmla="*/ 3990835 h 5904331"/>
              <a:gd name="connsiteX8" fmla="*/ 199 w 6228217"/>
              <a:gd name="connsiteY8" fmla="*/ 3114000 h 5904331"/>
              <a:gd name="connsiteX0" fmla="*/ 199 w 6228216"/>
              <a:gd name="connsiteY0" fmla="*/ 3114000 h 5904331"/>
              <a:gd name="connsiteX1" fmla="*/ 3114199 w 6228216"/>
              <a:gd name="connsiteY1" fmla="*/ 0 h 5904331"/>
              <a:gd name="connsiteX2" fmla="*/ 6228199 w 6228216"/>
              <a:gd name="connsiteY2" fmla="*/ 3114000 h 5904331"/>
              <a:gd name="connsiteX3" fmla="*/ 4474456 w 6228216"/>
              <a:gd name="connsiteY3" fmla="*/ 5904331 h 5904331"/>
              <a:gd name="connsiteX4" fmla="*/ 4481338 w 6228216"/>
              <a:gd name="connsiteY4" fmla="*/ 4147888 h 5904331"/>
              <a:gd name="connsiteX5" fmla="*/ 4391670 w 6228216"/>
              <a:gd name="connsiteY5" fmla="*/ 3968895 h 5904331"/>
              <a:gd name="connsiteX6" fmla="*/ 194243 w 6228216"/>
              <a:gd name="connsiteY6" fmla="*/ 3968154 h 5904331"/>
              <a:gd name="connsiteX7" fmla="*/ 126914 w 6228216"/>
              <a:gd name="connsiteY7" fmla="*/ 3990835 h 5904331"/>
              <a:gd name="connsiteX8" fmla="*/ 199 w 6228216"/>
              <a:gd name="connsiteY8" fmla="*/ 3114000 h 5904331"/>
              <a:gd name="connsiteX0" fmla="*/ 199 w 6228216"/>
              <a:gd name="connsiteY0" fmla="*/ 3114000 h 5915833"/>
              <a:gd name="connsiteX1" fmla="*/ 3114199 w 6228216"/>
              <a:gd name="connsiteY1" fmla="*/ 0 h 5915833"/>
              <a:gd name="connsiteX2" fmla="*/ 6228199 w 6228216"/>
              <a:gd name="connsiteY2" fmla="*/ 3114000 h 5915833"/>
              <a:gd name="connsiteX3" fmla="*/ 4480207 w 6228216"/>
              <a:gd name="connsiteY3" fmla="*/ 5915833 h 5915833"/>
              <a:gd name="connsiteX4" fmla="*/ 4481338 w 6228216"/>
              <a:gd name="connsiteY4" fmla="*/ 4147888 h 5915833"/>
              <a:gd name="connsiteX5" fmla="*/ 4391670 w 6228216"/>
              <a:gd name="connsiteY5" fmla="*/ 3968895 h 5915833"/>
              <a:gd name="connsiteX6" fmla="*/ 194243 w 6228216"/>
              <a:gd name="connsiteY6" fmla="*/ 3968154 h 5915833"/>
              <a:gd name="connsiteX7" fmla="*/ 126914 w 6228216"/>
              <a:gd name="connsiteY7" fmla="*/ 3990835 h 5915833"/>
              <a:gd name="connsiteX8" fmla="*/ 199 w 6228216"/>
              <a:gd name="connsiteY8" fmla="*/ 3114000 h 5915833"/>
              <a:gd name="connsiteX0" fmla="*/ 199 w 6228216"/>
              <a:gd name="connsiteY0" fmla="*/ 3114000 h 5927335"/>
              <a:gd name="connsiteX1" fmla="*/ 3114199 w 6228216"/>
              <a:gd name="connsiteY1" fmla="*/ 0 h 5927335"/>
              <a:gd name="connsiteX2" fmla="*/ 6228199 w 6228216"/>
              <a:gd name="connsiteY2" fmla="*/ 3114000 h 5927335"/>
              <a:gd name="connsiteX3" fmla="*/ 4480207 w 6228216"/>
              <a:gd name="connsiteY3" fmla="*/ 5927335 h 5927335"/>
              <a:gd name="connsiteX4" fmla="*/ 4481338 w 6228216"/>
              <a:gd name="connsiteY4" fmla="*/ 4147888 h 5927335"/>
              <a:gd name="connsiteX5" fmla="*/ 4391670 w 6228216"/>
              <a:gd name="connsiteY5" fmla="*/ 3968895 h 5927335"/>
              <a:gd name="connsiteX6" fmla="*/ 194243 w 6228216"/>
              <a:gd name="connsiteY6" fmla="*/ 3968154 h 5927335"/>
              <a:gd name="connsiteX7" fmla="*/ 126914 w 6228216"/>
              <a:gd name="connsiteY7" fmla="*/ 3990835 h 5927335"/>
              <a:gd name="connsiteX8" fmla="*/ 199 w 6228216"/>
              <a:gd name="connsiteY8" fmla="*/ 3114000 h 5927335"/>
              <a:gd name="connsiteX0" fmla="*/ 199 w 6228216"/>
              <a:gd name="connsiteY0" fmla="*/ 3114000 h 5927335"/>
              <a:gd name="connsiteX1" fmla="*/ 3114199 w 6228216"/>
              <a:gd name="connsiteY1" fmla="*/ 0 h 5927335"/>
              <a:gd name="connsiteX2" fmla="*/ 6228199 w 6228216"/>
              <a:gd name="connsiteY2" fmla="*/ 3114000 h 5927335"/>
              <a:gd name="connsiteX3" fmla="*/ 4480207 w 6228216"/>
              <a:gd name="connsiteY3" fmla="*/ 5927335 h 5927335"/>
              <a:gd name="connsiteX4" fmla="*/ 4481338 w 6228216"/>
              <a:gd name="connsiteY4" fmla="*/ 4147888 h 5927335"/>
              <a:gd name="connsiteX5" fmla="*/ 4391670 w 6228216"/>
              <a:gd name="connsiteY5" fmla="*/ 3968895 h 5927335"/>
              <a:gd name="connsiteX6" fmla="*/ 194243 w 6228216"/>
              <a:gd name="connsiteY6" fmla="*/ 3968154 h 5927335"/>
              <a:gd name="connsiteX7" fmla="*/ 126914 w 6228216"/>
              <a:gd name="connsiteY7" fmla="*/ 3990835 h 5927335"/>
              <a:gd name="connsiteX8" fmla="*/ 199 w 6228216"/>
              <a:gd name="connsiteY8" fmla="*/ 3114000 h 5927335"/>
              <a:gd name="connsiteX0" fmla="*/ 199 w 6228216"/>
              <a:gd name="connsiteY0" fmla="*/ 3114000 h 5927335"/>
              <a:gd name="connsiteX1" fmla="*/ 3114199 w 6228216"/>
              <a:gd name="connsiteY1" fmla="*/ 0 h 5927335"/>
              <a:gd name="connsiteX2" fmla="*/ 6228199 w 6228216"/>
              <a:gd name="connsiteY2" fmla="*/ 3114000 h 5927335"/>
              <a:gd name="connsiteX3" fmla="*/ 4476649 w 6228216"/>
              <a:gd name="connsiteY3" fmla="*/ 5927335 h 5927335"/>
              <a:gd name="connsiteX4" fmla="*/ 4481338 w 6228216"/>
              <a:gd name="connsiteY4" fmla="*/ 4147888 h 5927335"/>
              <a:gd name="connsiteX5" fmla="*/ 4391670 w 6228216"/>
              <a:gd name="connsiteY5" fmla="*/ 3968895 h 5927335"/>
              <a:gd name="connsiteX6" fmla="*/ 194243 w 6228216"/>
              <a:gd name="connsiteY6" fmla="*/ 3968154 h 5927335"/>
              <a:gd name="connsiteX7" fmla="*/ 126914 w 6228216"/>
              <a:gd name="connsiteY7" fmla="*/ 3990835 h 5927335"/>
              <a:gd name="connsiteX8" fmla="*/ 199 w 6228216"/>
              <a:gd name="connsiteY8" fmla="*/ 3114000 h 5927335"/>
              <a:gd name="connsiteX0" fmla="*/ 199 w 6228217"/>
              <a:gd name="connsiteY0" fmla="*/ 3114000 h 5927335"/>
              <a:gd name="connsiteX1" fmla="*/ 3114199 w 6228217"/>
              <a:gd name="connsiteY1" fmla="*/ 0 h 5927335"/>
              <a:gd name="connsiteX2" fmla="*/ 6228199 w 6228217"/>
              <a:gd name="connsiteY2" fmla="*/ 3114000 h 5927335"/>
              <a:gd name="connsiteX3" fmla="*/ 4476649 w 6228217"/>
              <a:gd name="connsiteY3" fmla="*/ 5927335 h 5927335"/>
              <a:gd name="connsiteX4" fmla="*/ 4481338 w 6228217"/>
              <a:gd name="connsiteY4" fmla="*/ 4147888 h 5927335"/>
              <a:gd name="connsiteX5" fmla="*/ 4391670 w 6228217"/>
              <a:gd name="connsiteY5" fmla="*/ 3968895 h 5927335"/>
              <a:gd name="connsiteX6" fmla="*/ 194243 w 6228217"/>
              <a:gd name="connsiteY6" fmla="*/ 3968154 h 5927335"/>
              <a:gd name="connsiteX7" fmla="*/ 126914 w 6228217"/>
              <a:gd name="connsiteY7" fmla="*/ 3990835 h 5927335"/>
              <a:gd name="connsiteX8" fmla="*/ 199 w 6228217"/>
              <a:gd name="connsiteY8" fmla="*/ 3114000 h 5927335"/>
              <a:gd name="connsiteX0" fmla="*/ 199 w 6228217"/>
              <a:gd name="connsiteY0" fmla="*/ 3114000 h 5927335"/>
              <a:gd name="connsiteX1" fmla="*/ 3114199 w 6228217"/>
              <a:gd name="connsiteY1" fmla="*/ 0 h 5927335"/>
              <a:gd name="connsiteX2" fmla="*/ 6228199 w 6228217"/>
              <a:gd name="connsiteY2" fmla="*/ 3114000 h 5927335"/>
              <a:gd name="connsiteX3" fmla="*/ 4494439 w 6228217"/>
              <a:gd name="connsiteY3" fmla="*/ 5927335 h 5927335"/>
              <a:gd name="connsiteX4" fmla="*/ 4481338 w 6228217"/>
              <a:gd name="connsiteY4" fmla="*/ 4147888 h 5927335"/>
              <a:gd name="connsiteX5" fmla="*/ 4391670 w 6228217"/>
              <a:gd name="connsiteY5" fmla="*/ 3968895 h 5927335"/>
              <a:gd name="connsiteX6" fmla="*/ 194243 w 6228217"/>
              <a:gd name="connsiteY6" fmla="*/ 3968154 h 5927335"/>
              <a:gd name="connsiteX7" fmla="*/ 126914 w 6228217"/>
              <a:gd name="connsiteY7" fmla="*/ 3990835 h 5927335"/>
              <a:gd name="connsiteX8" fmla="*/ 199 w 6228217"/>
              <a:gd name="connsiteY8" fmla="*/ 3114000 h 5927335"/>
              <a:gd name="connsiteX0" fmla="*/ 199 w 6228217"/>
              <a:gd name="connsiteY0" fmla="*/ 3114000 h 5927335"/>
              <a:gd name="connsiteX1" fmla="*/ 3114199 w 6228217"/>
              <a:gd name="connsiteY1" fmla="*/ 0 h 5927335"/>
              <a:gd name="connsiteX2" fmla="*/ 6228199 w 6228217"/>
              <a:gd name="connsiteY2" fmla="*/ 3114000 h 5927335"/>
              <a:gd name="connsiteX3" fmla="*/ 4480207 w 6228217"/>
              <a:gd name="connsiteY3" fmla="*/ 5927335 h 5927335"/>
              <a:gd name="connsiteX4" fmla="*/ 4481338 w 6228217"/>
              <a:gd name="connsiteY4" fmla="*/ 4147888 h 5927335"/>
              <a:gd name="connsiteX5" fmla="*/ 4391670 w 6228217"/>
              <a:gd name="connsiteY5" fmla="*/ 3968895 h 5927335"/>
              <a:gd name="connsiteX6" fmla="*/ 194243 w 6228217"/>
              <a:gd name="connsiteY6" fmla="*/ 3968154 h 5927335"/>
              <a:gd name="connsiteX7" fmla="*/ 126914 w 6228217"/>
              <a:gd name="connsiteY7" fmla="*/ 3990835 h 5927335"/>
              <a:gd name="connsiteX8" fmla="*/ 199 w 6228217"/>
              <a:gd name="connsiteY8" fmla="*/ 3114000 h 5927335"/>
              <a:gd name="connsiteX0" fmla="*/ 199 w 6228217"/>
              <a:gd name="connsiteY0" fmla="*/ 3114000 h 5952241"/>
              <a:gd name="connsiteX1" fmla="*/ 3114199 w 6228217"/>
              <a:gd name="connsiteY1" fmla="*/ 0 h 5952241"/>
              <a:gd name="connsiteX2" fmla="*/ 6228199 w 6228217"/>
              <a:gd name="connsiteY2" fmla="*/ 3114000 h 5952241"/>
              <a:gd name="connsiteX3" fmla="*/ 4476649 w 6228217"/>
              <a:gd name="connsiteY3" fmla="*/ 5952241 h 5952241"/>
              <a:gd name="connsiteX4" fmla="*/ 4481338 w 6228217"/>
              <a:gd name="connsiteY4" fmla="*/ 4147888 h 5952241"/>
              <a:gd name="connsiteX5" fmla="*/ 4391670 w 6228217"/>
              <a:gd name="connsiteY5" fmla="*/ 3968895 h 5952241"/>
              <a:gd name="connsiteX6" fmla="*/ 194243 w 6228217"/>
              <a:gd name="connsiteY6" fmla="*/ 3968154 h 5952241"/>
              <a:gd name="connsiteX7" fmla="*/ 126914 w 6228217"/>
              <a:gd name="connsiteY7" fmla="*/ 3990835 h 5952241"/>
              <a:gd name="connsiteX8" fmla="*/ 199 w 6228217"/>
              <a:gd name="connsiteY8" fmla="*/ 3114000 h 5952241"/>
              <a:gd name="connsiteX0" fmla="*/ 199 w 6228216"/>
              <a:gd name="connsiteY0" fmla="*/ 3114000 h 5977146"/>
              <a:gd name="connsiteX1" fmla="*/ 3114199 w 6228216"/>
              <a:gd name="connsiteY1" fmla="*/ 0 h 5977146"/>
              <a:gd name="connsiteX2" fmla="*/ 6228199 w 6228216"/>
              <a:gd name="connsiteY2" fmla="*/ 3114000 h 5977146"/>
              <a:gd name="connsiteX3" fmla="*/ 4469533 w 6228216"/>
              <a:gd name="connsiteY3" fmla="*/ 5977146 h 5977146"/>
              <a:gd name="connsiteX4" fmla="*/ 4481338 w 6228216"/>
              <a:gd name="connsiteY4" fmla="*/ 4147888 h 5977146"/>
              <a:gd name="connsiteX5" fmla="*/ 4391670 w 6228216"/>
              <a:gd name="connsiteY5" fmla="*/ 3968895 h 5977146"/>
              <a:gd name="connsiteX6" fmla="*/ 194243 w 6228216"/>
              <a:gd name="connsiteY6" fmla="*/ 3968154 h 5977146"/>
              <a:gd name="connsiteX7" fmla="*/ 126914 w 6228216"/>
              <a:gd name="connsiteY7" fmla="*/ 3990835 h 5977146"/>
              <a:gd name="connsiteX8" fmla="*/ 199 w 6228216"/>
              <a:gd name="connsiteY8" fmla="*/ 3114000 h 5977146"/>
              <a:gd name="connsiteX0" fmla="*/ 199 w 6228216"/>
              <a:gd name="connsiteY0" fmla="*/ 3114000 h 5927335"/>
              <a:gd name="connsiteX1" fmla="*/ 3114199 w 6228216"/>
              <a:gd name="connsiteY1" fmla="*/ 0 h 5927335"/>
              <a:gd name="connsiteX2" fmla="*/ 6228199 w 6228216"/>
              <a:gd name="connsiteY2" fmla="*/ 3114000 h 5927335"/>
              <a:gd name="connsiteX3" fmla="*/ 4473091 w 6228216"/>
              <a:gd name="connsiteY3" fmla="*/ 5927335 h 5927335"/>
              <a:gd name="connsiteX4" fmla="*/ 4481338 w 6228216"/>
              <a:gd name="connsiteY4" fmla="*/ 4147888 h 5927335"/>
              <a:gd name="connsiteX5" fmla="*/ 4391670 w 6228216"/>
              <a:gd name="connsiteY5" fmla="*/ 3968895 h 5927335"/>
              <a:gd name="connsiteX6" fmla="*/ 194243 w 6228216"/>
              <a:gd name="connsiteY6" fmla="*/ 3968154 h 5927335"/>
              <a:gd name="connsiteX7" fmla="*/ 126914 w 6228216"/>
              <a:gd name="connsiteY7" fmla="*/ 3990835 h 5927335"/>
              <a:gd name="connsiteX8" fmla="*/ 199 w 6228216"/>
              <a:gd name="connsiteY8" fmla="*/ 3114000 h 5927335"/>
              <a:gd name="connsiteX0" fmla="*/ 199 w 6228216"/>
              <a:gd name="connsiteY0" fmla="*/ 3114000 h 5927335"/>
              <a:gd name="connsiteX1" fmla="*/ 3114199 w 6228216"/>
              <a:gd name="connsiteY1" fmla="*/ 0 h 5927335"/>
              <a:gd name="connsiteX2" fmla="*/ 6228199 w 6228216"/>
              <a:gd name="connsiteY2" fmla="*/ 3114000 h 5927335"/>
              <a:gd name="connsiteX3" fmla="*/ 4473091 w 6228216"/>
              <a:gd name="connsiteY3" fmla="*/ 5927335 h 5927335"/>
              <a:gd name="connsiteX4" fmla="*/ 4481338 w 6228216"/>
              <a:gd name="connsiteY4" fmla="*/ 4147888 h 5927335"/>
              <a:gd name="connsiteX5" fmla="*/ 4391670 w 6228216"/>
              <a:gd name="connsiteY5" fmla="*/ 3968895 h 5927335"/>
              <a:gd name="connsiteX6" fmla="*/ 194243 w 6228216"/>
              <a:gd name="connsiteY6" fmla="*/ 3968154 h 5927335"/>
              <a:gd name="connsiteX7" fmla="*/ 126914 w 6228216"/>
              <a:gd name="connsiteY7" fmla="*/ 3990835 h 5927335"/>
              <a:gd name="connsiteX8" fmla="*/ 199 w 6228216"/>
              <a:gd name="connsiteY8" fmla="*/ 3114000 h 5927335"/>
              <a:gd name="connsiteX0" fmla="*/ 199 w 6228215"/>
              <a:gd name="connsiteY0" fmla="*/ 3114000 h 5927335"/>
              <a:gd name="connsiteX1" fmla="*/ 3114199 w 6228215"/>
              <a:gd name="connsiteY1" fmla="*/ 0 h 5927335"/>
              <a:gd name="connsiteX2" fmla="*/ 6228199 w 6228215"/>
              <a:gd name="connsiteY2" fmla="*/ 3114000 h 5927335"/>
              <a:gd name="connsiteX3" fmla="*/ 4473091 w 6228215"/>
              <a:gd name="connsiteY3" fmla="*/ 5927335 h 5927335"/>
              <a:gd name="connsiteX4" fmla="*/ 4481338 w 6228215"/>
              <a:gd name="connsiteY4" fmla="*/ 4147888 h 5927335"/>
              <a:gd name="connsiteX5" fmla="*/ 4391670 w 6228215"/>
              <a:gd name="connsiteY5" fmla="*/ 3968895 h 5927335"/>
              <a:gd name="connsiteX6" fmla="*/ 194243 w 6228215"/>
              <a:gd name="connsiteY6" fmla="*/ 3968154 h 5927335"/>
              <a:gd name="connsiteX7" fmla="*/ 126914 w 6228215"/>
              <a:gd name="connsiteY7" fmla="*/ 3990835 h 5927335"/>
              <a:gd name="connsiteX8" fmla="*/ 199 w 6228215"/>
              <a:gd name="connsiteY8" fmla="*/ 3114000 h 5927335"/>
              <a:gd name="connsiteX0" fmla="*/ 199 w 6228216"/>
              <a:gd name="connsiteY0" fmla="*/ 3114000 h 5911748"/>
              <a:gd name="connsiteX1" fmla="*/ 3114199 w 6228216"/>
              <a:gd name="connsiteY1" fmla="*/ 0 h 5911748"/>
              <a:gd name="connsiteX2" fmla="*/ 6228199 w 6228216"/>
              <a:gd name="connsiteY2" fmla="*/ 3114000 h 5911748"/>
              <a:gd name="connsiteX3" fmla="*/ 4483482 w 6228216"/>
              <a:gd name="connsiteY3" fmla="*/ 5911748 h 5911748"/>
              <a:gd name="connsiteX4" fmla="*/ 4481338 w 6228216"/>
              <a:gd name="connsiteY4" fmla="*/ 4147888 h 5911748"/>
              <a:gd name="connsiteX5" fmla="*/ 4391670 w 6228216"/>
              <a:gd name="connsiteY5" fmla="*/ 3968895 h 5911748"/>
              <a:gd name="connsiteX6" fmla="*/ 194243 w 6228216"/>
              <a:gd name="connsiteY6" fmla="*/ 3968154 h 5911748"/>
              <a:gd name="connsiteX7" fmla="*/ 126914 w 6228216"/>
              <a:gd name="connsiteY7" fmla="*/ 3990835 h 5911748"/>
              <a:gd name="connsiteX8" fmla="*/ 199 w 6228216"/>
              <a:gd name="connsiteY8" fmla="*/ 3114000 h 5911748"/>
              <a:gd name="connsiteX0" fmla="*/ 199 w 6228216"/>
              <a:gd name="connsiteY0" fmla="*/ 3114000 h 5896162"/>
              <a:gd name="connsiteX1" fmla="*/ 3114199 w 6228216"/>
              <a:gd name="connsiteY1" fmla="*/ 0 h 5896162"/>
              <a:gd name="connsiteX2" fmla="*/ 6228199 w 6228216"/>
              <a:gd name="connsiteY2" fmla="*/ 3114000 h 5896162"/>
              <a:gd name="connsiteX3" fmla="*/ 4483482 w 6228216"/>
              <a:gd name="connsiteY3" fmla="*/ 5896162 h 5896162"/>
              <a:gd name="connsiteX4" fmla="*/ 4481338 w 6228216"/>
              <a:gd name="connsiteY4" fmla="*/ 4147888 h 5896162"/>
              <a:gd name="connsiteX5" fmla="*/ 4391670 w 6228216"/>
              <a:gd name="connsiteY5" fmla="*/ 3968895 h 5896162"/>
              <a:gd name="connsiteX6" fmla="*/ 194243 w 6228216"/>
              <a:gd name="connsiteY6" fmla="*/ 3968154 h 5896162"/>
              <a:gd name="connsiteX7" fmla="*/ 126914 w 6228216"/>
              <a:gd name="connsiteY7" fmla="*/ 3990835 h 5896162"/>
              <a:gd name="connsiteX8" fmla="*/ 199 w 6228216"/>
              <a:gd name="connsiteY8" fmla="*/ 3114000 h 5896162"/>
              <a:gd name="connsiteX0" fmla="*/ 199 w 6228216"/>
              <a:gd name="connsiteY0" fmla="*/ 3114000 h 5880575"/>
              <a:gd name="connsiteX1" fmla="*/ 3114199 w 6228216"/>
              <a:gd name="connsiteY1" fmla="*/ 0 h 5880575"/>
              <a:gd name="connsiteX2" fmla="*/ 6228199 w 6228216"/>
              <a:gd name="connsiteY2" fmla="*/ 3114000 h 5880575"/>
              <a:gd name="connsiteX3" fmla="*/ 4488677 w 6228216"/>
              <a:gd name="connsiteY3" fmla="*/ 5880575 h 5880575"/>
              <a:gd name="connsiteX4" fmla="*/ 4481338 w 6228216"/>
              <a:gd name="connsiteY4" fmla="*/ 4147888 h 5880575"/>
              <a:gd name="connsiteX5" fmla="*/ 4391670 w 6228216"/>
              <a:gd name="connsiteY5" fmla="*/ 3968895 h 5880575"/>
              <a:gd name="connsiteX6" fmla="*/ 194243 w 6228216"/>
              <a:gd name="connsiteY6" fmla="*/ 3968154 h 5880575"/>
              <a:gd name="connsiteX7" fmla="*/ 126914 w 6228216"/>
              <a:gd name="connsiteY7" fmla="*/ 3990835 h 5880575"/>
              <a:gd name="connsiteX8" fmla="*/ 199 w 6228216"/>
              <a:gd name="connsiteY8" fmla="*/ 3114000 h 5880575"/>
              <a:gd name="connsiteX0" fmla="*/ 199 w 6228216"/>
              <a:gd name="connsiteY0" fmla="*/ 3114000 h 5890966"/>
              <a:gd name="connsiteX1" fmla="*/ 3114199 w 6228216"/>
              <a:gd name="connsiteY1" fmla="*/ 0 h 5890966"/>
              <a:gd name="connsiteX2" fmla="*/ 6228199 w 6228216"/>
              <a:gd name="connsiteY2" fmla="*/ 3114000 h 5890966"/>
              <a:gd name="connsiteX3" fmla="*/ 4483481 w 6228216"/>
              <a:gd name="connsiteY3" fmla="*/ 5890966 h 5890966"/>
              <a:gd name="connsiteX4" fmla="*/ 4481338 w 6228216"/>
              <a:gd name="connsiteY4" fmla="*/ 4147888 h 5890966"/>
              <a:gd name="connsiteX5" fmla="*/ 4391670 w 6228216"/>
              <a:gd name="connsiteY5" fmla="*/ 3968895 h 5890966"/>
              <a:gd name="connsiteX6" fmla="*/ 194243 w 6228216"/>
              <a:gd name="connsiteY6" fmla="*/ 3968154 h 5890966"/>
              <a:gd name="connsiteX7" fmla="*/ 126914 w 6228216"/>
              <a:gd name="connsiteY7" fmla="*/ 3990835 h 5890966"/>
              <a:gd name="connsiteX8" fmla="*/ 199 w 6228216"/>
              <a:gd name="connsiteY8" fmla="*/ 3114000 h 5890966"/>
              <a:gd name="connsiteX0" fmla="*/ 207 w 6228224"/>
              <a:gd name="connsiteY0" fmla="*/ 3114000 h 5890966"/>
              <a:gd name="connsiteX1" fmla="*/ 3114207 w 6228224"/>
              <a:gd name="connsiteY1" fmla="*/ 0 h 5890966"/>
              <a:gd name="connsiteX2" fmla="*/ 6228207 w 6228224"/>
              <a:gd name="connsiteY2" fmla="*/ 3114000 h 5890966"/>
              <a:gd name="connsiteX3" fmla="*/ 4483489 w 6228224"/>
              <a:gd name="connsiteY3" fmla="*/ 5890966 h 5890966"/>
              <a:gd name="connsiteX4" fmla="*/ 4481346 w 6228224"/>
              <a:gd name="connsiteY4" fmla="*/ 4147888 h 5890966"/>
              <a:gd name="connsiteX5" fmla="*/ 4391678 w 6228224"/>
              <a:gd name="connsiteY5" fmla="*/ 3968895 h 5890966"/>
              <a:gd name="connsiteX6" fmla="*/ 194251 w 6228224"/>
              <a:gd name="connsiteY6" fmla="*/ 3968154 h 5890966"/>
              <a:gd name="connsiteX7" fmla="*/ 121726 w 6228224"/>
              <a:gd name="connsiteY7" fmla="*/ 3970053 h 5890966"/>
              <a:gd name="connsiteX8" fmla="*/ 207 w 6228224"/>
              <a:gd name="connsiteY8" fmla="*/ 3114000 h 5890966"/>
              <a:gd name="connsiteX0" fmla="*/ 207 w 6228224"/>
              <a:gd name="connsiteY0" fmla="*/ 3114000 h 5890966"/>
              <a:gd name="connsiteX1" fmla="*/ 3114207 w 6228224"/>
              <a:gd name="connsiteY1" fmla="*/ 0 h 5890966"/>
              <a:gd name="connsiteX2" fmla="*/ 6228207 w 6228224"/>
              <a:gd name="connsiteY2" fmla="*/ 3114000 h 5890966"/>
              <a:gd name="connsiteX3" fmla="*/ 4483489 w 6228224"/>
              <a:gd name="connsiteY3" fmla="*/ 5890966 h 5890966"/>
              <a:gd name="connsiteX4" fmla="*/ 4481346 w 6228224"/>
              <a:gd name="connsiteY4" fmla="*/ 4147888 h 5890966"/>
              <a:gd name="connsiteX5" fmla="*/ 4391678 w 6228224"/>
              <a:gd name="connsiteY5" fmla="*/ 3968895 h 5890966"/>
              <a:gd name="connsiteX6" fmla="*/ 199447 w 6228224"/>
              <a:gd name="connsiteY6" fmla="*/ 3947372 h 5890966"/>
              <a:gd name="connsiteX7" fmla="*/ 121726 w 6228224"/>
              <a:gd name="connsiteY7" fmla="*/ 3970053 h 5890966"/>
              <a:gd name="connsiteX8" fmla="*/ 207 w 6228224"/>
              <a:gd name="connsiteY8" fmla="*/ 3114000 h 5890966"/>
              <a:gd name="connsiteX0" fmla="*/ 207 w 6228224"/>
              <a:gd name="connsiteY0" fmla="*/ 3114000 h 5890966"/>
              <a:gd name="connsiteX1" fmla="*/ 3114207 w 6228224"/>
              <a:gd name="connsiteY1" fmla="*/ 0 h 5890966"/>
              <a:gd name="connsiteX2" fmla="*/ 6228207 w 6228224"/>
              <a:gd name="connsiteY2" fmla="*/ 3114000 h 5890966"/>
              <a:gd name="connsiteX3" fmla="*/ 4483489 w 6228224"/>
              <a:gd name="connsiteY3" fmla="*/ 5890966 h 5890966"/>
              <a:gd name="connsiteX4" fmla="*/ 4481346 w 6228224"/>
              <a:gd name="connsiteY4" fmla="*/ 4147888 h 5890966"/>
              <a:gd name="connsiteX5" fmla="*/ 4370896 w 6228224"/>
              <a:gd name="connsiteY5" fmla="*/ 3953309 h 5890966"/>
              <a:gd name="connsiteX6" fmla="*/ 199447 w 6228224"/>
              <a:gd name="connsiteY6" fmla="*/ 3947372 h 5890966"/>
              <a:gd name="connsiteX7" fmla="*/ 121726 w 6228224"/>
              <a:gd name="connsiteY7" fmla="*/ 3970053 h 5890966"/>
              <a:gd name="connsiteX8" fmla="*/ 207 w 6228224"/>
              <a:gd name="connsiteY8" fmla="*/ 3114000 h 5890966"/>
              <a:gd name="connsiteX0" fmla="*/ 207 w 6228224"/>
              <a:gd name="connsiteY0" fmla="*/ 3114000 h 5890966"/>
              <a:gd name="connsiteX1" fmla="*/ 3114207 w 6228224"/>
              <a:gd name="connsiteY1" fmla="*/ 0 h 5890966"/>
              <a:gd name="connsiteX2" fmla="*/ 6228207 w 6228224"/>
              <a:gd name="connsiteY2" fmla="*/ 3114000 h 5890966"/>
              <a:gd name="connsiteX3" fmla="*/ 4483489 w 6228224"/>
              <a:gd name="connsiteY3" fmla="*/ 5890966 h 5890966"/>
              <a:gd name="connsiteX4" fmla="*/ 4481346 w 6228224"/>
              <a:gd name="connsiteY4" fmla="*/ 4147888 h 5890966"/>
              <a:gd name="connsiteX5" fmla="*/ 4370896 w 6228224"/>
              <a:gd name="connsiteY5" fmla="*/ 3953309 h 5890966"/>
              <a:gd name="connsiteX6" fmla="*/ 199447 w 6228224"/>
              <a:gd name="connsiteY6" fmla="*/ 3947372 h 5890966"/>
              <a:gd name="connsiteX7" fmla="*/ 121726 w 6228224"/>
              <a:gd name="connsiteY7" fmla="*/ 3970053 h 5890966"/>
              <a:gd name="connsiteX8" fmla="*/ 207 w 6228224"/>
              <a:gd name="connsiteY8" fmla="*/ 3114000 h 5890966"/>
              <a:gd name="connsiteX0" fmla="*/ 207 w 6228224"/>
              <a:gd name="connsiteY0" fmla="*/ 3114000 h 5890966"/>
              <a:gd name="connsiteX1" fmla="*/ 3114207 w 6228224"/>
              <a:gd name="connsiteY1" fmla="*/ 0 h 5890966"/>
              <a:gd name="connsiteX2" fmla="*/ 6228207 w 6228224"/>
              <a:gd name="connsiteY2" fmla="*/ 3114000 h 5890966"/>
              <a:gd name="connsiteX3" fmla="*/ 4483489 w 6228224"/>
              <a:gd name="connsiteY3" fmla="*/ 5890966 h 5890966"/>
              <a:gd name="connsiteX4" fmla="*/ 4481346 w 6228224"/>
              <a:gd name="connsiteY4" fmla="*/ 4147888 h 5890966"/>
              <a:gd name="connsiteX5" fmla="*/ 4370896 w 6228224"/>
              <a:gd name="connsiteY5" fmla="*/ 3953309 h 5890966"/>
              <a:gd name="connsiteX6" fmla="*/ 199447 w 6228224"/>
              <a:gd name="connsiteY6" fmla="*/ 3947372 h 5890966"/>
              <a:gd name="connsiteX7" fmla="*/ 121726 w 6228224"/>
              <a:gd name="connsiteY7" fmla="*/ 3970053 h 5890966"/>
              <a:gd name="connsiteX8" fmla="*/ 207 w 6228224"/>
              <a:gd name="connsiteY8" fmla="*/ 3114000 h 5890966"/>
              <a:gd name="connsiteX0" fmla="*/ 207 w 6228224"/>
              <a:gd name="connsiteY0" fmla="*/ 3114000 h 5890966"/>
              <a:gd name="connsiteX1" fmla="*/ 3114207 w 6228224"/>
              <a:gd name="connsiteY1" fmla="*/ 0 h 5890966"/>
              <a:gd name="connsiteX2" fmla="*/ 6228207 w 6228224"/>
              <a:gd name="connsiteY2" fmla="*/ 3114000 h 5890966"/>
              <a:gd name="connsiteX3" fmla="*/ 4483489 w 6228224"/>
              <a:gd name="connsiteY3" fmla="*/ 5890966 h 5890966"/>
              <a:gd name="connsiteX4" fmla="*/ 4481346 w 6228224"/>
              <a:gd name="connsiteY4" fmla="*/ 4147888 h 5890966"/>
              <a:gd name="connsiteX5" fmla="*/ 4370896 w 6228224"/>
              <a:gd name="connsiteY5" fmla="*/ 3953309 h 5890966"/>
              <a:gd name="connsiteX6" fmla="*/ 213232 w 6228224"/>
              <a:gd name="connsiteY6" fmla="*/ 3947372 h 5890966"/>
              <a:gd name="connsiteX7" fmla="*/ 121726 w 6228224"/>
              <a:gd name="connsiteY7" fmla="*/ 3970053 h 5890966"/>
              <a:gd name="connsiteX8" fmla="*/ 207 w 6228224"/>
              <a:gd name="connsiteY8" fmla="*/ 3114000 h 5890966"/>
              <a:gd name="connsiteX0" fmla="*/ 207 w 6228224"/>
              <a:gd name="connsiteY0" fmla="*/ 3114000 h 5890966"/>
              <a:gd name="connsiteX1" fmla="*/ 3114207 w 6228224"/>
              <a:gd name="connsiteY1" fmla="*/ 0 h 5890966"/>
              <a:gd name="connsiteX2" fmla="*/ 6228207 w 6228224"/>
              <a:gd name="connsiteY2" fmla="*/ 3114000 h 5890966"/>
              <a:gd name="connsiteX3" fmla="*/ 4483489 w 6228224"/>
              <a:gd name="connsiteY3" fmla="*/ 5890966 h 5890966"/>
              <a:gd name="connsiteX4" fmla="*/ 4481346 w 6228224"/>
              <a:gd name="connsiteY4" fmla="*/ 4147888 h 5890966"/>
              <a:gd name="connsiteX5" fmla="*/ 4370896 w 6228224"/>
              <a:gd name="connsiteY5" fmla="*/ 3953309 h 5890966"/>
              <a:gd name="connsiteX6" fmla="*/ 213232 w 6228224"/>
              <a:gd name="connsiteY6" fmla="*/ 3947372 h 5890966"/>
              <a:gd name="connsiteX7" fmla="*/ 121726 w 6228224"/>
              <a:gd name="connsiteY7" fmla="*/ 3970053 h 5890966"/>
              <a:gd name="connsiteX8" fmla="*/ 207 w 6228224"/>
              <a:gd name="connsiteY8" fmla="*/ 3114000 h 5890966"/>
              <a:gd name="connsiteX0" fmla="*/ 207 w 6228224"/>
              <a:gd name="connsiteY0" fmla="*/ 3114000 h 5890966"/>
              <a:gd name="connsiteX1" fmla="*/ 3114207 w 6228224"/>
              <a:gd name="connsiteY1" fmla="*/ 0 h 5890966"/>
              <a:gd name="connsiteX2" fmla="*/ 6228207 w 6228224"/>
              <a:gd name="connsiteY2" fmla="*/ 3114000 h 5890966"/>
              <a:gd name="connsiteX3" fmla="*/ 4483489 w 6228224"/>
              <a:gd name="connsiteY3" fmla="*/ 5890966 h 5890966"/>
              <a:gd name="connsiteX4" fmla="*/ 4481346 w 6228224"/>
              <a:gd name="connsiteY4" fmla="*/ 4147888 h 5890966"/>
              <a:gd name="connsiteX5" fmla="*/ 4370896 w 6228224"/>
              <a:gd name="connsiteY5" fmla="*/ 3953309 h 5890966"/>
              <a:gd name="connsiteX6" fmla="*/ 227017 w 6228224"/>
              <a:gd name="connsiteY6" fmla="*/ 3938182 h 5890966"/>
              <a:gd name="connsiteX7" fmla="*/ 121726 w 6228224"/>
              <a:gd name="connsiteY7" fmla="*/ 3970053 h 5890966"/>
              <a:gd name="connsiteX8" fmla="*/ 207 w 6228224"/>
              <a:gd name="connsiteY8" fmla="*/ 3114000 h 5890966"/>
              <a:gd name="connsiteX0" fmla="*/ 207 w 6228224"/>
              <a:gd name="connsiteY0" fmla="*/ 3114000 h 5890966"/>
              <a:gd name="connsiteX1" fmla="*/ 3114207 w 6228224"/>
              <a:gd name="connsiteY1" fmla="*/ 0 h 5890966"/>
              <a:gd name="connsiteX2" fmla="*/ 6228207 w 6228224"/>
              <a:gd name="connsiteY2" fmla="*/ 3114000 h 5890966"/>
              <a:gd name="connsiteX3" fmla="*/ 4483489 w 6228224"/>
              <a:gd name="connsiteY3" fmla="*/ 5890966 h 5890966"/>
              <a:gd name="connsiteX4" fmla="*/ 4481346 w 6228224"/>
              <a:gd name="connsiteY4" fmla="*/ 4147888 h 5890966"/>
              <a:gd name="connsiteX5" fmla="*/ 4370896 w 6228224"/>
              <a:gd name="connsiteY5" fmla="*/ 3953309 h 5890966"/>
              <a:gd name="connsiteX6" fmla="*/ 227017 w 6228224"/>
              <a:gd name="connsiteY6" fmla="*/ 3938182 h 5890966"/>
              <a:gd name="connsiteX7" fmla="*/ 121726 w 6228224"/>
              <a:gd name="connsiteY7" fmla="*/ 3965458 h 5890966"/>
              <a:gd name="connsiteX8" fmla="*/ 207 w 6228224"/>
              <a:gd name="connsiteY8" fmla="*/ 3114000 h 5890966"/>
              <a:gd name="connsiteX0" fmla="*/ 207 w 6228224"/>
              <a:gd name="connsiteY0" fmla="*/ 3114000 h 5890966"/>
              <a:gd name="connsiteX1" fmla="*/ 3114207 w 6228224"/>
              <a:gd name="connsiteY1" fmla="*/ 0 h 5890966"/>
              <a:gd name="connsiteX2" fmla="*/ 6228207 w 6228224"/>
              <a:gd name="connsiteY2" fmla="*/ 3114000 h 5890966"/>
              <a:gd name="connsiteX3" fmla="*/ 4483489 w 6228224"/>
              <a:gd name="connsiteY3" fmla="*/ 5890966 h 5890966"/>
              <a:gd name="connsiteX4" fmla="*/ 4481346 w 6228224"/>
              <a:gd name="connsiteY4" fmla="*/ 4147888 h 5890966"/>
              <a:gd name="connsiteX5" fmla="*/ 4370896 w 6228224"/>
              <a:gd name="connsiteY5" fmla="*/ 3953309 h 5890966"/>
              <a:gd name="connsiteX6" fmla="*/ 227017 w 6228224"/>
              <a:gd name="connsiteY6" fmla="*/ 3938182 h 5890966"/>
              <a:gd name="connsiteX7" fmla="*/ 121726 w 6228224"/>
              <a:gd name="connsiteY7" fmla="*/ 3965458 h 5890966"/>
              <a:gd name="connsiteX8" fmla="*/ 207 w 6228224"/>
              <a:gd name="connsiteY8" fmla="*/ 3114000 h 5890966"/>
              <a:gd name="connsiteX0" fmla="*/ 214 w 6228231"/>
              <a:gd name="connsiteY0" fmla="*/ 3114000 h 5890966"/>
              <a:gd name="connsiteX1" fmla="*/ 3114214 w 6228231"/>
              <a:gd name="connsiteY1" fmla="*/ 0 h 5890966"/>
              <a:gd name="connsiteX2" fmla="*/ 6228214 w 6228231"/>
              <a:gd name="connsiteY2" fmla="*/ 3114000 h 5890966"/>
              <a:gd name="connsiteX3" fmla="*/ 4483496 w 6228231"/>
              <a:gd name="connsiteY3" fmla="*/ 5890966 h 5890966"/>
              <a:gd name="connsiteX4" fmla="*/ 4481353 w 6228231"/>
              <a:gd name="connsiteY4" fmla="*/ 4147888 h 5890966"/>
              <a:gd name="connsiteX5" fmla="*/ 4370903 w 6228231"/>
              <a:gd name="connsiteY5" fmla="*/ 3953309 h 5890966"/>
              <a:gd name="connsiteX6" fmla="*/ 227024 w 6228231"/>
              <a:gd name="connsiteY6" fmla="*/ 3938182 h 5890966"/>
              <a:gd name="connsiteX7" fmla="*/ 117138 w 6228231"/>
              <a:gd name="connsiteY7" fmla="*/ 3956268 h 5890966"/>
              <a:gd name="connsiteX8" fmla="*/ 214 w 6228231"/>
              <a:gd name="connsiteY8" fmla="*/ 3114000 h 58909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228231" h="5890966">
                <a:moveTo>
                  <a:pt x="214" y="3114000"/>
                </a:moveTo>
                <a:cubicBezTo>
                  <a:pt x="-4330" y="1411998"/>
                  <a:pt x="1394399" y="0"/>
                  <a:pt x="3114214" y="0"/>
                </a:cubicBezTo>
                <a:cubicBezTo>
                  <a:pt x="4834029" y="0"/>
                  <a:pt x="6228009" y="1324528"/>
                  <a:pt x="6228214" y="3114000"/>
                </a:cubicBezTo>
                <a:cubicBezTo>
                  <a:pt x="6232591" y="4448745"/>
                  <a:pt x="5391347" y="5466913"/>
                  <a:pt x="4483496" y="5890966"/>
                </a:cubicBezTo>
                <a:cubicBezTo>
                  <a:pt x="4470286" y="5884723"/>
                  <a:pt x="4490830" y="4173263"/>
                  <a:pt x="4481353" y="4147888"/>
                </a:cubicBezTo>
                <a:cubicBezTo>
                  <a:pt x="4476337" y="4153536"/>
                  <a:pt x="4500847" y="3989338"/>
                  <a:pt x="4370903" y="3953309"/>
                </a:cubicBezTo>
                <a:lnTo>
                  <a:pt x="227024" y="3938182"/>
                </a:lnTo>
                <a:cubicBezTo>
                  <a:pt x="229896" y="3935584"/>
                  <a:pt x="121453" y="3950046"/>
                  <a:pt x="117138" y="3956268"/>
                </a:cubicBezTo>
                <a:cubicBezTo>
                  <a:pt x="115621" y="3943562"/>
                  <a:pt x="-5779" y="3527224"/>
                  <a:pt x="214" y="3114000"/>
                </a:cubicBezTo>
                <a:close/>
              </a:path>
            </a:pathLst>
          </a:custGeom>
        </p:spPr>
        <p:txBody>
          <a:bodyPr/>
          <a:lstStyle>
            <a:lvl1pPr algn="ctr">
              <a:defRPr sz="1400" b="0">
                <a:solidFill>
                  <a:schemeClr val="bg1"/>
                </a:solidFill>
              </a:defRPr>
            </a:lvl1pPr>
          </a:lstStyle>
          <a:p>
            <a:endParaRPr lang="pt-BR"/>
          </a:p>
          <a:p>
            <a:r>
              <a:rPr lang="pt-BR"/>
              <a:t>Imagem</a:t>
            </a:r>
            <a:br>
              <a:rPr lang="pt-BR"/>
            </a:br>
            <a:r>
              <a:rPr lang="pt-BR"/>
              <a:t>(opcional)</a:t>
            </a:r>
          </a:p>
        </p:txBody>
      </p:sp>
      <p:sp>
        <p:nvSpPr>
          <p:cNvPr id="45" name="Espaço Reservado para Texto 44">
            <a:extLst>
              <a:ext uri="{FF2B5EF4-FFF2-40B4-BE49-F238E27FC236}">
                <a16:creationId xmlns:a16="http://schemas.microsoft.com/office/drawing/2014/main" id="{06E30179-074A-9B58-6298-46634017239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7238366" y="1329766"/>
            <a:ext cx="3385184" cy="1534684"/>
          </a:xfrm>
        </p:spPr>
        <p:txBody>
          <a:bodyPr>
            <a:noAutofit/>
          </a:bodyPr>
          <a:lstStyle>
            <a:lvl1pPr>
              <a:lnSpc>
                <a:spcPct val="120000"/>
              </a:lnSpc>
              <a:defRPr lang="pt-BR" sz="1200" b="0" i="0" u="none" strike="noStrike" kern="1200" cap="none" dirty="0" smtClean="0">
                <a:solidFill>
                  <a:schemeClr val="bg1"/>
                </a:solidFill>
                <a:latin typeface="+mn-lt"/>
                <a:ea typeface="Times New Roman" panose="02020603050405020304" pitchFamily="18" charset="0"/>
                <a:cs typeface="Arial"/>
                <a:sym typeface="Arial"/>
              </a:defRPr>
            </a:lvl1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7" name="Freeform: Shape 24">
            <a:extLst>
              <a:ext uri="{FF2B5EF4-FFF2-40B4-BE49-F238E27FC236}">
                <a16:creationId xmlns:a16="http://schemas.microsoft.com/office/drawing/2014/main" id="{FD415740-21AF-903C-1A5A-37F7E5CC6A3C}"/>
              </a:ext>
            </a:extLst>
          </p:cNvPr>
          <p:cNvSpPr/>
          <p:nvPr userDrawn="1"/>
        </p:nvSpPr>
        <p:spPr>
          <a:xfrm>
            <a:off x="2" y="3886414"/>
            <a:ext cx="2848573" cy="2965721"/>
          </a:xfrm>
          <a:custGeom>
            <a:avLst/>
            <a:gdLst>
              <a:gd name="connsiteX0" fmla="*/ 1162912 w 2848573"/>
              <a:gd name="connsiteY0" fmla="*/ 0 h 2965721"/>
              <a:gd name="connsiteX1" fmla="*/ 2848573 w 2848573"/>
              <a:gd name="connsiteY1" fmla="*/ 1685661 h 2965721"/>
              <a:gd name="connsiteX2" fmla="*/ 2354855 w 2848573"/>
              <a:gd name="connsiteY2" fmla="*/ 2877604 h 2965721"/>
              <a:gd name="connsiteX3" fmla="*/ 2257901 w 2848573"/>
              <a:gd name="connsiteY3" fmla="*/ 2965721 h 2965721"/>
              <a:gd name="connsiteX4" fmla="*/ 67924 w 2848573"/>
              <a:gd name="connsiteY4" fmla="*/ 2965721 h 2965721"/>
              <a:gd name="connsiteX5" fmla="*/ 0 w 2848573"/>
              <a:gd name="connsiteY5" fmla="*/ 2903988 h 2965721"/>
              <a:gd name="connsiteX6" fmla="*/ 0 w 2848573"/>
              <a:gd name="connsiteY6" fmla="*/ 467334 h 2965721"/>
              <a:gd name="connsiteX7" fmla="*/ 90675 w 2848573"/>
              <a:gd name="connsiteY7" fmla="*/ 384923 h 2965721"/>
              <a:gd name="connsiteX8" fmla="*/ 1162912 w 2848573"/>
              <a:gd name="connsiteY8" fmla="*/ 0 h 29657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848573" h="2965721">
                <a:moveTo>
                  <a:pt x="1162912" y="0"/>
                </a:moveTo>
                <a:cubicBezTo>
                  <a:pt x="2093877" y="0"/>
                  <a:pt x="2848573" y="754696"/>
                  <a:pt x="2848573" y="1685661"/>
                </a:cubicBezTo>
                <a:cubicBezTo>
                  <a:pt x="2848573" y="2151144"/>
                  <a:pt x="2659899" y="2572559"/>
                  <a:pt x="2354855" y="2877604"/>
                </a:cubicBezTo>
                <a:lnTo>
                  <a:pt x="2257901" y="2965721"/>
                </a:lnTo>
                <a:lnTo>
                  <a:pt x="67924" y="2965721"/>
                </a:lnTo>
                <a:lnTo>
                  <a:pt x="0" y="2903988"/>
                </a:lnTo>
                <a:lnTo>
                  <a:pt x="0" y="467334"/>
                </a:lnTo>
                <a:lnTo>
                  <a:pt x="90675" y="384923"/>
                </a:lnTo>
                <a:cubicBezTo>
                  <a:pt x="382057" y="144454"/>
                  <a:pt x="755615" y="0"/>
                  <a:pt x="1162912" y="0"/>
                </a:cubicBezTo>
                <a:close/>
              </a:path>
            </a:pathLst>
          </a:custGeom>
          <a:solidFill>
            <a:schemeClr val="accent2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 sz="1351"/>
          </a:p>
        </p:txBody>
      </p:sp>
      <p:sp>
        <p:nvSpPr>
          <p:cNvPr id="28" name="Espaço Reservado para Imagem 27">
            <a:extLst>
              <a:ext uri="{FF2B5EF4-FFF2-40B4-BE49-F238E27FC236}">
                <a16:creationId xmlns:a16="http://schemas.microsoft.com/office/drawing/2014/main" id="{548B2331-2676-10C2-7E01-D10F6FB4AAA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481687" y="995363"/>
            <a:ext cx="793750" cy="793750"/>
          </a:xfrm>
        </p:spPr>
        <p:txBody>
          <a:bodyPr>
            <a:normAutofit/>
          </a:bodyPr>
          <a:lstStyle>
            <a:lvl1pPr algn="ctr">
              <a:defRPr sz="1400">
                <a:solidFill>
                  <a:schemeClr val="tx1"/>
                </a:solidFill>
              </a:defRPr>
            </a:lvl1pPr>
          </a:lstStyle>
          <a:p>
            <a:r>
              <a:rPr lang="pt-BR"/>
              <a:t>Ícone</a:t>
            </a:r>
          </a:p>
        </p:txBody>
      </p:sp>
      <p:sp>
        <p:nvSpPr>
          <p:cNvPr id="38" name="Título">
            <a:extLst>
              <a:ext uri="{FF2B5EF4-FFF2-40B4-BE49-F238E27FC236}">
                <a16:creationId xmlns:a16="http://schemas.microsoft.com/office/drawing/2014/main" id="{ADB15B2B-2001-9E64-8B66-5FAC0E2E52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23244" y="1270707"/>
            <a:ext cx="4158456" cy="1281113"/>
          </a:xfrm>
        </p:spPr>
        <p:txBody>
          <a:bodyPr>
            <a:noAutofit/>
          </a:bodyPr>
          <a:lstStyle>
            <a:lvl1pPr marR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pt-BR" sz="3600" b="1" i="0" u="none" strike="noStrike" cap="none" spc="-100" dirty="0">
                <a:solidFill>
                  <a:schemeClr val="accent1"/>
                </a:solidFill>
                <a:latin typeface="+mj-lt"/>
                <a:ea typeface="Arial"/>
                <a:cs typeface="Arial"/>
                <a:sym typeface="Arial"/>
              </a:defRPr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40" name="Espaço Reservado para Texto 39">
            <a:extLst>
              <a:ext uri="{FF2B5EF4-FFF2-40B4-BE49-F238E27FC236}">
                <a16:creationId xmlns:a16="http://schemas.microsoft.com/office/drawing/2014/main" id="{A1760A25-CD4E-1960-08EE-258535BF939F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1823244" y="926629"/>
            <a:ext cx="4180096" cy="323211"/>
          </a:xfrm>
        </p:spPr>
        <p:txBody>
          <a:bodyPr lIns="126000">
            <a:noAutofit/>
          </a:bodyPr>
          <a:lstStyle>
            <a:lvl1pPr>
              <a:defRPr lang="pt-BR" sz="1100" b="0" i="0" u="none" strike="noStrike" kern="1200" cap="all" spc="100" baseline="0" dirty="0" smtClean="0">
                <a:solidFill>
                  <a:schemeClr val="tx2"/>
                </a:solidFill>
                <a:latin typeface="+mn-lt"/>
                <a:ea typeface="Times New Roman" panose="02020603050405020304" pitchFamily="18" charset="0"/>
                <a:cs typeface="Arial"/>
                <a:sym typeface="Arial"/>
              </a:defRPr>
            </a:lvl1pPr>
          </a:lstStyle>
          <a:p>
            <a:pPr lvl="0"/>
            <a:r>
              <a:rPr lang="pt-BR"/>
              <a:t>Clique para editar os estilos</a:t>
            </a:r>
          </a:p>
        </p:txBody>
      </p:sp>
      <p:sp>
        <p:nvSpPr>
          <p:cNvPr id="8" name="Rectangle: Rounded Corners 9">
            <a:extLst>
              <a:ext uri="{FF2B5EF4-FFF2-40B4-BE49-F238E27FC236}">
                <a16:creationId xmlns:a16="http://schemas.microsoft.com/office/drawing/2014/main" id="{19FBD3DF-538E-7884-58FD-04DC57DB7E80}"/>
              </a:ext>
            </a:extLst>
          </p:cNvPr>
          <p:cNvSpPr/>
          <p:nvPr userDrawn="1"/>
        </p:nvSpPr>
        <p:spPr>
          <a:xfrm>
            <a:off x="1568450" y="3571620"/>
            <a:ext cx="4434893" cy="2405063"/>
          </a:xfrm>
          <a:prstGeom prst="roundRect">
            <a:avLst>
              <a:gd name="adj" fmla="val 6259"/>
            </a:avLst>
          </a:prstGeom>
          <a:solidFill>
            <a:schemeClr val="bg1"/>
          </a:solidFill>
          <a:ln>
            <a:noFill/>
          </a:ln>
          <a:effectLst>
            <a:outerShdw blurRad="177800" dist="38100" dir="8100000" algn="tr" rotWithShape="0">
              <a:prstClr val="black">
                <a:alpha val="2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sz="1351"/>
          </a:p>
        </p:txBody>
      </p:sp>
      <p:sp>
        <p:nvSpPr>
          <p:cNvPr id="9" name="Rectangle: Rounded Corners 10">
            <a:extLst>
              <a:ext uri="{FF2B5EF4-FFF2-40B4-BE49-F238E27FC236}">
                <a16:creationId xmlns:a16="http://schemas.microsoft.com/office/drawing/2014/main" id="{AE95629A-85FB-D0D9-6F6F-A142203545A5}"/>
              </a:ext>
            </a:extLst>
          </p:cNvPr>
          <p:cNvSpPr/>
          <p:nvPr userDrawn="1"/>
        </p:nvSpPr>
        <p:spPr>
          <a:xfrm>
            <a:off x="6222183" y="3545643"/>
            <a:ext cx="4435200" cy="2431040"/>
          </a:xfrm>
          <a:custGeom>
            <a:avLst/>
            <a:gdLst>
              <a:gd name="connsiteX0" fmla="*/ 0 w 4435200"/>
              <a:gd name="connsiteY0" fmla="*/ 150533 h 2405063"/>
              <a:gd name="connsiteX1" fmla="*/ 150533 w 4435200"/>
              <a:gd name="connsiteY1" fmla="*/ 0 h 2405063"/>
              <a:gd name="connsiteX2" fmla="*/ 4284667 w 4435200"/>
              <a:gd name="connsiteY2" fmla="*/ 0 h 2405063"/>
              <a:gd name="connsiteX3" fmla="*/ 4435200 w 4435200"/>
              <a:gd name="connsiteY3" fmla="*/ 150533 h 2405063"/>
              <a:gd name="connsiteX4" fmla="*/ 4435200 w 4435200"/>
              <a:gd name="connsiteY4" fmla="*/ 2254530 h 2405063"/>
              <a:gd name="connsiteX5" fmla="*/ 4284667 w 4435200"/>
              <a:gd name="connsiteY5" fmla="*/ 2405063 h 2405063"/>
              <a:gd name="connsiteX6" fmla="*/ 150533 w 4435200"/>
              <a:gd name="connsiteY6" fmla="*/ 2405063 h 2405063"/>
              <a:gd name="connsiteX7" fmla="*/ 0 w 4435200"/>
              <a:gd name="connsiteY7" fmla="*/ 2254530 h 2405063"/>
              <a:gd name="connsiteX8" fmla="*/ 0 w 4435200"/>
              <a:gd name="connsiteY8" fmla="*/ 150533 h 2405063"/>
              <a:gd name="connsiteX0" fmla="*/ 0 w 4435200"/>
              <a:gd name="connsiteY0" fmla="*/ 150533 h 2405063"/>
              <a:gd name="connsiteX1" fmla="*/ 150533 w 4435200"/>
              <a:gd name="connsiteY1" fmla="*/ 0 h 2405063"/>
              <a:gd name="connsiteX2" fmla="*/ 4279472 w 4435200"/>
              <a:gd name="connsiteY2" fmla="*/ 0 h 2405063"/>
              <a:gd name="connsiteX3" fmla="*/ 4435200 w 4435200"/>
              <a:gd name="connsiteY3" fmla="*/ 150533 h 2405063"/>
              <a:gd name="connsiteX4" fmla="*/ 4435200 w 4435200"/>
              <a:gd name="connsiteY4" fmla="*/ 2254530 h 2405063"/>
              <a:gd name="connsiteX5" fmla="*/ 4284667 w 4435200"/>
              <a:gd name="connsiteY5" fmla="*/ 2405063 h 2405063"/>
              <a:gd name="connsiteX6" fmla="*/ 150533 w 4435200"/>
              <a:gd name="connsiteY6" fmla="*/ 2405063 h 2405063"/>
              <a:gd name="connsiteX7" fmla="*/ 0 w 4435200"/>
              <a:gd name="connsiteY7" fmla="*/ 2254530 h 2405063"/>
              <a:gd name="connsiteX8" fmla="*/ 0 w 4435200"/>
              <a:gd name="connsiteY8" fmla="*/ 150533 h 2405063"/>
              <a:gd name="connsiteX0" fmla="*/ 0 w 4435200"/>
              <a:gd name="connsiteY0" fmla="*/ 150533 h 2405063"/>
              <a:gd name="connsiteX1" fmla="*/ 150533 w 4435200"/>
              <a:gd name="connsiteY1" fmla="*/ 0 h 2405063"/>
              <a:gd name="connsiteX2" fmla="*/ 4253494 w 4435200"/>
              <a:gd name="connsiteY2" fmla="*/ 10391 h 2405063"/>
              <a:gd name="connsiteX3" fmla="*/ 4435200 w 4435200"/>
              <a:gd name="connsiteY3" fmla="*/ 150533 h 2405063"/>
              <a:gd name="connsiteX4" fmla="*/ 4435200 w 4435200"/>
              <a:gd name="connsiteY4" fmla="*/ 2254530 h 2405063"/>
              <a:gd name="connsiteX5" fmla="*/ 4284667 w 4435200"/>
              <a:gd name="connsiteY5" fmla="*/ 2405063 h 2405063"/>
              <a:gd name="connsiteX6" fmla="*/ 150533 w 4435200"/>
              <a:gd name="connsiteY6" fmla="*/ 2405063 h 2405063"/>
              <a:gd name="connsiteX7" fmla="*/ 0 w 4435200"/>
              <a:gd name="connsiteY7" fmla="*/ 2254530 h 2405063"/>
              <a:gd name="connsiteX8" fmla="*/ 0 w 4435200"/>
              <a:gd name="connsiteY8" fmla="*/ 150533 h 2405063"/>
              <a:gd name="connsiteX0" fmla="*/ 0 w 4435200"/>
              <a:gd name="connsiteY0" fmla="*/ 150533 h 2405063"/>
              <a:gd name="connsiteX1" fmla="*/ 150533 w 4435200"/>
              <a:gd name="connsiteY1" fmla="*/ 0 h 2405063"/>
              <a:gd name="connsiteX2" fmla="*/ 4295058 w 4435200"/>
              <a:gd name="connsiteY2" fmla="*/ 5195 h 2405063"/>
              <a:gd name="connsiteX3" fmla="*/ 4435200 w 4435200"/>
              <a:gd name="connsiteY3" fmla="*/ 150533 h 2405063"/>
              <a:gd name="connsiteX4" fmla="*/ 4435200 w 4435200"/>
              <a:gd name="connsiteY4" fmla="*/ 2254530 h 2405063"/>
              <a:gd name="connsiteX5" fmla="*/ 4284667 w 4435200"/>
              <a:gd name="connsiteY5" fmla="*/ 2405063 h 2405063"/>
              <a:gd name="connsiteX6" fmla="*/ 150533 w 4435200"/>
              <a:gd name="connsiteY6" fmla="*/ 2405063 h 2405063"/>
              <a:gd name="connsiteX7" fmla="*/ 0 w 4435200"/>
              <a:gd name="connsiteY7" fmla="*/ 2254530 h 2405063"/>
              <a:gd name="connsiteX8" fmla="*/ 0 w 4435200"/>
              <a:gd name="connsiteY8" fmla="*/ 150533 h 2405063"/>
              <a:gd name="connsiteX0" fmla="*/ 0 w 4435200"/>
              <a:gd name="connsiteY0" fmla="*/ 150533 h 2405063"/>
              <a:gd name="connsiteX1" fmla="*/ 150533 w 4435200"/>
              <a:gd name="connsiteY1" fmla="*/ 0 h 2405063"/>
              <a:gd name="connsiteX2" fmla="*/ 4315839 w 4435200"/>
              <a:gd name="connsiteY2" fmla="*/ 5195 h 2405063"/>
              <a:gd name="connsiteX3" fmla="*/ 4435200 w 4435200"/>
              <a:gd name="connsiteY3" fmla="*/ 150533 h 2405063"/>
              <a:gd name="connsiteX4" fmla="*/ 4435200 w 4435200"/>
              <a:gd name="connsiteY4" fmla="*/ 2254530 h 2405063"/>
              <a:gd name="connsiteX5" fmla="*/ 4284667 w 4435200"/>
              <a:gd name="connsiteY5" fmla="*/ 2405063 h 2405063"/>
              <a:gd name="connsiteX6" fmla="*/ 150533 w 4435200"/>
              <a:gd name="connsiteY6" fmla="*/ 2405063 h 2405063"/>
              <a:gd name="connsiteX7" fmla="*/ 0 w 4435200"/>
              <a:gd name="connsiteY7" fmla="*/ 2254530 h 2405063"/>
              <a:gd name="connsiteX8" fmla="*/ 0 w 4435200"/>
              <a:gd name="connsiteY8" fmla="*/ 150533 h 2405063"/>
              <a:gd name="connsiteX0" fmla="*/ 0 w 4435200"/>
              <a:gd name="connsiteY0" fmla="*/ 155729 h 2410259"/>
              <a:gd name="connsiteX1" fmla="*/ 150533 w 4435200"/>
              <a:gd name="connsiteY1" fmla="*/ 0 h 2410259"/>
              <a:gd name="connsiteX2" fmla="*/ 4315839 w 4435200"/>
              <a:gd name="connsiteY2" fmla="*/ 10391 h 2410259"/>
              <a:gd name="connsiteX3" fmla="*/ 4435200 w 4435200"/>
              <a:gd name="connsiteY3" fmla="*/ 155729 h 2410259"/>
              <a:gd name="connsiteX4" fmla="*/ 4435200 w 4435200"/>
              <a:gd name="connsiteY4" fmla="*/ 2259726 h 2410259"/>
              <a:gd name="connsiteX5" fmla="*/ 4284667 w 4435200"/>
              <a:gd name="connsiteY5" fmla="*/ 2410259 h 2410259"/>
              <a:gd name="connsiteX6" fmla="*/ 150533 w 4435200"/>
              <a:gd name="connsiteY6" fmla="*/ 2410259 h 2410259"/>
              <a:gd name="connsiteX7" fmla="*/ 0 w 4435200"/>
              <a:gd name="connsiteY7" fmla="*/ 2259726 h 2410259"/>
              <a:gd name="connsiteX8" fmla="*/ 0 w 4435200"/>
              <a:gd name="connsiteY8" fmla="*/ 155729 h 2410259"/>
              <a:gd name="connsiteX0" fmla="*/ 0 w 4435200"/>
              <a:gd name="connsiteY0" fmla="*/ 155729 h 2410259"/>
              <a:gd name="connsiteX1" fmla="*/ 150533 w 4435200"/>
              <a:gd name="connsiteY1" fmla="*/ 0 h 2410259"/>
              <a:gd name="connsiteX2" fmla="*/ 4315839 w 4435200"/>
              <a:gd name="connsiteY2" fmla="*/ 5196 h 2410259"/>
              <a:gd name="connsiteX3" fmla="*/ 4435200 w 4435200"/>
              <a:gd name="connsiteY3" fmla="*/ 155729 h 2410259"/>
              <a:gd name="connsiteX4" fmla="*/ 4435200 w 4435200"/>
              <a:gd name="connsiteY4" fmla="*/ 2259726 h 2410259"/>
              <a:gd name="connsiteX5" fmla="*/ 4284667 w 4435200"/>
              <a:gd name="connsiteY5" fmla="*/ 2410259 h 2410259"/>
              <a:gd name="connsiteX6" fmla="*/ 150533 w 4435200"/>
              <a:gd name="connsiteY6" fmla="*/ 2410259 h 2410259"/>
              <a:gd name="connsiteX7" fmla="*/ 0 w 4435200"/>
              <a:gd name="connsiteY7" fmla="*/ 2259726 h 2410259"/>
              <a:gd name="connsiteX8" fmla="*/ 0 w 4435200"/>
              <a:gd name="connsiteY8" fmla="*/ 155729 h 2410259"/>
              <a:gd name="connsiteX0" fmla="*/ 0 w 4435200"/>
              <a:gd name="connsiteY0" fmla="*/ 160924 h 2415454"/>
              <a:gd name="connsiteX1" fmla="*/ 150533 w 4435200"/>
              <a:gd name="connsiteY1" fmla="*/ 5195 h 2415454"/>
              <a:gd name="connsiteX2" fmla="*/ 4321035 w 4435200"/>
              <a:gd name="connsiteY2" fmla="*/ 0 h 2415454"/>
              <a:gd name="connsiteX3" fmla="*/ 4435200 w 4435200"/>
              <a:gd name="connsiteY3" fmla="*/ 160924 h 2415454"/>
              <a:gd name="connsiteX4" fmla="*/ 4435200 w 4435200"/>
              <a:gd name="connsiteY4" fmla="*/ 2264921 h 2415454"/>
              <a:gd name="connsiteX5" fmla="*/ 4284667 w 4435200"/>
              <a:gd name="connsiteY5" fmla="*/ 2415454 h 2415454"/>
              <a:gd name="connsiteX6" fmla="*/ 150533 w 4435200"/>
              <a:gd name="connsiteY6" fmla="*/ 2415454 h 2415454"/>
              <a:gd name="connsiteX7" fmla="*/ 0 w 4435200"/>
              <a:gd name="connsiteY7" fmla="*/ 2264921 h 2415454"/>
              <a:gd name="connsiteX8" fmla="*/ 0 w 4435200"/>
              <a:gd name="connsiteY8" fmla="*/ 160924 h 2415454"/>
              <a:gd name="connsiteX0" fmla="*/ 0 w 4435200"/>
              <a:gd name="connsiteY0" fmla="*/ 176510 h 2431040"/>
              <a:gd name="connsiteX1" fmla="*/ 155729 w 4435200"/>
              <a:gd name="connsiteY1" fmla="*/ 0 h 2431040"/>
              <a:gd name="connsiteX2" fmla="*/ 4321035 w 4435200"/>
              <a:gd name="connsiteY2" fmla="*/ 15586 h 2431040"/>
              <a:gd name="connsiteX3" fmla="*/ 4435200 w 4435200"/>
              <a:gd name="connsiteY3" fmla="*/ 176510 h 2431040"/>
              <a:gd name="connsiteX4" fmla="*/ 4435200 w 4435200"/>
              <a:gd name="connsiteY4" fmla="*/ 2280507 h 2431040"/>
              <a:gd name="connsiteX5" fmla="*/ 4284667 w 4435200"/>
              <a:gd name="connsiteY5" fmla="*/ 2431040 h 2431040"/>
              <a:gd name="connsiteX6" fmla="*/ 150533 w 4435200"/>
              <a:gd name="connsiteY6" fmla="*/ 2431040 h 2431040"/>
              <a:gd name="connsiteX7" fmla="*/ 0 w 4435200"/>
              <a:gd name="connsiteY7" fmla="*/ 2280507 h 2431040"/>
              <a:gd name="connsiteX8" fmla="*/ 0 w 4435200"/>
              <a:gd name="connsiteY8" fmla="*/ 176510 h 2431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435200" h="2431040">
                <a:moveTo>
                  <a:pt x="0" y="176510"/>
                </a:moveTo>
                <a:cubicBezTo>
                  <a:pt x="0" y="93373"/>
                  <a:pt x="72592" y="0"/>
                  <a:pt x="155729" y="0"/>
                </a:cubicBezTo>
                <a:lnTo>
                  <a:pt x="4321035" y="15586"/>
                </a:lnTo>
                <a:cubicBezTo>
                  <a:pt x="4404172" y="15586"/>
                  <a:pt x="4435200" y="93373"/>
                  <a:pt x="4435200" y="176510"/>
                </a:cubicBezTo>
                <a:lnTo>
                  <a:pt x="4435200" y="2280507"/>
                </a:lnTo>
                <a:cubicBezTo>
                  <a:pt x="4435200" y="2363644"/>
                  <a:pt x="4367804" y="2431040"/>
                  <a:pt x="4284667" y="2431040"/>
                </a:cubicBezTo>
                <a:lnTo>
                  <a:pt x="150533" y="2431040"/>
                </a:lnTo>
                <a:cubicBezTo>
                  <a:pt x="67396" y="2431040"/>
                  <a:pt x="0" y="2363644"/>
                  <a:pt x="0" y="2280507"/>
                </a:cubicBezTo>
                <a:lnTo>
                  <a:pt x="0" y="17651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blurRad="177800" dist="38100" dir="8100000" algn="tr" rotWithShape="0">
              <a:prstClr val="black">
                <a:alpha val="2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sz="1351"/>
          </a:p>
        </p:txBody>
      </p:sp>
      <p:sp>
        <p:nvSpPr>
          <p:cNvPr id="25" name="Espaço Reservado para Texto 24">
            <a:extLst>
              <a:ext uri="{FF2B5EF4-FFF2-40B4-BE49-F238E27FC236}">
                <a16:creationId xmlns:a16="http://schemas.microsoft.com/office/drawing/2014/main" id="{F23AF8C6-F807-A43D-E470-FC73BC02AD1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811338" y="2698751"/>
            <a:ext cx="1949844" cy="1052513"/>
          </a:xfrm>
        </p:spPr>
        <p:txBody>
          <a:bodyPr lIns="0">
            <a:noAutofit/>
          </a:bodyPr>
          <a:lstStyle>
            <a:lvl1pPr marR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pt-BR" sz="6000" b="1" i="0" u="none" strike="noStrike" cap="none" dirty="0">
                <a:solidFill>
                  <a:srgbClr val="DAD8D8"/>
                </a:solidFill>
                <a:latin typeface="+mj-lt"/>
                <a:ea typeface="Times New Roman" panose="02020603050405020304" pitchFamily="18" charset="0"/>
                <a:cs typeface="Arial"/>
                <a:sym typeface="Arial"/>
              </a:defRPr>
            </a:lvl1pPr>
          </a:lstStyle>
          <a:p>
            <a:pPr lvl="0"/>
            <a:r>
              <a:rPr lang="pt-BR"/>
              <a:t>#</a:t>
            </a:r>
          </a:p>
        </p:txBody>
      </p:sp>
      <p:sp>
        <p:nvSpPr>
          <p:cNvPr id="30" name="Espaço Reservado para Texto 29">
            <a:extLst>
              <a:ext uri="{FF2B5EF4-FFF2-40B4-BE49-F238E27FC236}">
                <a16:creationId xmlns:a16="http://schemas.microsoft.com/office/drawing/2014/main" id="{9D491E22-92EA-618D-BAF8-776849CE7C7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811338" y="3911570"/>
            <a:ext cx="3516312" cy="312738"/>
          </a:xfrm>
        </p:spPr>
        <p:txBody>
          <a:bodyPr>
            <a:normAutofit/>
          </a:bodyPr>
          <a:lstStyle>
            <a:lvl1pPr marR="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pt-BR" sz="1400" b="1" i="0" u="none" strike="noStrike" cap="none" dirty="0" smtClean="0">
                <a:solidFill>
                  <a:schemeClr val="tx2"/>
                </a:solidFill>
                <a:latin typeface="+mj-lt"/>
                <a:ea typeface="Times New Roman" panose="02020603050405020304" pitchFamily="18" charset="0"/>
                <a:cs typeface="Arial"/>
                <a:sym typeface="Arial"/>
              </a:defRPr>
            </a:lvl1pPr>
          </a:lstStyle>
          <a:p>
            <a:pPr lvl="0"/>
            <a:r>
              <a:rPr lang="pt-BR"/>
              <a:t>Clique para editar os estilos</a:t>
            </a:r>
          </a:p>
        </p:txBody>
      </p:sp>
      <p:sp>
        <p:nvSpPr>
          <p:cNvPr id="31" name="Espaço Reservado para Texto 29">
            <a:extLst>
              <a:ext uri="{FF2B5EF4-FFF2-40B4-BE49-F238E27FC236}">
                <a16:creationId xmlns:a16="http://schemas.microsoft.com/office/drawing/2014/main" id="{BDD87BC4-5DA3-8DE4-6EB4-09DF200DC55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432764" y="3911570"/>
            <a:ext cx="3516312" cy="312738"/>
          </a:xfrm>
        </p:spPr>
        <p:txBody>
          <a:bodyPr>
            <a:normAutofit/>
          </a:bodyPr>
          <a:lstStyle>
            <a:lvl1pPr marR="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pt-BR" sz="1400" b="1" i="0" u="none" strike="noStrike" cap="none" dirty="0" smtClean="0">
                <a:solidFill>
                  <a:schemeClr val="tx2"/>
                </a:solidFill>
                <a:latin typeface="+mj-lt"/>
                <a:ea typeface="Times New Roman" panose="02020603050405020304" pitchFamily="18" charset="0"/>
                <a:cs typeface="Arial"/>
                <a:sym typeface="Arial"/>
              </a:defRPr>
            </a:lvl1pPr>
          </a:lstStyle>
          <a:p>
            <a:pPr lvl="0"/>
            <a:r>
              <a:rPr lang="pt-BR"/>
              <a:t>Clique para editar os estilos</a:t>
            </a:r>
          </a:p>
        </p:txBody>
      </p:sp>
      <p:sp>
        <p:nvSpPr>
          <p:cNvPr id="33" name="Espaço Reservado para Texto 32">
            <a:extLst>
              <a:ext uri="{FF2B5EF4-FFF2-40B4-BE49-F238E27FC236}">
                <a16:creationId xmlns:a16="http://schemas.microsoft.com/office/drawing/2014/main" id="{5B90BA16-3647-7EE4-E8E7-A0663719D6B1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823244" y="4284878"/>
            <a:ext cx="3516312" cy="1370013"/>
          </a:xfrm>
        </p:spPr>
        <p:txBody>
          <a:bodyPr>
            <a:normAutofit/>
          </a:bodyPr>
          <a:lstStyle>
            <a:lvl1pPr marR="0" algn="l" rtl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pt-BR" sz="1200" b="0" i="0" u="none" strike="noStrike" cap="none" dirty="0" smtClean="0">
                <a:solidFill>
                  <a:schemeClr val="tx2"/>
                </a:solidFill>
                <a:latin typeface="+mn-lt"/>
                <a:ea typeface="Times New Roman" panose="02020603050405020304" pitchFamily="18" charset="0"/>
                <a:cs typeface="Arial"/>
                <a:sym typeface="Arial"/>
              </a:defRPr>
            </a:lvl1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34" name="Espaço Reservado para Texto 32">
            <a:extLst>
              <a:ext uri="{FF2B5EF4-FFF2-40B4-BE49-F238E27FC236}">
                <a16:creationId xmlns:a16="http://schemas.microsoft.com/office/drawing/2014/main" id="{20BD869A-4B19-32B8-B2D1-E173FCFC9965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432315" y="4284878"/>
            <a:ext cx="3516312" cy="1370013"/>
          </a:xfrm>
        </p:spPr>
        <p:txBody>
          <a:bodyPr>
            <a:normAutofit/>
          </a:bodyPr>
          <a:lstStyle>
            <a:lvl1pPr marR="0" algn="l" rtl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pt-BR" sz="1200" b="0" i="0" u="none" strike="noStrike" cap="none" dirty="0" smtClean="0">
                <a:solidFill>
                  <a:schemeClr val="tx2"/>
                </a:solidFill>
                <a:latin typeface="+mn-lt"/>
                <a:ea typeface="Times New Roman" panose="02020603050405020304" pitchFamily="18" charset="0"/>
                <a:cs typeface="Arial"/>
                <a:sym typeface="Arial"/>
              </a:defRPr>
            </a:lvl1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36" name="Espaço Reservado para Imagem 35">
            <a:extLst>
              <a:ext uri="{FF2B5EF4-FFF2-40B4-BE49-F238E27FC236}">
                <a16:creationId xmlns:a16="http://schemas.microsoft.com/office/drawing/2014/main" id="{BDB52A58-E55C-9C98-C52A-346308CB97DB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5397500" y="3803683"/>
            <a:ext cx="481013" cy="479425"/>
          </a:xfrm>
        </p:spPr>
        <p:txBody>
          <a:bodyPr>
            <a:normAutofit/>
          </a:bodyPr>
          <a:lstStyle>
            <a:lvl1pPr algn="ctr">
              <a:defRPr sz="800"/>
            </a:lvl1pPr>
          </a:lstStyle>
          <a:p>
            <a:r>
              <a:rPr lang="pt-BR"/>
              <a:t>Ícone</a:t>
            </a:r>
          </a:p>
        </p:txBody>
      </p:sp>
      <p:sp>
        <p:nvSpPr>
          <p:cNvPr id="37" name="Espaço Reservado para Imagem 35">
            <a:extLst>
              <a:ext uri="{FF2B5EF4-FFF2-40B4-BE49-F238E27FC236}">
                <a16:creationId xmlns:a16="http://schemas.microsoft.com/office/drawing/2014/main" id="{C1628873-D7CE-181B-53FE-C45F4CA950AA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9957144" y="3803683"/>
            <a:ext cx="481013" cy="479425"/>
          </a:xfrm>
        </p:spPr>
        <p:txBody>
          <a:bodyPr>
            <a:normAutofit/>
          </a:bodyPr>
          <a:lstStyle>
            <a:lvl1pPr algn="ctr">
              <a:defRPr sz="800"/>
            </a:lvl1pPr>
          </a:lstStyle>
          <a:p>
            <a:r>
              <a:rPr lang="pt-BR"/>
              <a:t>Ícone</a:t>
            </a:r>
          </a:p>
        </p:txBody>
      </p:sp>
      <p:sp>
        <p:nvSpPr>
          <p:cNvPr id="26" name="Espaço Reservado para Texto 24">
            <a:extLst>
              <a:ext uri="{FF2B5EF4-FFF2-40B4-BE49-F238E27FC236}">
                <a16:creationId xmlns:a16="http://schemas.microsoft.com/office/drawing/2014/main" id="{78C5B9BC-23BA-9D40-0EFB-FD4839B9D61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23289" y="2698751"/>
            <a:ext cx="1971675" cy="1052513"/>
          </a:xfrm>
        </p:spPr>
        <p:txBody>
          <a:bodyPr lIns="0">
            <a:noAutofit/>
          </a:bodyPr>
          <a:lstStyle>
            <a:lvl1pPr marR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pt-BR" sz="6000" b="1" i="0" u="none" strike="noStrike" cap="none" dirty="0">
                <a:solidFill>
                  <a:srgbClr val="DAD8D8"/>
                </a:solidFill>
                <a:latin typeface="+mj-lt"/>
                <a:ea typeface="Times New Roman" panose="02020603050405020304" pitchFamily="18" charset="0"/>
                <a:cs typeface="Arial"/>
                <a:sym typeface="Arial"/>
              </a:defRPr>
            </a:lvl1pPr>
          </a:lstStyle>
          <a:p>
            <a:pPr lvl="0"/>
            <a:r>
              <a:rPr lang="pt-BR"/>
              <a:t>#</a:t>
            </a:r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5195C0EA-8668-632B-6E8C-C7C8464EF94B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1824038" y="2372411"/>
            <a:ext cx="4157662" cy="727075"/>
          </a:xfrm>
        </p:spPr>
        <p:txBody>
          <a:bodyPr>
            <a:normAutofit/>
          </a:bodyPr>
          <a:lstStyle>
            <a:lvl1pPr marR="0" algn="l" rtl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pt-BR" sz="1200" b="0" i="0" u="none" strike="noStrike" cap="none" dirty="0" smtClean="0">
                <a:solidFill>
                  <a:schemeClr val="tx2"/>
                </a:solidFill>
                <a:latin typeface="+mn-lt"/>
                <a:ea typeface="Times New Roman" panose="02020603050405020304" pitchFamily="18" charset="0"/>
                <a:cs typeface="Arial"/>
                <a:sym typeface="Arial"/>
              </a:defRPr>
            </a:lvl1pPr>
          </a:lstStyle>
          <a:p>
            <a:pPr lvl="0"/>
            <a:r>
              <a:rPr lang="pt-BR"/>
              <a:t>Clique para editar os estilos de texto Mestres</a:t>
            </a:r>
          </a:p>
        </p:txBody>
      </p:sp>
    </p:spTree>
    <p:extLst>
      <p:ext uri="{BB962C8B-B14F-4D97-AF65-F5344CB8AC3E}">
        <p14:creationId xmlns:p14="http://schemas.microsoft.com/office/powerpoint/2010/main" val="2871029824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áfico 1">
            <a:extLst>
              <a:ext uri="{FF2B5EF4-FFF2-40B4-BE49-F238E27FC236}">
                <a16:creationId xmlns:a16="http://schemas.microsoft.com/office/drawing/2014/main" id="{88C2BB54-28D0-7B69-03DE-35D0AF2305C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945802" y="1131464"/>
            <a:ext cx="1918548" cy="1918548"/>
          </a:xfrm>
          <a:prstGeom prst="rect">
            <a:avLst/>
          </a:prstGeom>
        </p:spPr>
      </p:pic>
      <p:sp>
        <p:nvSpPr>
          <p:cNvPr id="3" name="Oval 5">
            <a:extLst>
              <a:ext uri="{FF2B5EF4-FFF2-40B4-BE49-F238E27FC236}">
                <a16:creationId xmlns:a16="http://schemas.microsoft.com/office/drawing/2014/main" id="{43A55EDC-8B05-1E90-D19A-7CF6933CD13C}"/>
              </a:ext>
            </a:extLst>
          </p:cNvPr>
          <p:cNvSpPr/>
          <p:nvPr userDrawn="1"/>
        </p:nvSpPr>
        <p:spPr>
          <a:xfrm>
            <a:off x="1982364" y="1365250"/>
            <a:ext cx="3629025" cy="362902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sz="1351"/>
          </a:p>
        </p:txBody>
      </p:sp>
      <p:sp>
        <p:nvSpPr>
          <p:cNvPr id="4" name="Oval 6">
            <a:extLst>
              <a:ext uri="{FF2B5EF4-FFF2-40B4-BE49-F238E27FC236}">
                <a16:creationId xmlns:a16="http://schemas.microsoft.com/office/drawing/2014/main" id="{32D6C9E4-DEA1-2E9C-FC67-6A4B3C700A88}"/>
              </a:ext>
            </a:extLst>
          </p:cNvPr>
          <p:cNvSpPr/>
          <p:nvPr userDrawn="1"/>
        </p:nvSpPr>
        <p:spPr>
          <a:xfrm>
            <a:off x="245178" y="3817803"/>
            <a:ext cx="2398847" cy="2398847"/>
          </a:xfrm>
          <a:prstGeom prst="ellipse">
            <a:avLst/>
          </a:prstGeom>
          <a:solidFill>
            <a:srgbClr val="F461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sz="1351"/>
          </a:p>
        </p:txBody>
      </p:sp>
      <p:sp>
        <p:nvSpPr>
          <p:cNvPr id="16" name="Retângulo: Cantos Arredondados 15">
            <a:extLst>
              <a:ext uri="{FF2B5EF4-FFF2-40B4-BE49-F238E27FC236}">
                <a16:creationId xmlns:a16="http://schemas.microsoft.com/office/drawing/2014/main" id="{1FD21CF0-8B64-28CD-3AED-D44ED776FC9F}"/>
              </a:ext>
            </a:extLst>
          </p:cNvPr>
          <p:cNvSpPr/>
          <p:nvPr userDrawn="1"/>
        </p:nvSpPr>
        <p:spPr>
          <a:xfrm>
            <a:off x="914400" y="1857271"/>
            <a:ext cx="5067300" cy="3145834"/>
          </a:xfrm>
          <a:prstGeom prst="roundRect">
            <a:avLst>
              <a:gd name="adj" fmla="val 7715"/>
            </a:avLst>
          </a:prstGeom>
          <a:solidFill>
            <a:schemeClr val="bg1"/>
          </a:solidFill>
          <a:ln>
            <a:noFill/>
          </a:ln>
          <a:effectLst>
            <a:outerShdw blurRad="177800" dist="38100" dir="8100000" algn="tr" rotWithShape="0">
              <a:prstClr val="black">
                <a:alpha val="2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351"/>
          </a:p>
        </p:txBody>
      </p:sp>
      <p:sp>
        <p:nvSpPr>
          <p:cNvPr id="9" name="Título 8">
            <a:extLst>
              <a:ext uri="{FF2B5EF4-FFF2-40B4-BE49-F238E27FC236}">
                <a16:creationId xmlns:a16="http://schemas.microsoft.com/office/drawing/2014/main" id="{86585591-BA78-5F86-74B4-C6BBAFFD14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92949" y="2124501"/>
            <a:ext cx="4184649" cy="1281113"/>
          </a:xfrm>
        </p:spPr>
        <p:txBody>
          <a:bodyPr>
            <a:noAutofit/>
          </a:bodyPr>
          <a:lstStyle>
            <a:lvl1pPr marR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pt-BR" sz="3600" b="1" i="0" u="none" strike="noStrike" cap="none" spc="-100" baseline="0" dirty="0">
                <a:solidFill>
                  <a:schemeClr val="accent1"/>
                </a:solidFill>
                <a:latin typeface="+mj-lt"/>
                <a:ea typeface="Arial"/>
                <a:cs typeface="Arial"/>
                <a:sym typeface="Arial"/>
              </a:defRPr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11" name="Espaço Reservado para Texto 10">
            <a:extLst>
              <a:ext uri="{FF2B5EF4-FFF2-40B4-BE49-F238E27FC236}">
                <a16:creationId xmlns:a16="http://schemas.microsoft.com/office/drawing/2014/main" id="{9BFCA3B0-88F8-CAC6-A24A-936EBBE3472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092950" y="3817938"/>
            <a:ext cx="4184650" cy="1176337"/>
          </a:xfrm>
        </p:spPr>
        <p:txBody>
          <a:bodyPr>
            <a:normAutofit/>
          </a:bodyPr>
          <a:lstStyle>
            <a:lvl1pPr marR="0" algn="l" rtl="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pt-BR" sz="1200" b="0" i="0" u="none" strike="noStrike" cap="none" dirty="0" smtClean="0">
                <a:solidFill>
                  <a:schemeClr val="tx2"/>
                </a:solidFill>
                <a:latin typeface="+mn-lt"/>
                <a:ea typeface="Times New Roman" panose="02020603050405020304" pitchFamily="18" charset="0"/>
                <a:cs typeface="Arial"/>
                <a:sym typeface="Arial"/>
              </a:defRPr>
            </a:lvl1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14" name="Espaço Reservado para Texto 13">
            <a:extLst>
              <a:ext uri="{FF2B5EF4-FFF2-40B4-BE49-F238E27FC236}">
                <a16:creationId xmlns:a16="http://schemas.microsoft.com/office/drawing/2014/main" id="{637AC9F0-E48A-ACAF-2021-2D19AFEAF85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092950" y="1729890"/>
            <a:ext cx="4184650" cy="347663"/>
          </a:xfrm>
        </p:spPr>
        <p:txBody>
          <a:bodyPr>
            <a:normAutofit/>
          </a:bodyPr>
          <a:lstStyle>
            <a:lvl1pPr marR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pt-BR" sz="1100" b="0" i="0" u="none" strike="noStrike" cap="all" spc="100" baseline="0" dirty="0">
                <a:solidFill>
                  <a:schemeClr val="bg1">
                    <a:lumMod val="50000"/>
                  </a:schemeClr>
                </a:solidFill>
                <a:latin typeface="+mn-lt"/>
                <a:ea typeface="Times New Roman" panose="02020603050405020304" pitchFamily="18" charset="0"/>
                <a:cs typeface="Arial"/>
                <a:sym typeface="Arial"/>
              </a:defRPr>
            </a:lvl1pPr>
          </a:lstStyle>
          <a:p>
            <a:pPr lvl="0"/>
            <a:r>
              <a:rPr lang="pt-BR"/>
              <a:t>Clique para editar o texto</a:t>
            </a:r>
          </a:p>
        </p:txBody>
      </p:sp>
      <p:sp>
        <p:nvSpPr>
          <p:cNvPr id="8" name="Espaço Reservado para Gráfico 7">
            <a:extLst>
              <a:ext uri="{FF2B5EF4-FFF2-40B4-BE49-F238E27FC236}">
                <a16:creationId xmlns:a16="http://schemas.microsoft.com/office/drawing/2014/main" id="{525D5F98-DDB4-B94B-66E6-7FC4458751DE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1109663" y="2090738"/>
            <a:ext cx="4676775" cy="2674937"/>
          </a:xfrm>
        </p:spPr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991877888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áfico 1">
            <a:extLst>
              <a:ext uri="{FF2B5EF4-FFF2-40B4-BE49-F238E27FC236}">
                <a16:creationId xmlns:a16="http://schemas.microsoft.com/office/drawing/2014/main" id="{88C2BB54-28D0-7B69-03DE-35D0AF2305C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945802" y="1131464"/>
            <a:ext cx="1918548" cy="1918548"/>
          </a:xfrm>
          <a:prstGeom prst="rect">
            <a:avLst/>
          </a:prstGeom>
        </p:spPr>
      </p:pic>
      <p:sp>
        <p:nvSpPr>
          <p:cNvPr id="3" name="Oval 5">
            <a:extLst>
              <a:ext uri="{FF2B5EF4-FFF2-40B4-BE49-F238E27FC236}">
                <a16:creationId xmlns:a16="http://schemas.microsoft.com/office/drawing/2014/main" id="{43A55EDC-8B05-1E90-D19A-7CF6933CD13C}"/>
              </a:ext>
            </a:extLst>
          </p:cNvPr>
          <p:cNvSpPr/>
          <p:nvPr userDrawn="1"/>
        </p:nvSpPr>
        <p:spPr>
          <a:xfrm>
            <a:off x="1982364" y="1365250"/>
            <a:ext cx="3629025" cy="362902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sz="1351"/>
          </a:p>
        </p:txBody>
      </p:sp>
      <p:sp>
        <p:nvSpPr>
          <p:cNvPr id="4" name="Oval 6">
            <a:extLst>
              <a:ext uri="{FF2B5EF4-FFF2-40B4-BE49-F238E27FC236}">
                <a16:creationId xmlns:a16="http://schemas.microsoft.com/office/drawing/2014/main" id="{32D6C9E4-DEA1-2E9C-FC67-6A4B3C700A88}"/>
              </a:ext>
            </a:extLst>
          </p:cNvPr>
          <p:cNvSpPr/>
          <p:nvPr userDrawn="1"/>
        </p:nvSpPr>
        <p:spPr>
          <a:xfrm>
            <a:off x="245178" y="3817803"/>
            <a:ext cx="2398847" cy="2398847"/>
          </a:xfrm>
          <a:prstGeom prst="ellipse">
            <a:avLst/>
          </a:prstGeom>
          <a:solidFill>
            <a:srgbClr val="F461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sz="1351"/>
          </a:p>
        </p:txBody>
      </p:sp>
      <p:sp>
        <p:nvSpPr>
          <p:cNvPr id="12" name="Retângulo: Cantos Arredondados 11">
            <a:extLst>
              <a:ext uri="{FF2B5EF4-FFF2-40B4-BE49-F238E27FC236}">
                <a16:creationId xmlns:a16="http://schemas.microsoft.com/office/drawing/2014/main" id="{41749C37-0E1C-DA14-42C3-889AC06FF72F}"/>
              </a:ext>
            </a:extLst>
          </p:cNvPr>
          <p:cNvSpPr/>
          <p:nvPr userDrawn="1"/>
        </p:nvSpPr>
        <p:spPr>
          <a:xfrm>
            <a:off x="699837" y="2090737"/>
            <a:ext cx="5496426" cy="3400425"/>
          </a:xfrm>
          <a:prstGeom prst="roundRect">
            <a:avLst>
              <a:gd name="adj" fmla="val 7715"/>
            </a:avLst>
          </a:prstGeom>
          <a:solidFill>
            <a:schemeClr val="bg1"/>
          </a:solidFill>
          <a:ln>
            <a:noFill/>
          </a:ln>
          <a:effectLst>
            <a:outerShdw blurRad="177800" dist="38100" dir="8100000" algn="tr" rotWithShape="0">
              <a:prstClr val="black">
                <a:alpha val="2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351"/>
          </a:p>
        </p:txBody>
      </p:sp>
      <p:sp>
        <p:nvSpPr>
          <p:cNvPr id="8" name="Espaço Reservado para Gráfico 7">
            <a:extLst>
              <a:ext uri="{FF2B5EF4-FFF2-40B4-BE49-F238E27FC236}">
                <a16:creationId xmlns:a16="http://schemas.microsoft.com/office/drawing/2014/main" id="{525D5F98-DDB4-B94B-66E6-7FC4458751DE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1109663" y="2438030"/>
            <a:ext cx="4676775" cy="2674937"/>
          </a:xfrm>
        </p:spPr>
        <p:txBody>
          <a:bodyPr/>
          <a:lstStyle/>
          <a:p>
            <a:endParaRPr lang="pt-BR"/>
          </a:p>
        </p:txBody>
      </p:sp>
      <p:sp>
        <p:nvSpPr>
          <p:cNvPr id="13" name="Título 12">
            <a:extLst>
              <a:ext uri="{FF2B5EF4-FFF2-40B4-BE49-F238E27FC236}">
                <a16:creationId xmlns:a16="http://schemas.microsoft.com/office/drawing/2014/main" id="{ADF69FDE-B23B-9656-AB0E-FA565B8CC7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6102" y="655275"/>
            <a:ext cx="7160897" cy="476190"/>
          </a:xfrm>
        </p:spPr>
        <p:txBody>
          <a:bodyPr>
            <a:noAutofit/>
          </a:bodyPr>
          <a:lstStyle>
            <a:lvl1pPr>
              <a:defRPr sz="3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18" name="Espaço Reservado para Texto 9">
            <a:extLst>
              <a:ext uri="{FF2B5EF4-FFF2-40B4-BE49-F238E27FC236}">
                <a16:creationId xmlns:a16="http://schemas.microsoft.com/office/drawing/2014/main" id="{2AC255A1-9E21-0591-850C-D24AC51F842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092951" y="1862138"/>
            <a:ext cx="4184650" cy="4132846"/>
          </a:xfrm>
        </p:spPr>
        <p:txBody>
          <a:bodyPr>
            <a:noAutofit/>
          </a:bodyPr>
          <a:lstStyle>
            <a:lvl1pPr marL="0" indent="0">
              <a:lnSpc>
                <a:spcPct val="110000"/>
              </a:lnSpc>
              <a:spcBef>
                <a:spcPts val="2000"/>
              </a:spcBef>
              <a:spcAft>
                <a:spcPts val="500"/>
              </a:spcAft>
              <a:buFont typeface="Arial" panose="020B0604020202020204" pitchFamily="34" charset="0"/>
              <a:buNone/>
              <a:defRPr sz="1700" b="1" u="none">
                <a:solidFill>
                  <a:schemeClr val="accent2"/>
                </a:solidFill>
              </a:defRPr>
            </a:lvl1pPr>
            <a:lvl2pPr marL="0" indent="0">
              <a:lnSpc>
                <a:spcPct val="130000"/>
              </a:lnSpc>
              <a:spcBef>
                <a:spcPts val="0"/>
              </a:spcBef>
              <a:spcAft>
                <a:spcPts val="500"/>
              </a:spcAft>
              <a:buNone/>
              <a:defRPr sz="1400">
                <a:solidFill>
                  <a:schemeClr val="tx2"/>
                </a:solidFill>
              </a:defRPr>
            </a:lvl2pPr>
            <a:lvl3pPr marL="792000" indent="-288000">
              <a:lnSpc>
                <a:spcPct val="110000"/>
              </a:lnSpc>
              <a:spcBef>
                <a:spcPts val="500"/>
              </a:spcBef>
              <a:spcAft>
                <a:spcPts val="0"/>
              </a:spcAft>
              <a:buFontTx/>
              <a:buBlip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</a:buBlip>
              <a:defRPr sz="1400">
                <a:solidFill>
                  <a:schemeClr val="tx2"/>
                </a:solidFill>
              </a:defRPr>
            </a:lvl3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56737806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ço Reservado para Gráfico 7">
            <a:extLst>
              <a:ext uri="{FF2B5EF4-FFF2-40B4-BE49-F238E27FC236}">
                <a16:creationId xmlns:a16="http://schemas.microsoft.com/office/drawing/2014/main" id="{525D5F98-DDB4-B94B-66E6-7FC4458751DE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1109663" y="2438030"/>
            <a:ext cx="4676775" cy="2674937"/>
          </a:xfrm>
        </p:spPr>
        <p:txBody>
          <a:bodyPr/>
          <a:lstStyle/>
          <a:p>
            <a:endParaRPr lang="pt-BR"/>
          </a:p>
        </p:txBody>
      </p:sp>
      <p:sp>
        <p:nvSpPr>
          <p:cNvPr id="13" name="Título 12">
            <a:extLst>
              <a:ext uri="{FF2B5EF4-FFF2-40B4-BE49-F238E27FC236}">
                <a16:creationId xmlns:a16="http://schemas.microsoft.com/office/drawing/2014/main" id="{ADF69FDE-B23B-9656-AB0E-FA565B8CC7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4400" y="655275"/>
            <a:ext cx="7160897" cy="476190"/>
          </a:xfrm>
        </p:spPr>
        <p:txBody>
          <a:bodyPr>
            <a:noAutofit/>
          </a:bodyPr>
          <a:lstStyle>
            <a:lvl1pPr>
              <a:defRPr sz="3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18" name="Espaço Reservado para Texto 9">
            <a:extLst>
              <a:ext uri="{FF2B5EF4-FFF2-40B4-BE49-F238E27FC236}">
                <a16:creationId xmlns:a16="http://schemas.microsoft.com/office/drawing/2014/main" id="{2AC255A1-9E21-0591-850C-D24AC51F842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092951" y="1862138"/>
            <a:ext cx="4184650" cy="4132846"/>
          </a:xfrm>
        </p:spPr>
        <p:txBody>
          <a:bodyPr>
            <a:noAutofit/>
          </a:bodyPr>
          <a:lstStyle>
            <a:lvl1pPr marL="0" indent="0">
              <a:lnSpc>
                <a:spcPct val="110000"/>
              </a:lnSpc>
              <a:spcBef>
                <a:spcPts val="2000"/>
              </a:spcBef>
              <a:spcAft>
                <a:spcPts val="500"/>
              </a:spcAft>
              <a:buFont typeface="Arial" panose="020B0604020202020204" pitchFamily="34" charset="0"/>
              <a:buNone/>
              <a:defRPr sz="1700" b="1" u="none">
                <a:solidFill>
                  <a:schemeClr val="accent2"/>
                </a:solidFill>
              </a:defRPr>
            </a:lvl1pPr>
            <a:lvl2pPr marL="0" indent="0">
              <a:lnSpc>
                <a:spcPct val="130000"/>
              </a:lnSpc>
              <a:spcBef>
                <a:spcPts val="0"/>
              </a:spcBef>
              <a:spcAft>
                <a:spcPts val="500"/>
              </a:spcAft>
              <a:buNone/>
              <a:defRPr sz="1400">
                <a:solidFill>
                  <a:schemeClr val="tx2"/>
                </a:solidFill>
              </a:defRPr>
            </a:lvl2pPr>
            <a:lvl3pPr marL="792000" indent="-288000">
              <a:lnSpc>
                <a:spcPct val="110000"/>
              </a:lnSpc>
              <a:spcBef>
                <a:spcPts val="500"/>
              </a:spcBef>
              <a:spcAft>
                <a:spcPts val="0"/>
              </a:spcAft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400">
                <a:solidFill>
                  <a:schemeClr val="tx2"/>
                </a:solidFill>
              </a:defRPr>
            </a:lvl3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endParaRPr lang="pt-BR"/>
          </a:p>
        </p:txBody>
      </p:sp>
      <p:pic>
        <p:nvPicPr>
          <p:cNvPr id="5" name="Gráfico 4">
            <a:extLst>
              <a:ext uri="{FF2B5EF4-FFF2-40B4-BE49-F238E27FC236}">
                <a16:creationId xmlns:a16="http://schemas.microsoft.com/office/drawing/2014/main" id="{A55B6DD7-EF35-1A47-0682-FB0263AE46FD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828972" y="-1239748"/>
            <a:ext cx="2726056" cy="2726056"/>
          </a:xfrm>
          <a:prstGeom prst="rect">
            <a:avLst/>
          </a:prstGeom>
        </p:spPr>
      </p:pic>
      <p:pic>
        <p:nvPicPr>
          <p:cNvPr id="6" name="Gráfico 5">
            <a:extLst>
              <a:ext uri="{FF2B5EF4-FFF2-40B4-BE49-F238E27FC236}">
                <a16:creationId xmlns:a16="http://schemas.microsoft.com/office/drawing/2014/main" id="{6BB7C3AF-C957-8BE3-AA41-01756EF205A3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680864" y="6346864"/>
            <a:ext cx="1022272" cy="1022272"/>
          </a:xfrm>
          <a:prstGeom prst="rect">
            <a:avLst/>
          </a:prstGeom>
        </p:spPr>
      </p:pic>
      <p:pic>
        <p:nvPicPr>
          <p:cNvPr id="2" name="Imagem 1" descr="Logotipo&#10;&#10;Descrição gerada automaticamente">
            <a:extLst>
              <a:ext uri="{FF2B5EF4-FFF2-40B4-BE49-F238E27FC236}">
                <a16:creationId xmlns:a16="http://schemas.microsoft.com/office/drawing/2014/main" id="{998CDD9A-C3B1-769F-4D99-0F7960F23A4C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9877675" y="278512"/>
            <a:ext cx="864013" cy="507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0605925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ço Reservado para Gráfico 7">
            <a:extLst>
              <a:ext uri="{FF2B5EF4-FFF2-40B4-BE49-F238E27FC236}">
                <a16:creationId xmlns:a16="http://schemas.microsoft.com/office/drawing/2014/main" id="{525D5F98-DDB4-B94B-66E6-7FC4458751DE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1109663" y="2438030"/>
            <a:ext cx="4676775" cy="2674937"/>
          </a:xfrm>
        </p:spPr>
        <p:txBody>
          <a:bodyPr/>
          <a:lstStyle/>
          <a:p>
            <a:endParaRPr lang="pt-BR"/>
          </a:p>
        </p:txBody>
      </p:sp>
      <p:sp>
        <p:nvSpPr>
          <p:cNvPr id="13" name="Título 12">
            <a:extLst>
              <a:ext uri="{FF2B5EF4-FFF2-40B4-BE49-F238E27FC236}">
                <a16:creationId xmlns:a16="http://schemas.microsoft.com/office/drawing/2014/main" id="{ADF69FDE-B23B-9656-AB0E-FA565B8CC7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4400" y="655275"/>
            <a:ext cx="7160897" cy="476190"/>
          </a:xfrm>
        </p:spPr>
        <p:txBody>
          <a:bodyPr>
            <a:noAutofit/>
          </a:bodyPr>
          <a:lstStyle>
            <a:lvl1pPr>
              <a:defRPr sz="3000"/>
            </a:lvl1pPr>
          </a:lstStyle>
          <a:p>
            <a:r>
              <a:rPr lang="pt-BR"/>
              <a:t>Clique para editar o título Mestre</a:t>
            </a:r>
          </a:p>
        </p:txBody>
      </p:sp>
      <p:pic>
        <p:nvPicPr>
          <p:cNvPr id="5" name="Gráfico 4">
            <a:extLst>
              <a:ext uri="{FF2B5EF4-FFF2-40B4-BE49-F238E27FC236}">
                <a16:creationId xmlns:a16="http://schemas.microsoft.com/office/drawing/2014/main" id="{A55B6DD7-EF35-1A47-0682-FB0263AE46F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28972" y="-1239748"/>
            <a:ext cx="2726056" cy="2726056"/>
          </a:xfrm>
          <a:prstGeom prst="rect">
            <a:avLst/>
          </a:prstGeom>
        </p:spPr>
      </p:pic>
      <p:pic>
        <p:nvPicPr>
          <p:cNvPr id="6" name="Gráfico 5">
            <a:extLst>
              <a:ext uri="{FF2B5EF4-FFF2-40B4-BE49-F238E27FC236}">
                <a16:creationId xmlns:a16="http://schemas.microsoft.com/office/drawing/2014/main" id="{6BB7C3AF-C957-8BE3-AA41-01756EF205A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680864" y="6346864"/>
            <a:ext cx="1022272" cy="1022272"/>
          </a:xfrm>
          <a:prstGeom prst="rect">
            <a:avLst/>
          </a:prstGeom>
        </p:spPr>
      </p:pic>
      <p:sp>
        <p:nvSpPr>
          <p:cNvPr id="2" name="Espaço Reservado para Gráfico 7">
            <a:extLst>
              <a:ext uri="{FF2B5EF4-FFF2-40B4-BE49-F238E27FC236}">
                <a16:creationId xmlns:a16="http://schemas.microsoft.com/office/drawing/2014/main" id="{794511CE-6AEF-6FC7-2BBF-27E054E2A872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7096321" y="1365660"/>
            <a:ext cx="3298629" cy="1941860"/>
          </a:xfrm>
        </p:spPr>
        <p:txBody>
          <a:bodyPr/>
          <a:lstStyle/>
          <a:p>
            <a:endParaRPr lang="pt-BR"/>
          </a:p>
        </p:txBody>
      </p:sp>
      <p:sp>
        <p:nvSpPr>
          <p:cNvPr id="3" name="Espaço Reservado para Gráfico 7">
            <a:extLst>
              <a:ext uri="{FF2B5EF4-FFF2-40B4-BE49-F238E27FC236}">
                <a16:creationId xmlns:a16="http://schemas.microsoft.com/office/drawing/2014/main" id="{ABB453D1-8782-5B15-4AA3-58BC9064C3CB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096321" y="4274791"/>
            <a:ext cx="3298629" cy="1941860"/>
          </a:xfrm>
        </p:spPr>
        <p:txBody>
          <a:bodyPr/>
          <a:lstStyle/>
          <a:p>
            <a:endParaRPr lang="pt-BR"/>
          </a:p>
        </p:txBody>
      </p:sp>
      <p:pic>
        <p:nvPicPr>
          <p:cNvPr id="4" name="Imagem 3" descr="Logotipo&#10;&#10;Descrição gerada automaticamente">
            <a:extLst>
              <a:ext uri="{FF2B5EF4-FFF2-40B4-BE49-F238E27FC236}">
                <a16:creationId xmlns:a16="http://schemas.microsoft.com/office/drawing/2014/main" id="{661E7BC8-B2B9-4F0A-8111-4B95CFCCF33E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9877675" y="278512"/>
            <a:ext cx="864013" cy="507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7111790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Espaço Reservado para Imagem 19">
            <a:extLst>
              <a:ext uri="{FF2B5EF4-FFF2-40B4-BE49-F238E27FC236}">
                <a16:creationId xmlns:a16="http://schemas.microsoft.com/office/drawing/2014/main" id="{F9F2879B-1708-B68F-540E-494C085AD71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28390" y="1527646"/>
            <a:ext cx="4170660" cy="4170660"/>
          </a:xfrm>
          <a:prstGeom prst="ellipse">
            <a:avLst/>
          </a:prstGeom>
        </p:spPr>
        <p:txBody>
          <a:bodyPr/>
          <a:lstStyle>
            <a:lvl1pPr algn="ctr">
              <a:defRPr/>
            </a:lvl1pPr>
          </a:lstStyle>
          <a:p>
            <a:endParaRPr lang="pt-BR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59647610-F492-48EE-CCB8-AD39FEEDC7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10300" y="2816225"/>
            <a:ext cx="5067300" cy="1281113"/>
          </a:xfrm>
        </p:spPr>
        <p:txBody>
          <a:bodyPr>
            <a:noAutofit/>
          </a:bodyPr>
          <a:lstStyle>
            <a:lvl1pPr>
              <a:lnSpc>
                <a:spcPct val="85000"/>
              </a:lnSpc>
              <a:defRPr lang="pt-BR" sz="4800" b="1" i="0" u="none" strike="noStrike" cap="none" dirty="0">
                <a:solidFill>
                  <a:schemeClr val="accent1"/>
                </a:solidFill>
                <a:latin typeface="+mj-lt"/>
                <a:ea typeface="Arial"/>
                <a:cs typeface="Poppins" panose="00000500000000000000" pitchFamily="2" charset="0"/>
                <a:sym typeface="Arial"/>
              </a:defRPr>
            </a:lvl1pPr>
          </a:lstStyle>
          <a:p>
            <a:r>
              <a:rPr lang="pt-BR"/>
              <a:t>Clique para editar o título</a:t>
            </a:r>
          </a:p>
        </p:txBody>
      </p:sp>
      <p:sp>
        <p:nvSpPr>
          <p:cNvPr id="3" name="Espaço Reservado para Data 2">
            <a:extLst>
              <a:ext uri="{FF2B5EF4-FFF2-40B4-BE49-F238E27FC236}">
                <a16:creationId xmlns:a16="http://schemas.microsoft.com/office/drawing/2014/main" id="{5AD957BC-C55B-0228-16B7-203A5986158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14400" y="6356350"/>
            <a:ext cx="2667000" cy="365125"/>
          </a:xfrm>
          <a:prstGeom prst="rect">
            <a:avLst/>
          </a:prstGeom>
        </p:spPr>
        <p:txBody>
          <a:bodyPr/>
          <a:lstStyle/>
          <a:p>
            <a:fld id="{3E6DD1D3-15F5-4616-A348-AC448C8A14AB}" type="datetimeFigureOut">
              <a:rPr lang="pt-BR" smtClean="0"/>
              <a:t>16/01/2026</a:t>
            </a:fld>
            <a:endParaRPr lang="pt-BR"/>
          </a:p>
        </p:txBody>
      </p:sp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54899489-77E4-8AF7-E1D1-B8CA56026A6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pt-BR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99760599-4CA6-3D27-2B73-A6CBCEE6EE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667000" cy="365125"/>
          </a:xfrm>
          <a:prstGeom prst="rect">
            <a:avLst/>
          </a:prstGeom>
        </p:spPr>
        <p:txBody>
          <a:bodyPr/>
          <a:lstStyle/>
          <a:p>
            <a:fld id="{F43D91A0-3E8E-4090-8D40-C0F9E742A5CB}" type="slidenum">
              <a:rPr lang="pt-BR" smtClean="0"/>
              <a:t>‹nº›</a:t>
            </a:fld>
            <a:endParaRPr lang="pt-BR"/>
          </a:p>
        </p:txBody>
      </p:sp>
      <p:sp>
        <p:nvSpPr>
          <p:cNvPr id="7" name="Círculo (Outline Foto)">
            <a:extLst>
              <a:ext uri="{FF2B5EF4-FFF2-40B4-BE49-F238E27FC236}">
                <a16:creationId xmlns:a16="http://schemas.microsoft.com/office/drawing/2014/main" id="{DEE7ED6F-280B-4BC1-CF9E-415E582F157A}"/>
              </a:ext>
            </a:extLst>
          </p:cNvPr>
          <p:cNvSpPr/>
          <p:nvPr userDrawn="1"/>
        </p:nvSpPr>
        <p:spPr>
          <a:xfrm>
            <a:off x="805218" y="1404474"/>
            <a:ext cx="4417004" cy="4417004"/>
          </a:xfrm>
          <a:prstGeom prst="ellipse">
            <a:avLst/>
          </a:prstGeom>
          <a:noFill/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933"/>
          </a:p>
        </p:txBody>
      </p:sp>
      <p:pic>
        <p:nvPicPr>
          <p:cNvPr id="10" name="Grafismo - Círculos">
            <a:extLst>
              <a:ext uri="{FF2B5EF4-FFF2-40B4-BE49-F238E27FC236}">
                <a16:creationId xmlns:a16="http://schemas.microsoft.com/office/drawing/2014/main" id="{B7C94C14-8C01-C13E-14B6-1ECF9CC7064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35889" y="274462"/>
            <a:ext cx="1837252" cy="2158772"/>
          </a:xfrm>
          <a:prstGeom prst="rect">
            <a:avLst/>
          </a:prstGeom>
        </p:spPr>
      </p:pic>
      <p:grpSp>
        <p:nvGrpSpPr>
          <p:cNvPr id="12" name="Grafismo - Topografia">
            <a:extLst>
              <a:ext uri="{FF2B5EF4-FFF2-40B4-BE49-F238E27FC236}">
                <a16:creationId xmlns:a16="http://schemas.microsoft.com/office/drawing/2014/main" id="{7CCC5CB8-61CD-43A9-DF2F-4F45D1B21138}"/>
              </a:ext>
            </a:extLst>
          </p:cNvPr>
          <p:cNvGrpSpPr/>
          <p:nvPr userDrawn="1"/>
        </p:nvGrpSpPr>
        <p:grpSpPr>
          <a:xfrm rot="10800000">
            <a:off x="161924" y="6509730"/>
            <a:ext cx="12030075" cy="475316"/>
            <a:chOff x="0" y="6347706"/>
            <a:chExt cx="11687627" cy="461786"/>
          </a:xfrm>
        </p:grpSpPr>
        <p:pic>
          <p:nvPicPr>
            <p:cNvPr id="13" name="Google Shape;108;p2">
              <a:extLst>
                <a:ext uri="{FF2B5EF4-FFF2-40B4-BE49-F238E27FC236}">
                  <a16:creationId xmlns:a16="http://schemas.microsoft.com/office/drawing/2014/main" id="{60B6082C-721D-B164-36FA-60EC2677FB63}"/>
                </a:ext>
              </a:extLst>
            </p:cNvPr>
            <p:cNvPicPr preferRelativeResize="0"/>
            <p:nvPr/>
          </p:nvPicPr>
          <p:blipFill rotWithShape="1">
            <a:blip r:embed="rId4">
              <a:alphaModFix/>
            </a:blip>
            <a:srcRect b="61474"/>
            <a:stretch/>
          </p:blipFill>
          <p:spPr>
            <a:xfrm>
              <a:off x="0" y="6347706"/>
              <a:ext cx="5849257" cy="461786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4" name="Google Shape;109;p2">
              <a:extLst>
                <a:ext uri="{FF2B5EF4-FFF2-40B4-BE49-F238E27FC236}">
                  <a16:creationId xmlns:a16="http://schemas.microsoft.com/office/drawing/2014/main" id="{780DA761-98CD-4A24-6B8B-363BFEA33EEB}"/>
                </a:ext>
              </a:extLst>
            </p:cNvPr>
            <p:cNvPicPr preferRelativeResize="0"/>
            <p:nvPr/>
          </p:nvPicPr>
          <p:blipFill rotWithShape="1">
            <a:blip r:embed="rId4">
              <a:alphaModFix/>
            </a:blip>
            <a:srcRect b="61474"/>
            <a:stretch/>
          </p:blipFill>
          <p:spPr>
            <a:xfrm>
              <a:off x="5838371" y="6347706"/>
              <a:ext cx="5849257" cy="461786"/>
            </a:xfrm>
            <a:prstGeom prst="rect">
              <a:avLst/>
            </a:prstGeom>
            <a:noFill/>
            <a:ln>
              <a:noFill/>
            </a:ln>
          </p:spPr>
        </p:pic>
      </p:grpSp>
      <p:pic>
        <p:nvPicPr>
          <p:cNvPr id="16" name="Logo">
            <a:extLst>
              <a:ext uri="{FF2B5EF4-FFF2-40B4-BE49-F238E27FC236}">
                <a16:creationId xmlns:a16="http://schemas.microsoft.com/office/drawing/2014/main" id="{1A7D77B8-D82B-EE46-59A3-B08122B3BBE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334286" y="1200983"/>
            <a:ext cx="1412714" cy="829797"/>
          </a:xfrm>
          <a:prstGeom prst="rect">
            <a:avLst/>
          </a:prstGeom>
        </p:spPr>
      </p:pic>
      <p:sp>
        <p:nvSpPr>
          <p:cNvPr id="18" name="Espaço Reservado para Texto 17">
            <a:extLst>
              <a:ext uri="{FF2B5EF4-FFF2-40B4-BE49-F238E27FC236}">
                <a16:creationId xmlns:a16="http://schemas.microsoft.com/office/drawing/2014/main" id="{A590A436-C4FC-90AF-4136-6CB7CD1825F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10300" y="4268788"/>
            <a:ext cx="5067300" cy="365125"/>
          </a:xfrm>
        </p:spPr>
        <p:txBody>
          <a:bodyPr>
            <a:normAutofit/>
          </a:bodyPr>
          <a:lstStyle>
            <a:lvl1pPr>
              <a:defRPr lang="pt-BR" sz="1100" b="0" i="0" u="none" strike="noStrike" kern="1200" cap="all" spc="1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Arial"/>
              </a:defRPr>
            </a:lvl1pPr>
          </a:lstStyle>
          <a:p>
            <a:pPr lvl="0"/>
            <a:r>
              <a:rPr lang="pt-BR"/>
              <a:t>Clique para editar o texto</a:t>
            </a:r>
          </a:p>
        </p:txBody>
      </p:sp>
      <p:sp>
        <p:nvSpPr>
          <p:cNvPr id="25" name="Espaço Reservado para Imagem 24">
            <a:extLst>
              <a:ext uri="{FF2B5EF4-FFF2-40B4-BE49-F238E27FC236}">
                <a16:creationId xmlns:a16="http://schemas.microsoft.com/office/drawing/2014/main" id="{00B443F9-E135-FF3E-E804-8FB8BE3E8195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14400" y="1862138"/>
            <a:ext cx="2419350" cy="2178050"/>
          </a:xfrm>
        </p:spPr>
        <p:txBody>
          <a:bodyPr/>
          <a:lstStyle>
            <a:lvl1pPr algn="ctr">
              <a:defRPr b="0">
                <a:solidFill>
                  <a:schemeClr val="accent2"/>
                </a:solidFill>
              </a:defRPr>
            </a:lvl1pPr>
          </a:lstStyle>
          <a:p>
            <a:r>
              <a:rPr lang="pt-BR"/>
              <a:t>Grafismo </a:t>
            </a:r>
            <a:br>
              <a:rPr lang="pt-BR"/>
            </a:br>
            <a:r>
              <a:rPr lang="pt-BR"/>
              <a:t>(opcional)</a:t>
            </a:r>
          </a:p>
        </p:txBody>
      </p:sp>
      <p:pic>
        <p:nvPicPr>
          <p:cNvPr id="26" name="Gráfico 25">
            <a:extLst>
              <a:ext uri="{FF2B5EF4-FFF2-40B4-BE49-F238E27FC236}">
                <a16:creationId xmlns:a16="http://schemas.microsoft.com/office/drawing/2014/main" id="{F1A091A3-AFD6-49CA-1829-37DA249DD2C8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-585919" y="-483062"/>
            <a:ext cx="1577057" cy="1853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997977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áfico 1">
            <a:extLst>
              <a:ext uri="{FF2B5EF4-FFF2-40B4-BE49-F238E27FC236}">
                <a16:creationId xmlns:a16="http://schemas.microsoft.com/office/drawing/2014/main" id="{88C2BB54-28D0-7B69-03DE-35D0AF2305C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945802" y="1758649"/>
            <a:ext cx="1918548" cy="1918548"/>
          </a:xfrm>
          <a:prstGeom prst="rect">
            <a:avLst/>
          </a:prstGeom>
        </p:spPr>
      </p:pic>
      <p:sp>
        <p:nvSpPr>
          <p:cNvPr id="3" name="Oval 5">
            <a:extLst>
              <a:ext uri="{FF2B5EF4-FFF2-40B4-BE49-F238E27FC236}">
                <a16:creationId xmlns:a16="http://schemas.microsoft.com/office/drawing/2014/main" id="{43A55EDC-8B05-1E90-D19A-7CF6933CD13C}"/>
              </a:ext>
            </a:extLst>
          </p:cNvPr>
          <p:cNvSpPr/>
          <p:nvPr userDrawn="1"/>
        </p:nvSpPr>
        <p:spPr>
          <a:xfrm>
            <a:off x="1982364" y="2691731"/>
            <a:ext cx="3629025" cy="362902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sz="1351"/>
          </a:p>
        </p:txBody>
      </p:sp>
      <p:sp>
        <p:nvSpPr>
          <p:cNvPr id="4" name="Oval 6">
            <a:extLst>
              <a:ext uri="{FF2B5EF4-FFF2-40B4-BE49-F238E27FC236}">
                <a16:creationId xmlns:a16="http://schemas.microsoft.com/office/drawing/2014/main" id="{32D6C9E4-DEA1-2E9C-FC67-6A4B3C700A88}"/>
              </a:ext>
            </a:extLst>
          </p:cNvPr>
          <p:cNvSpPr/>
          <p:nvPr userDrawn="1"/>
        </p:nvSpPr>
        <p:spPr>
          <a:xfrm>
            <a:off x="245178" y="2094225"/>
            <a:ext cx="2398847" cy="2398847"/>
          </a:xfrm>
          <a:prstGeom prst="ellipse">
            <a:avLst/>
          </a:prstGeom>
          <a:solidFill>
            <a:srgbClr val="F3ABA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ID"/>
          </a:p>
        </p:txBody>
      </p:sp>
      <p:sp>
        <p:nvSpPr>
          <p:cNvPr id="5" name="Retângulo: Cantos Arredondados 4">
            <a:extLst>
              <a:ext uri="{FF2B5EF4-FFF2-40B4-BE49-F238E27FC236}">
                <a16:creationId xmlns:a16="http://schemas.microsoft.com/office/drawing/2014/main" id="{C5BCF3B3-3544-DAA9-5634-21C61FEECDBC}"/>
              </a:ext>
            </a:extLst>
          </p:cNvPr>
          <p:cNvSpPr/>
          <p:nvPr userDrawn="1"/>
        </p:nvSpPr>
        <p:spPr>
          <a:xfrm>
            <a:off x="931579" y="2094225"/>
            <a:ext cx="5055268" cy="3629025"/>
          </a:xfrm>
          <a:prstGeom prst="roundRect">
            <a:avLst>
              <a:gd name="adj" fmla="val 7715"/>
            </a:avLst>
          </a:prstGeom>
          <a:solidFill>
            <a:schemeClr val="bg1"/>
          </a:solidFill>
          <a:ln>
            <a:noFill/>
          </a:ln>
          <a:effectLst>
            <a:outerShdw blurRad="177800" dist="38100" dir="8100000" algn="tr" rotWithShape="0">
              <a:prstClr val="black">
                <a:alpha val="2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351"/>
          </a:p>
        </p:txBody>
      </p:sp>
      <p:sp>
        <p:nvSpPr>
          <p:cNvPr id="7" name="Retângulo: Cantos Arredondados 6">
            <a:extLst>
              <a:ext uri="{FF2B5EF4-FFF2-40B4-BE49-F238E27FC236}">
                <a16:creationId xmlns:a16="http://schemas.microsoft.com/office/drawing/2014/main" id="{B5DF07B2-02A4-CB71-CA7E-52A98612C97F}"/>
              </a:ext>
            </a:extLst>
          </p:cNvPr>
          <p:cNvSpPr/>
          <p:nvPr userDrawn="1"/>
        </p:nvSpPr>
        <p:spPr>
          <a:xfrm>
            <a:off x="6223200" y="2094224"/>
            <a:ext cx="5054400" cy="3622265"/>
          </a:xfrm>
          <a:prstGeom prst="roundRect">
            <a:avLst>
              <a:gd name="adj" fmla="val 7715"/>
            </a:avLst>
          </a:prstGeom>
          <a:solidFill>
            <a:schemeClr val="bg1"/>
          </a:solidFill>
          <a:ln>
            <a:noFill/>
          </a:ln>
          <a:effectLst>
            <a:outerShdw blurRad="177800" dist="38100" dir="8100000" algn="tr" rotWithShape="0">
              <a:prstClr val="black">
                <a:alpha val="2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351"/>
          </a:p>
        </p:txBody>
      </p:sp>
      <p:sp>
        <p:nvSpPr>
          <p:cNvPr id="13" name="Título 8">
            <a:extLst>
              <a:ext uri="{FF2B5EF4-FFF2-40B4-BE49-F238E27FC236}">
                <a16:creationId xmlns:a16="http://schemas.microsoft.com/office/drawing/2014/main" id="{7CD44CD7-56CD-8EB0-6CDD-B78477F926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94509" y="641350"/>
            <a:ext cx="5969841" cy="921743"/>
          </a:xfrm>
        </p:spPr>
        <p:txBody>
          <a:bodyPr>
            <a:noAutofit/>
          </a:bodyPr>
          <a:lstStyle>
            <a:lvl1pPr marR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pt-BR" sz="3000" b="1" i="0" u="none" strike="noStrike" cap="none" spc="-100" dirty="0">
                <a:solidFill>
                  <a:schemeClr val="accent1"/>
                </a:solidFill>
                <a:latin typeface="+mj-lt"/>
                <a:ea typeface="Arial"/>
                <a:cs typeface="Arial"/>
                <a:sym typeface="Arial"/>
              </a:defRPr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17" name="Espaço Reservado para Conteúdo 16">
            <a:extLst>
              <a:ext uri="{FF2B5EF4-FFF2-40B4-BE49-F238E27FC236}">
                <a16:creationId xmlns:a16="http://schemas.microsoft.com/office/drawing/2014/main" id="{70EC372B-880B-D5C5-1EC1-C8E4283A3C5C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1210139" y="2344334"/>
            <a:ext cx="4498147" cy="3146829"/>
          </a:xfrm>
        </p:spPr>
        <p:txBody>
          <a:bodyPr/>
          <a:lstStyle>
            <a:lvl1pPr algn="ctr">
              <a:spcAft>
                <a:spcPts val="1200"/>
              </a:spcAft>
              <a:defRPr sz="1500"/>
            </a:lvl1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18" name="Espaço Reservado para Conteúdo 16">
            <a:extLst>
              <a:ext uri="{FF2B5EF4-FFF2-40B4-BE49-F238E27FC236}">
                <a16:creationId xmlns:a16="http://schemas.microsoft.com/office/drawing/2014/main" id="{DD68C171-7AB8-FCB5-8C97-0B242937AFC1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501326" y="2344334"/>
            <a:ext cx="4498147" cy="3146829"/>
          </a:xfrm>
        </p:spPr>
        <p:txBody>
          <a:bodyPr/>
          <a:lstStyle>
            <a:lvl1pPr algn="ctr">
              <a:spcAft>
                <a:spcPts val="1200"/>
              </a:spcAft>
              <a:defRPr sz="1500"/>
            </a:lvl1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pic>
        <p:nvPicPr>
          <p:cNvPr id="6" name="Imagem 5" descr="Logotipo&#10;&#10;Descrição gerada automaticamente">
            <a:extLst>
              <a:ext uri="{FF2B5EF4-FFF2-40B4-BE49-F238E27FC236}">
                <a16:creationId xmlns:a16="http://schemas.microsoft.com/office/drawing/2014/main" id="{7670CCF1-D2B3-0565-9DD6-EE3AB55A5CD3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877675" y="278512"/>
            <a:ext cx="864013" cy="507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6156066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lipse 10">
            <a:extLst>
              <a:ext uri="{FF2B5EF4-FFF2-40B4-BE49-F238E27FC236}">
                <a16:creationId xmlns:a16="http://schemas.microsoft.com/office/drawing/2014/main" id="{33D9D3EE-07B8-DDE0-D24C-617A25DF28E4}"/>
              </a:ext>
            </a:extLst>
          </p:cNvPr>
          <p:cNvSpPr>
            <a:spLocks noGrp="1" noRot="1" noChangeAspect="1" noMove="1" noResize="1" noEditPoints="1" noAdjustHandles="1" noChangeArrowheads="1" noChangeShapeType="1"/>
          </p:cNvSpPr>
          <p:nvPr userDrawn="1"/>
        </p:nvSpPr>
        <p:spPr>
          <a:xfrm>
            <a:off x="6178550" y="-394648"/>
            <a:ext cx="6228000" cy="62280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0" name="Espaço Reservado para Imagem 9">
            <a:extLst>
              <a:ext uri="{FF2B5EF4-FFF2-40B4-BE49-F238E27FC236}">
                <a16:creationId xmlns:a16="http://schemas.microsoft.com/office/drawing/2014/main" id="{FBBB0E18-BC75-0FC9-7E6F-94F735FD7A0A}"/>
              </a:ext>
            </a:extLst>
          </p:cNvPr>
          <p:cNvSpPr>
            <a:spLocks noGrp="1" noChangeAspect="1"/>
          </p:cNvSpPr>
          <p:nvPr>
            <p:ph type="pic" sz="quarter" idx="27"/>
          </p:nvPr>
        </p:nvSpPr>
        <p:spPr>
          <a:xfrm>
            <a:off x="6178335" y="-394649"/>
            <a:ext cx="6228231" cy="5890966"/>
          </a:xfrm>
          <a:custGeom>
            <a:avLst/>
            <a:gdLst>
              <a:gd name="connsiteX0" fmla="*/ 0 w 6228000"/>
              <a:gd name="connsiteY0" fmla="*/ 3114000 h 6228000"/>
              <a:gd name="connsiteX1" fmla="*/ 3114000 w 6228000"/>
              <a:gd name="connsiteY1" fmla="*/ 0 h 6228000"/>
              <a:gd name="connsiteX2" fmla="*/ 6228000 w 6228000"/>
              <a:gd name="connsiteY2" fmla="*/ 3114000 h 6228000"/>
              <a:gd name="connsiteX3" fmla="*/ 3114000 w 6228000"/>
              <a:gd name="connsiteY3" fmla="*/ 6228000 h 6228000"/>
              <a:gd name="connsiteX4" fmla="*/ 0 w 6228000"/>
              <a:gd name="connsiteY4" fmla="*/ 3114000 h 6228000"/>
              <a:gd name="connsiteX0" fmla="*/ 335458 w 6563458"/>
              <a:gd name="connsiteY0" fmla="*/ 3114000 h 6235728"/>
              <a:gd name="connsiteX1" fmla="*/ 3449458 w 6563458"/>
              <a:gd name="connsiteY1" fmla="*/ 0 h 6235728"/>
              <a:gd name="connsiteX2" fmla="*/ 6563458 w 6563458"/>
              <a:gd name="connsiteY2" fmla="*/ 3114000 h 6235728"/>
              <a:gd name="connsiteX3" fmla="*/ 3449458 w 6563458"/>
              <a:gd name="connsiteY3" fmla="*/ 6228000 h 6235728"/>
              <a:gd name="connsiteX4" fmla="*/ 436684 w 6563458"/>
              <a:gd name="connsiteY4" fmla="*/ 3971566 h 6235728"/>
              <a:gd name="connsiteX5" fmla="*/ 335458 w 6563458"/>
              <a:gd name="connsiteY5" fmla="*/ 3114000 h 6235728"/>
              <a:gd name="connsiteX0" fmla="*/ 198652 w 6426652"/>
              <a:gd name="connsiteY0" fmla="*/ 3114000 h 6235728"/>
              <a:gd name="connsiteX1" fmla="*/ 3312652 w 6426652"/>
              <a:gd name="connsiteY1" fmla="*/ 0 h 6235728"/>
              <a:gd name="connsiteX2" fmla="*/ 6426652 w 6426652"/>
              <a:gd name="connsiteY2" fmla="*/ 3114000 h 6235728"/>
              <a:gd name="connsiteX3" fmla="*/ 3312652 w 6426652"/>
              <a:gd name="connsiteY3" fmla="*/ 6228000 h 6235728"/>
              <a:gd name="connsiteX4" fmla="*/ 299878 w 6426652"/>
              <a:gd name="connsiteY4" fmla="*/ 3971566 h 6235728"/>
              <a:gd name="connsiteX5" fmla="*/ 198652 w 6426652"/>
              <a:gd name="connsiteY5" fmla="*/ 3114000 h 6235728"/>
              <a:gd name="connsiteX0" fmla="*/ 0 w 6228000"/>
              <a:gd name="connsiteY0" fmla="*/ 3114000 h 6235728"/>
              <a:gd name="connsiteX1" fmla="*/ 3114000 w 6228000"/>
              <a:gd name="connsiteY1" fmla="*/ 0 h 6235728"/>
              <a:gd name="connsiteX2" fmla="*/ 6228000 w 6228000"/>
              <a:gd name="connsiteY2" fmla="*/ 3114000 h 6235728"/>
              <a:gd name="connsiteX3" fmla="*/ 3114000 w 6228000"/>
              <a:gd name="connsiteY3" fmla="*/ 6228000 h 6235728"/>
              <a:gd name="connsiteX4" fmla="*/ 101226 w 6228000"/>
              <a:gd name="connsiteY4" fmla="*/ 3971566 h 6235728"/>
              <a:gd name="connsiteX5" fmla="*/ 0 w 6228000"/>
              <a:gd name="connsiteY5" fmla="*/ 3114000 h 6235728"/>
              <a:gd name="connsiteX0" fmla="*/ 3161 w 6231161"/>
              <a:gd name="connsiteY0" fmla="*/ 3114000 h 6235728"/>
              <a:gd name="connsiteX1" fmla="*/ 3117161 w 6231161"/>
              <a:gd name="connsiteY1" fmla="*/ 0 h 6235728"/>
              <a:gd name="connsiteX2" fmla="*/ 6231161 w 6231161"/>
              <a:gd name="connsiteY2" fmla="*/ 3114000 h 6235728"/>
              <a:gd name="connsiteX3" fmla="*/ 3117161 w 6231161"/>
              <a:gd name="connsiteY3" fmla="*/ 6228000 h 6235728"/>
              <a:gd name="connsiteX4" fmla="*/ 104387 w 6231161"/>
              <a:gd name="connsiteY4" fmla="*/ 3971566 h 6235728"/>
              <a:gd name="connsiteX5" fmla="*/ 3161 w 6231161"/>
              <a:gd name="connsiteY5" fmla="*/ 3114000 h 6235728"/>
              <a:gd name="connsiteX0" fmla="*/ 3161 w 6231161"/>
              <a:gd name="connsiteY0" fmla="*/ 3114000 h 6234127"/>
              <a:gd name="connsiteX1" fmla="*/ 3117161 w 6231161"/>
              <a:gd name="connsiteY1" fmla="*/ 0 h 6234127"/>
              <a:gd name="connsiteX2" fmla="*/ 6231161 w 6231161"/>
              <a:gd name="connsiteY2" fmla="*/ 3114000 h 6234127"/>
              <a:gd name="connsiteX3" fmla="*/ 3117161 w 6231161"/>
              <a:gd name="connsiteY3" fmla="*/ 6228000 h 6234127"/>
              <a:gd name="connsiteX4" fmla="*/ 104387 w 6231161"/>
              <a:gd name="connsiteY4" fmla="*/ 3971566 h 6234127"/>
              <a:gd name="connsiteX5" fmla="*/ 3161 w 6231161"/>
              <a:gd name="connsiteY5" fmla="*/ 3114000 h 6234127"/>
              <a:gd name="connsiteX0" fmla="*/ 232739 w 6460739"/>
              <a:gd name="connsiteY0" fmla="*/ 3114000 h 4134120"/>
              <a:gd name="connsiteX1" fmla="*/ 3346739 w 6460739"/>
              <a:gd name="connsiteY1" fmla="*/ 0 h 4134120"/>
              <a:gd name="connsiteX2" fmla="*/ 6460739 w 6460739"/>
              <a:gd name="connsiteY2" fmla="*/ 3114000 h 4134120"/>
              <a:gd name="connsiteX3" fmla="*/ 4624210 w 6460739"/>
              <a:gd name="connsiteY3" fmla="*/ 3968895 h 4134120"/>
              <a:gd name="connsiteX4" fmla="*/ 333965 w 6460739"/>
              <a:gd name="connsiteY4" fmla="*/ 3971566 h 4134120"/>
              <a:gd name="connsiteX5" fmla="*/ 232739 w 6460739"/>
              <a:gd name="connsiteY5" fmla="*/ 3114000 h 4134120"/>
              <a:gd name="connsiteX0" fmla="*/ 232739 w 6533426"/>
              <a:gd name="connsiteY0" fmla="*/ 3114000 h 4101226"/>
              <a:gd name="connsiteX1" fmla="*/ 3346739 w 6533426"/>
              <a:gd name="connsiteY1" fmla="*/ 0 h 4101226"/>
              <a:gd name="connsiteX2" fmla="*/ 6460739 w 6533426"/>
              <a:gd name="connsiteY2" fmla="*/ 3114000 h 4101226"/>
              <a:gd name="connsiteX3" fmla="*/ 5470743 w 6533426"/>
              <a:gd name="connsiteY3" fmla="*/ 4052249 h 4101226"/>
              <a:gd name="connsiteX4" fmla="*/ 4624210 w 6533426"/>
              <a:gd name="connsiteY4" fmla="*/ 3968895 h 4101226"/>
              <a:gd name="connsiteX5" fmla="*/ 333965 w 6533426"/>
              <a:gd name="connsiteY5" fmla="*/ 3971566 h 4101226"/>
              <a:gd name="connsiteX6" fmla="*/ 232739 w 6533426"/>
              <a:gd name="connsiteY6" fmla="*/ 3114000 h 4101226"/>
              <a:gd name="connsiteX0" fmla="*/ 232739 w 6507150"/>
              <a:gd name="connsiteY0" fmla="*/ 3114000 h 5929534"/>
              <a:gd name="connsiteX1" fmla="*/ 3346739 w 6507150"/>
              <a:gd name="connsiteY1" fmla="*/ 0 h 5929534"/>
              <a:gd name="connsiteX2" fmla="*/ 6460739 w 6507150"/>
              <a:gd name="connsiteY2" fmla="*/ 3114000 h 5929534"/>
              <a:gd name="connsiteX3" fmla="*/ 4731155 w 6507150"/>
              <a:gd name="connsiteY3" fmla="*/ 5921390 h 5929534"/>
              <a:gd name="connsiteX4" fmla="*/ 4624210 w 6507150"/>
              <a:gd name="connsiteY4" fmla="*/ 3968895 h 5929534"/>
              <a:gd name="connsiteX5" fmla="*/ 333965 w 6507150"/>
              <a:gd name="connsiteY5" fmla="*/ 3971566 h 5929534"/>
              <a:gd name="connsiteX6" fmla="*/ 232739 w 6507150"/>
              <a:gd name="connsiteY6" fmla="*/ 3114000 h 5929534"/>
              <a:gd name="connsiteX0" fmla="*/ 232739 w 6526554"/>
              <a:gd name="connsiteY0" fmla="*/ 3114000 h 5929534"/>
              <a:gd name="connsiteX1" fmla="*/ 3346739 w 6526554"/>
              <a:gd name="connsiteY1" fmla="*/ 0 h 5929534"/>
              <a:gd name="connsiteX2" fmla="*/ 6460739 w 6526554"/>
              <a:gd name="connsiteY2" fmla="*/ 3114000 h 5929534"/>
              <a:gd name="connsiteX3" fmla="*/ 4731155 w 6526554"/>
              <a:gd name="connsiteY3" fmla="*/ 5921390 h 5929534"/>
              <a:gd name="connsiteX4" fmla="*/ 4624210 w 6526554"/>
              <a:gd name="connsiteY4" fmla="*/ 3968895 h 5929534"/>
              <a:gd name="connsiteX5" fmla="*/ 333965 w 6526554"/>
              <a:gd name="connsiteY5" fmla="*/ 3971566 h 5929534"/>
              <a:gd name="connsiteX6" fmla="*/ 232739 w 6526554"/>
              <a:gd name="connsiteY6" fmla="*/ 3114000 h 5929534"/>
              <a:gd name="connsiteX0" fmla="*/ 232739 w 6526554"/>
              <a:gd name="connsiteY0" fmla="*/ 3114000 h 5929534"/>
              <a:gd name="connsiteX1" fmla="*/ 3346739 w 6526554"/>
              <a:gd name="connsiteY1" fmla="*/ 0 h 5929534"/>
              <a:gd name="connsiteX2" fmla="*/ 6460739 w 6526554"/>
              <a:gd name="connsiteY2" fmla="*/ 3114000 h 5929534"/>
              <a:gd name="connsiteX3" fmla="*/ 4731155 w 6526554"/>
              <a:gd name="connsiteY3" fmla="*/ 5921390 h 5929534"/>
              <a:gd name="connsiteX4" fmla="*/ 4624210 w 6526554"/>
              <a:gd name="connsiteY4" fmla="*/ 3968895 h 5929534"/>
              <a:gd name="connsiteX5" fmla="*/ 333965 w 6526554"/>
              <a:gd name="connsiteY5" fmla="*/ 3971566 h 5929534"/>
              <a:gd name="connsiteX6" fmla="*/ 232739 w 6526554"/>
              <a:gd name="connsiteY6" fmla="*/ 3114000 h 5929534"/>
              <a:gd name="connsiteX0" fmla="*/ 232739 w 6462699"/>
              <a:gd name="connsiteY0" fmla="*/ 3114000 h 5929534"/>
              <a:gd name="connsiteX1" fmla="*/ 3346739 w 6462699"/>
              <a:gd name="connsiteY1" fmla="*/ 0 h 5929534"/>
              <a:gd name="connsiteX2" fmla="*/ 6460739 w 6462699"/>
              <a:gd name="connsiteY2" fmla="*/ 3114000 h 5929534"/>
              <a:gd name="connsiteX3" fmla="*/ 4731155 w 6462699"/>
              <a:gd name="connsiteY3" fmla="*/ 5921390 h 5929534"/>
              <a:gd name="connsiteX4" fmla="*/ 4624210 w 6462699"/>
              <a:gd name="connsiteY4" fmla="*/ 3968895 h 5929534"/>
              <a:gd name="connsiteX5" fmla="*/ 333965 w 6462699"/>
              <a:gd name="connsiteY5" fmla="*/ 3971566 h 5929534"/>
              <a:gd name="connsiteX6" fmla="*/ 232739 w 6462699"/>
              <a:gd name="connsiteY6" fmla="*/ 3114000 h 5929534"/>
              <a:gd name="connsiteX0" fmla="*/ 232739 w 6462699"/>
              <a:gd name="connsiteY0" fmla="*/ 3114000 h 5929534"/>
              <a:gd name="connsiteX1" fmla="*/ 3346739 w 6462699"/>
              <a:gd name="connsiteY1" fmla="*/ 0 h 5929534"/>
              <a:gd name="connsiteX2" fmla="*/ 6460739 w 6462699"/>
              <a:gd name="connsiteY2" fmla="*/ 3114000 h 5929534"/>
              <a:gd name="connsiteX3" fmla="*/ 4731155 w 6462699"/>
              <a:gd name="connsiteY3" fmla="*/ 5921390 h 5929534"/>
              <a:gd name="connsiteX4" fmla="*/ 4624210 w 6462699"/>
              <a:gd name="connsiteY4" fmla="*/ 3968895 h 5929534"/>
              <a:gd name="connsiteX5" fmla="*/ 333965 w 6462699"/>
              <a:gd name="connsiteY5" fmla="*/ 3971566 h 5929534"/>
              <a:gd name="connsiteX6" fmla="*/ 232739 w 6462699"/>
              <a:gd name="connsiteY6" fmla="*/ 3114000 h 5929534"/>
              <a:gd name="connsiteX0" fmla="*/ 232739 w 6462699"/>
              <a:gd name="connsiteY0" fmla="*/ 3114000 h 5929534"/>
              <a:gd name="connsiteX1" fmla="*/ 3346739 w 6462699"/>
              <a:gd name="connsiteY1" fmla="*/ 0 h 5929534"/>
              <a:gd name="connsiteX2" fmla="*/ 6460739 w 6462699"/>
              <a:gd name="connsiteY2" fmla="*/ 3114000 h 5929534"/>
              <a:gd name="connsiteX3" fmla="*/ 4731155 w 6462699"/>
              <a:gd name="connsiteY3" fmla="*/ 5921390 h 5929534"/>
              <a:gd name="connsiteX4" fmla="*/ 4624210 w 6462699"/>
              <a:gd name="connsiteY4" fmla="*/ 3968895 h 5929534"/>
              <a:gd name="connsiteX5" fmla="*/ 333965 w 6462699"/>
              <a:gd name="connsiteY5" fmla="*/ 3971566 h 5929534"/>
              <a:gd name="connsiteX6" fmla="*/ 232739 w 6462699"/>
              <a:gd name="connsiteY6" fmla="*/ 3114000 h 5929534"/>
              <a:gd name="connsiteX0" fmla="*/ 232739 w 6462699"/>
              <a:gd name="connsiteY0" fmla="*/ 3114000 h 5929534"/>
              <a:gd name="connsiteX1" fmla="*/ 3346739 w 6462699"/>
              <a:gd name="connsiteY1" fmla="*/ 0 h 5929534"/>
              <a:gd name="connsiteX2" fmla="*/ 6460739 w 6462699"/>
              <a:gd name="connsiteY2" fmla="*/ 3114000 h 5929534"/>
              <a:gd name="connsiteX3" fmla="*/ 4731155 w 6462699"/>
              <a:gd name="connsiteY3" fmla="*/ 5921390 h 5929534"/>
              <a:gd name="connsiteX4" fmla="*/ 4624210 w 6462699"/>
              <a:gd name="connsiteY4" fmla="*/ 3968895 h 5929534"/>
              <a:gd name="connsiteX5" fmla="*/ 333965 w 6462699"/>
              <a:gd name="connsiteY5" fmla="*/ 3971566 h 5929534"/>
              <a:gd name="connsiteX6" fmla="*/ 232739 w 6462699"/>
              <a:gd name="connsiteY6" fmla="*/ 3114000 h 5929534"/>
              <a:gd name="connsiteX0" fmla="*/ 3162 w 6233122"/>
              <a:gd name="connsiteY0" fmla="*/ 3114000 h 5929534"/>
              <a:gd name="connsiteX1" fmla="*/ 3117162 w 6233122"/>
              <a:gd name="connsiteY1" fmla="*/ 0 h 5929534"/>
              <a:gd name="connsiteX2" fmla="*/ 6231162 w 6233122"/>
              <a:gd name="connsiteY2" fmla="*/ 3114000 h 5929534"/>
              <a:gd name="connsiteX3" fmla="*/ 4501578 w 6233122"/>
              <a:gd name="connsiteY3" fmla="*/ 5921390 h 5929534"/>
              <a:gd name="connsiteX4" fmla="*/ 4394633 w 6233122"/>
              <a:gd name="connsiteY4" fmla="*/ 3968895 h 5929534"/>
              <a:gd name="connsiteX5" fmla="*/ 104388 w 6233122"/>
              <a:gd name="connsiteY5" fmla="*/ 3971566 h 5929534"/>
              <a:gd name="connsiteX6" fmla="*/ 3162 w 6233122"/>
              <a:gd name="connsiteY6" fmla="*/ 3114000 h 5929534"/>
              <a:gd name="connsiteX0" fmla="*/ 5446 w 6235406"/>
              <a:gd name="connsiteY0" fmla="*/ 3114000 h 5929534"/>
              <a:gd name="connsiteX1" fmla="*/ 3119446 w 6235406"/>
              <a:gd name="connsiteY1" fmla="*/ 0 h 5929534"/>
              <a:gd name="connsiteX2" fmla="*/ 6233446 w 6235406"/>
              <a:gd name="connsiteY2" fmla="*/ 3114000 h 5929534"/>
              <a:gd name="connsiteX3" fmla="*/ 4503862 w 6235406"/>
              <a:gd name="connsiteY3" fmla="*/ 5921390 h 5929534"/>
              <a:gd name="connsiteX4" fmla="*/ 4396917 w 6235406"/>
              <a:gd name="connsiteY4" fmla="*/ 3968895 h 5929534"/>
              <a:gd name="connsiteX5" fmla="*/ 106672 w 6235406"/>
              <a:gd name="connsiteY5" fmla="*/ 3971566 h 5929534"/>
              <a:gd name="connsiteX6" fmla="*/ 5446 w 6235406"/>
              <a:gd name="connsiteY6" fmla="*/ 3114000 h 5929534"/>
              <a:gd name="connsiteX0" fmla="*/ 5446 w 6235406"/>
              <a:gd name="connsiteY0" fmla="*/ 3114000 h 5929534"/>
              <a:gd name="connsiteX1" fmla="*/ 3119446 w 6235406"/>
              <a:gd name="connsiteY1" fmla="*/ 0 h 5929534"/>
              <a:gd name="connsiteX2" fmla="*/ 6233446 w 6235406"/>
              <a:gd name="connsiteY2" fmla="*/ 3114000 h 5929534"/>
              <a:gd name="connsiteX3" fmla="*/ 4503862 w 6235406"/>
              <a:gd name="connsiteY3" fmla="*/ 5921390 h 5929534"/>
              <a:gd name="connsiteX4" fmla="*/ 4396917 w 6235406"/>
              <a:gd name="connsiteY4" fmla="*/ 3968895 h 5929534"/>
              <a:gd name="connsiteX5" fmla="*/ 106672 w 6235406"/>
              <a:gd name="connsiteY5" fmla="*/ 3971566 h 5929534"/>
              <a:gd name="connsiteX6" fmla="*/ 5446 w 6235406"/>
              <a:gd name="connsiteY6" fmla="*/ 3114000 h 5929534"/>
              <a:gd name="connsiteX0" fmla="*/ 5446 w 6235406"/>
              <a:gd name="connsiteY0" fmla="*/ 3114000 h 5929534"/>
              <a:gd name="connsiteX1" fmla="*/ 3119446 w 6235406"/>
              <a:gd name="connsiteY1" fmla="*/ 0 h 5929534"/>
              <a:gd name="connsiteX2" fmla="*/ 6233446 w 6235406"/>
              <a:gd name="connsiteY2" fmla="*/ 3114000 h 5929534"/>
              <a:gd name="connsiteX3" fmla="*/ 4503862 w 6235406"/>
              <a:gd name="connsiteY3" fmla="*/ 5921390 h 5929534"/>
              <a:gd name="connsiteX4" fmla="*/ 4396917 w 6235406"/>
              <a:gd name="connsiteY4" fmla="*/ 3968895 h 5929534"/>
              <a:gd name="connsiteX5" fmla="*/ 106672 w 6235406"/>
              <a:gd name="connsiteY5" fmla="*/ 3971566 h 5929534"/>
              <a:gd name="connsiteX6" fmla="*/ 5446 w 6235406"/>
              <a:gd name="connsiteY6" fmla="*/ 3114000 h 5929534"/>
              <a:gd name="connsiteX0" fmla="*/ 5446 w 6235406"/>
              <a:gd name="connsiteY0" fmla="*/ 3114000 h 5929534"/>
              <a:gd name="connsiteX1" fmla="*/ 3119446 w 6235406"/>
              <a:gd name="connsiteY1" fmla="*/ 0 h 5929534"/>
              <a:gd name="connsiteX2" fmla="*/ 6233446 w 6235406"/>
              <a:gd name="connsiteY2" fmla="*/ 3114000 h 5929534"/>
              <a:gd name="connsiteX3" fmla="*/ 4503862 w 6235406"/>
              <a:gd name="connsiteY3" fmla="*/ 5921390 h 5929534"/>
              <a:gd name="connsiteX4" fmla="*/ 4396917 w 6235406"/>
              <a:gd name="connsiteY4" fmla="*/ 3968895 h 5929534"/>
              <a:gd name="connsiteX5" fmla="*/ 106672 w 6235406"/>
              <a:gd name="connsiteY5" fmla="*/ 3971566 h 5929534"/>
              <a:gd name="connsiteX6" fmla="*/ 5446 w 6235406"/>
              <a:gd name="connsiteY6" fmla="*/ 3114000 h 5929534"/>
              <a:gd name="connsiteX0" fmla="*/ 5446 w 6235406"/>
              <a:gd name="connsiteY0" fmla="*/ 3114000 h 5929534"/>
              <a:gd name="connsiteX1" fmla="*/ 3119446 w 6235406"/>
              <a:gd name="connsiteY1" fmla="*/ 0 h 5929534"/>
              <a:gd name="connsiteX2" fmla="*/ 6233446 w 6235406"/>
              <a:gd name="connsiteY2" fmla="*/ 3114000 h 5929534"/>
              <a:gd name="connsiteX3" fmla="*/ 4503862 w 6235406"/>
              <a:gd name="connsiteY3" fmla="*/ 5921390 h 5929534"/>
              <a:gd name="connsiteX4" fmla="*/ 4396917 w 6235406"/>
              <a:gd name="connsiteY4" fmla="*/ 3968895 h 5929534"/>
              <a:gd name="connsiteX5" fmla="*/ 106672 w 6235406"/>
              <a:gd name="connsiteY5" fmla="*/ 3971566 h 5929534"/>
              <a:gd name="connsiteX6" fmla="*/ 5446 w 6235406"/>
              <a:gd name="connsiteY6" fmla="*/ 3114000 h 5929534"/>
              <a:gd name="connsiteX0" fmla="*/ 5446 w 6235406"/>
              <a:gd name="connsiteY0" fmla="*/ 3114000 h 5929650"/>
              <a:gd name="connsiteX1" fmla="*/ 3119446 w 6235406"/>
              <a:gd name="connsiteY1" fmla="*/ 0 h 5929650"/>
              <a:gd name="connsiteX2" fmla="*/ 6233446 w 6235406"/>
              <a:gd name="connsiteY2" fmla="*/ 3114000 h 5929650"/>
              <a:gd name="connsiteX3" fmla="*/ 4503862 w 6235406"/>
              <a:gd name="connsiteY3" fmla="*/ 5921390 h 5929650"/>
              <a:gd name="connsiteX4" fmla="*/ 4396917 w 6235406"/>
              <a:gd name="connsiteY4" fmla="*/ 3968895 h 5929650"/>
              <a:gd name="connsiteX5" fmla="*/ 106672 w 6235406"/>
              <a:gd name="connsiteY5" fmla="*/ 3971566 h 5929650"/>
              <a:gd name="connsiteX6" fmla="*/ 5446 w 6235406"/>
              <a:gd name="connsiteY6" fmla="*/ 3114000 h 5929650"/>
              <a:gd name="connsiteX0" fmla="*/ 5446 w 6235406"/>
              <a:gd name="connsiteY0" fmla="*/ 3114000 h 5929650"/>
              <a:gd name="connsiteX1" fmla="*/ 3119446 w 6235406"/>
              <a:gd name="connsiteY1" fmla="*/ 0 h 5929650"/>
              <a:gd name="connsiteX2" fmla="*/ 6233446 w 6235406"/>
              <a:gd name="connsiteY2" fmla="*/ 3114000 h 5929650"/>
              <a:gd name="connsiteX3" fmla="*/ 4503862 w 6235406"/>
              <a:gd name="connsiteY3" fmla="*/ 5921390 h 5929650"/>
              <a:gd name="connsiteX4" fmla="*/ 4396917 w 6235406"/>
              <a:gd name="connsiteY4" fmla="*/ 3968895 h 5929650"/>
              <a:gd name="connsiteX5" fmla="*/ 106672 w 6235406"/>
              <a:gd name="connsiteY5" fmla="*/ 3971566 h 5929650"/>
              <a:gd name="connsiteX6" fmla="*/ 5446 w 6235406"/>
              <a:gd name="connsiteY6" fmla="*/ 3114000 h 5929650"/>
              <a:gd name="connsiteX0" fmla="*/ 5446 w 6235406"/>
              <a:gd name="connsiteY0" fmla="*/ 3114000 h 5929650"/>
              <a:gd name="connsiteX1" fmla="*/ 3119446 w 6235406"/>
              <a:gd name="connsiteY1" fmla="*/ 0 h 5929650"/>
              <a:gd name="connsiteX2" fmla="*/ 6233446 w 6235406"/>
              <a:gd name="connsiteY2" fmla="*/ 3114000 h 5929650"/>
              <a:gd name="connsiteX3" fmla="*/ 4503862 w 6235406"/>
              <a:gd name="connsiteY3" fmla="*/ 5921390 h 5929650"/>
              <a:gd name="connsiteX4" fmla="*/ 4396917 w 6235406"/>
              <a:gd name="connsiteY4" fmla="*/ 3968895 h 5929650"/>
              <a:gd name="connsiteX5" fmla="*/ 106672 w 6235406"/>
              <a:gd name="connsiteY5" fmla="*/ 3971566 h 5929650"/>
              <a:gd name="connsiteX6" fmla="*/ 5446 w 6235406"/>
              <a:gd name="connsiteY6" fmla="*/ 3114000 h 5929650"/>
              <a:gd name="connsiteX0" fmla="*/ 5446 w 6235406"/>
              <a:gd name="connsiteY0" fmla="*/ 3114000 h 5921390"/>
              <a:gd name="connsiteX1" fmla="*/ 3119446 w 6235406"/>
              <a:gd name="connsiteY1" fmla="*/ 0 h 5921390"/>
              <a:gd name="connsiteX2" fmla="*/ 6233446 w 6235406"/>
              <a:gd name="connsiteY2" fmla="*/ 3114000 h 5921390"/>
              <a:gd name="connsiteX3" fmla="*/ 4503862 w 6235406"/>
              <a:gd name="connsiteY3" fmla="*/ 5921390 h 5921390"/>
              <a:gd name="connsiteX4" fmla="*/ 4396917 w 6235406"/>
              <a:gd name="connsiteY4" fmla="*/ 3968895 h 5921390"/>
              <a:gd name="connsiteX5" fmla="*/ 106672 w 6235406"/>
              <a:gd name="connsiteY5" fmla="*/ 3971566 h 5921390"/>
              <a:gd name="connsiteX6" fmla="*/ 5446 w 6235406"/>
              <a:gd name="connsiteY6" fmla="*/ 3114000 h 5921390"/>
              <a:gd name="connsiteX0" fmla="*/ 5446 w 6235406"/>
              <a:gd name="connsiteY0" fmla="*/ 3114000 h 5921390"/>
              <a:gd name="connsiteX1" fmla="*/ 3119446 w 6235406"/>
              <a:gd name="connsiteY1" fmla="*/ 0 h 5921390"/>
              <a:gd name="connsiteX2" fmla="*/ 6233446 w 6235406"/>
              <a:gd name="connsiteY2" fmla="*/ 3114000 h 5921390"/>
              <a:gd name="connsiteX3" fmla="*/ 4503862 w 6235406"/>
              <a:gd name="connsiteY3" fmla="*/ 5921390 h 5921390"/>
              <a:gd name="connsiteX4" fmla="*/ 4396917 w 6235406"/>
              <a:gd name="connsiteY4" fmla="*/ 3968895 h 5921390"/>
              <a:gd name="connsiteX5" fmla="*/ 106672 w 6235406"/>
              <a:gd name="connsiteY5" fmla="*/ 3971566 h 5921390"/>
              <a:gd name="connsiteX6" fmla="*/ 5446 w 6235406"/>
              <a:gd name="connsiteY6" fmla="*/ 3114000 h 5921390"/>
              <a:gd name="connsiteX0" fmla="*/ 5446 w 6235406"/>
              <a:gd name="connsiteY0" fmla="*/ 3114000 h 5921390"/>
              <a:gd name="connsiteX1" fmla="*/ 3119446 w 6235406"/>
              <a:gd name="connsiteY1" fmla="*/ 0 h 5921390"/>
              <a:gd name="connsiteX2" fmla="*/ 6233446 w 6235406"/>
              <a:gd name="connsiteY2" fmla="*/ 3114000 h 5921390"/>
              <a:gd name="connsiteX3" fmla="*/ 4503862 w 6235406"/>
              <a:gd name="connsiteY3" fmla="*/ 5921390 h 5921390"/>
              <a:gd name="connsiteX4" fmla="*/ 4396917 w 6235406"/>
              <a:gd name="connsiteY4" fmla="*/ 3968895 h 5921390"/>
              <a:gd name="connsiteX5" fmla="*/ 106672 w 6235406"/>
              <a:gd name="connsiteY5" fmla="*/ 3971566 h 5921390"/>
              <a:gd name="connsiteX6" fmla="*/ 5446 w 6235406"/>
              <a:gd name="connsiteY6" fmla="*/ 3114000 h 5921390"/>
              <a:gd name="connsiteX0" fmla="*/ 5446 w 6235406"/>
              <a:gd name="connsiteY0" fmla="*/ 3114000 h 5938745"/>
              <a:gd name="connsiteX1" fmla="*/ 3119446 w 6235406"/>
              <a:gd name="connsiteY1" fmla="*/ 0 h 5938745"/>
              <a:gd name="connsiteX2" fmla="*/ 6233446 w 6235406"/>
              <a:gd name="connsiteY2" fmla="*/ 3114000 h 5938745"/>
              <a:gd name="connsiteX3" fmla="*/ 4503862 w 6235406"/>
              <a:gd name="connsiteY3" fmla="*/ 5921390 h 5938745"/>
              <a:gd name="connsiteX4" fmla="*/ 4455038 w 6235406"/>
              <a:gd name="connsiteY4" fmla="*/ 4284366 h 5938745"/>
              <a:gd name="connsiteX5" fmla="*/ 4396917 w 6235406"/>
              <a:gd name="connsiteY5" fmla="*/ 3968895 h 5938745"/>
              <a:gd name="connsiteX6" fmla="*/ 106672 w 6235406"/>
              <a:gd name="connsiteY6" fmla="*/ 3971566 h 5938745"/>
              <a:gd name="connsiteX7" fmla="*/ 5446 w 6235406"/>
              <a:gd name="connsiteY7" fmla="*/ 3114000 h 5938745"/>
              <a:gd name="connsiteX0" fmla="*/ 5446 w 6235406"/>
              <a:gd name="connsiteY0" fmla="*/ 3114000 h 5938745"/>
              <a:gd name="connsiteX1" fmla="*/ 3119446 w 6235406"/>
              <a:gd name="connsiteY1" fmla="*/ 0 h 5938745"/>
              <a:gd name="connsiteX2" fmla="*/ 6233446 w 6235406"/>
              <a:gd name="connsiteY2" fmla="*/ 3114000 h 5938745"/>
              <a:gd name="connsiteX3" fmla="*/ 4503862 w 6235406"/>
              <a:gd name="connsiteY3" fmla="*/ 5921390 h 5938745"/>
              <a:gd name="connsiteX4" fmla="*/ 4455038 w 6235406"/>
              <a:gd name="connsiteY4" fmla="*/ 4284366 h 5938745"/>
              <a:gd name="connsiteX5" fmla="*/ 4396917 w 6235406"/>
              <a:gd name="connsiteY5" fmla="*/ 3968895 h 5938745"/>
              <a:gd name="connsiteX6" fmla="*/ 106672 w 6235406"/>
              <a:gd name="connsiteY6" fmla="*/ 3971566 h 5938745"/>
              <a:gd name="connsiteX7" fmla="*/ 5446 w 6235406"/>
              <a:gd name="connsiteY7" fmla="*/ 3114000 h 5938745"/>
              <a:gd name="connsiteX0" fmla="*/ 5446 w 6235406"/>
              <a:gd name="connsiteY0" fmla="*/ 3114000 h 5938745"/>
              <a:gd name="connsiteX1" fmla="*/ 3119446 w 6235406"/>
              <a:gd name="connsiteY1" fmla="*/ 0 h 5938745"/>
              <a:gd name="connsiteX2" fmla="*/ 6233446 w 6235406"/>
              <a:gd name="connsiteY2" fmla="*/ 3114000 h 5938745"/>
              <a:gd name="connsiteX3" fmla="*/ 4503862 w 6235406"/>
              <a:gd name="connsiteY3" fmla="*/ 5921390 h 5938745"/>
              <a:gd name="connsiteX4" fmla="*/ 4483173 w 6235406"/>
              <a:gd name="connsiteY4" fmla="*/ 4284366 h 5938745"/>
              <a:gd name="connsiteX5" fmla="*/ 4396917 w 6235406"/>
              <a:gd name="connsiteY5" fmla="*/ 3968895 h 5938745"/>
              <a:gd name="connsiteX6" fmla="*/ 106672 w 6235406"/>
              <a:gd name="connsiteY6" fmla="*/ 3971566 h 5938745"/>
              <a:gd name="connsiteX7" fmla="*/ 5446 w 6235406"/>
              <a:gd name="connsiteY7" fmla="*/ 3114000 h 5938745"/>
              <a:gd name="connsiteX0" fmla="*/ 5446 w 6235406"/>
              <a:gd name="connsiteY0" fmla="*/ 3114000 h 5938818"/>
              <a:gd name="connsiteX1" fmla="*/ 3119446 w 6235406"/>
              <a:gd name="connsiteY1" fmla="*/ 0 h 5938818"/>
              <a:gd name="connsiteX2" fmla="*/ 6233446 w 6235406"/>
              <a:gd name="connsiteY2" fmla="*/ 3114000 h 5938818"/>
              <a:gd name="connsiteX3" fmla="*/ 4503862 w 6235406"/>
              <a:gd name="connsiteY3" fmla="*/ 5921390 h 5938818"/>
              <a:gd name="connsiteX4" fmla="*/ 4483173 w 6235406"/>
              <a:gd name="connsiteY4" fmla="*/ 4284366 h 5938818"/>
              <a:gd name="connsiteX5" fmla="*/ 4396917 w 6235406"/>
              <a:gd name="connsiteY5" fmla="*/ 3968895 h 5938818"/>
              <a:gd name="connsiteX6" fmla="*/ 106672 w 6235406"/>
              <a:gd name="connsiteY6" fmla="*/ 3971566 h 5938818"/>
              <a:gd name="connsiteX7" fmla="*/ 5446 w 6235406"/>
              <a:gd name="connsiteY7" fmla="*/ 3114000 h 5938818"/>
              <a:gd name="connsiteX0" fmla="*/ 5446 w 6235406"/>
              <a:gd name="connsiteY0" fmla="*/ 3114000 h 5938818"/>
              <a:gd name="connsiteX1" fmla="*/ 3119446 w 6235406"/>
              <a:gd name="connsiteY1" fmla="*/ 0 h 5938818"/>
              <a:gd name="connsiteX2" fmla="*/ 6233446 w 6235406"/>
              <a:gd name="connsiteY2" fmla="*/ 3114000 h 5938818"/>
              <a:gd name="connsiteX3" fmla="*/ 4503862 w 6235406"/>
              <a:gd name="connsiteY3" fmla="*/ 5921390 h 5938818"/>
              <a:gd name="connsiteX4" fmla="*/ 4483173 w 6235406"/>
              <a:gd name="connsiteY4" fmla="*/ 4284366 h 5938818"/>
              <a:gd name="connsiteX5" fmla="*/ 4396917 w 6235406"/>
              <a:gd name="connsiteY5" fmla="*/ 3968895 h 5938818"/>
              <a:gd name="connsiteX6" fmla="*/ 106672 w 6235406"/>
              <a:gd name="connsiteY6" fmla="*/ 3971566 h 5938818"/>
              <a:gd name="connsiteX7" fmla="*/ 5446 w 6235406"/>
              <a:gd name="connsiteY7" fmla="*/ 3114000 h 5938818"/>
              <a:gd name="connsiteX0" fmla="*/ 5446 w 6235406"/>
              <a:gd name="connsiteY0" fmla="*/ 3114000 h 5938818"/>
              <a:gd name="connsiteX1" fmla="*/ 3119446 w 6235406"/>
              <a:gd name="connsiteY1" fmla="*/ 0 h 5938818"/>
              <a:gd name="connsiteX2" fmla="*/ 6233446 w 6235406"/>
              <a:gd name="connsiteY2" fmla="*/ 3114000 h 5938818"/>
              <a:gd name="connsiteX3" fmla="*/ 4503862 w 6235406"/>
              <a:gd name="connsiteY3" fmla="*/ 5921390 h 5938818"/>
              <a:gd name="connsiteX4" fmla="*/ 4483173 w 6235406"/>
              <a:gd name="connsiteY4" fmla="*/ 4284366 h 5938818"/>
              <a:gd name="connsiteX5" fmla="*/ 4396917 w 6235406"/>
              <a:gd name="connsiteY5" fmla="*/ 3968895 h 5938818"/>
              <a:gd name="connsiteX6" fmla="*/ 106672 w 6235406"/>
              <a:gd name="connsiteY6" fmla="*/ 3971566 h 5938818"/>
              <a:gd name="connsiteX7" fmla="*/ 5446 w 6235406"/>
              <a:gd name="connsiteY7" fmla="*/ 3114000 h 5938818"/>
              <a:gd name="connsiteX0" fmla="*/ 5446 w 6235406"/>
              <a:gd name="connsiteY0" fmla="*/ 3114000 h 5938818"/>
              <a:gd name="connsiteX1" fmla="*/ 3119446 w 6235406"/>
              <a:gd name="connsiteY1" fmla="*/ 0 h 5938818"/>
              <a:gd name="connsiteX2" fmla="*/ 6233446 w 6235406"/>
              <a:gd name="connsiteY2" fmla="*/ 3114000 h 5938818"/>
              <a:gd name="connsiteX3" fmla="*/ 4503862 w 6235406"/>
              <a:gd name="connsiteY3" fmla="*/ 5921390 h 5938818"/>
              <a:gd name="connsiteX4" fmla="*/ 4483173 w 6235406"/>
              <a:gd name="connsiteY4" fmla="*/ 4284366 h 5938818"/>
              <a:gd name="connsiteX5" fmla="*/ 4396917 w 6235406"/>
              <a:gd name="connsiteY5" fmla="*/ 3968895 h 5938818"/>
              <a:gd name="connsiteX6" fmla="*/ 106672 w 6235406"/>
              <a:gd name="connsiteY6" fmla="*/ 3971566 h 5938818"/>
              <a:gd name="connsiteX7" fmla="*/ 5446 w 6235406"/>
              <a:gd name="connsiteY7" fmla="*/ 3114000 h 5938818"/>
              <a:gd name="connsiteX0" fmla="*/ 5446 w 6235406"/>
              <a:gd name="connsiteY0" fmla="*/ 3114000 h 5921941"/>
              <a:gd name="connsiteX1" fmla="*/ 3119446 w 6235406"/>
              <a:gd name="connsiteY1" fmla="*/ 0 h 5921941"/>
              <a:gd name="connsiteX2" fmla="*/ 6233446 w 6235406"/>
              <a:gd name="connsiteY2" fmla="*/ 3114000 h 5921941"/>
              <a:gd name="connsiteX3" fmla="*/ 4490214 w 6235406"/>
              <a:gd name="connsiteY3" fmla="*/ 5904331 h 5921941"/>
              <a:gd name="connsiteX4" fmla="*/ 4483173 w 6235406"/>
              <a:gd name="connsiteY4" fmla="*/ 4284366 h 5921941"/>
              <a:gd name="connsiteX5" fmla="*/ 4396917 w 6235406"/>
              <a:gd name="connsiteY5" fmla="*/ 3968895 h 5921941"/>
              <a:gd name="connsiteX6" fmla="*/ 106672 w 6235406"/>
              <a:gd name="connsiteY6" fmla="*/ 3971566 h 5921941"/>
              <a:gd name="connsiteX7" fmla="*/ 5446 w 6235406"/>
              <a:gd name="connsiteY7" fmla="*/ 3114000 h 5921941"/>
              <a:gd name="connsiteX0" fmla="*/ 5446 w 6235406"/>
              <a:gd name="connsiteY0" fmla="*/ 3114000 h 5921941"/>
              <a:gd name="connsiteX1" fmla="*/ 3119446 w 6235406"/>
              <a:gd name="connsiteY1" fmla="*/ 0 h 5921941"/>
              <a:gd name="connsiteX2" fmla="*/ 6233446 w 6235406"/>
              <a:gd name="connsiteY2" fmla="*/ 3114000 h 5921941"/>
              <a:gd name="connsiteX3" fmla="*/ 4490214 w 6235406"/>
              <a:gd name="connsiteY3" fmla="*/ 5904331 h 5921941"/>
              <a:gd name="connsiteX4" fmla="*/ 4483173 w 6235406"/>
              <a:gd name="connsiteY4" fmla="*/ 4284366 h 5921941"/>
              <a:gd name="connsiteX5" fmla="*/ 4396917 w 6235406"/>
              <a:gd name="connsiteY5" fmla="*/ 3968895 h 5921941"/>
              <a:gd name="connsiteX6" fmla="*/ 106672 w 6235406"/>
              <a:gd name="connsiteY6" fmla="*/ 3971566 h 5921941"/>
              <a:gd name="connsiteX7" fmla="*/ 5446 w 6235406"/>
              <a:gd name="connsiteY7" fmla="*/ 3114000 h 5921941"/>
              <a:gd name="connsiteX0" fmla="*/ 5446 w 6235406"/>
              <a:gd name="connsiteY0" fmla="*/ 3114000 h 5904331"/>
              <a:gd name="connsiteX1" fmla="*/ 3119446 w 6235406"/>
              <a:gd name="connsiteY1" fmla="*/ 0 h 5904331"/>
              <a:gd name="connsiteX2" fmla="*/ 6233446 w 6235406"/>
              <a:gd name="connsiteY2" fmla="*/ 3114000 h 5904331"/>
              <a:gd name="connsiteX3" fmla="*/ 4490214 w 6235406"/>
              <a:gd name="connsiteY3" fmla="*/ 5904331 h 5904331"/>
              <a:gd name="connsiteX4" fmla="*/ 4483173 w 6235406"/>
              <a:gd name="connsiteY4" fmla="*/ 4284366 h 5904331"/>
              <a:gd name="connsiteX5" fmla="*/ 4396917 w 6235406"/>
              <a:gd name="connsiteY5" fmla="*/ 3968895 h 5904331"/>
              <a:gd name="connsiteX6" fmla="*/ 106672 w 6235406"/>
              <a:gd name="connsiteY6" fmla="*/ 3971566 h 5904331"/>
              <a:gd name="connsiteX7" fmla="*/ 5446 w 6235406"/>
              <a:gd name="connsiteY7" fmla="*/ 3114000 h 5904331"/>
              <a:gd name="connsiteX0" fmla="*/ 5446 w 6235406"/>
              <a:gd name="connsiteY0" fmla="*/ 3114000 h 5904331"/>
              <a:gd name="connsiteX1" fmla="*/ 3119446 w 6235406"/>
              <a:gd name="connsiteY1" fmla="*/ 0 h 5904331"/>
              <a:gd name="connsiteX2" fmla="*/ 6233446 w 6235406"/>
              <a:gd name="connsiteY2" fmla="*/ 3114000 h 5904331"/>
              <a:gd name="connsiteX3" fmla="*/ 4490214 w 6235406"/>
              <a:gd name="connsiteY3" fmla="*/ 5904331 h 5904331"/>
              <a:gd name="connsiteX4" fmla="*/ 4483173 w 6235406"/>
              <a:gd name="connsiteY4" fmla="*/ 4284366 h 5904331"/>
              <a:gd name="connsiteX5" fmla="*/ 4396917 w 6235406"/>
              <a:gd name="connsiteY5" fmla="*/ 3968895 h 5904331"/>
              <a:gd name="connsiteX6" fmla="*/ 106672 w 6235406"/>
              <a:gd name="connsiteY6" fmla="*/ 3971566 h 5904331"/>
              <a:gd name="connsiteX7" fmla="*/ 5446 w 6235406"/>
              <a:gd name="connsiteY7" fmla="*/ 3114000 h 5904331"/>
              <a:gd name="connsiteX0" fmla="*/ 5446 w 6235406"/>
              <a:gd name="connsiteY0" fmla="*/ 3114000 h 5904331"/>
              <a:gd name="connsiteX1" fmla="*/ 3119446 w 6235406"/>
              <a:gd name="connsiteY1" fmla="*/ 0 h 5904331"/>
              <a:gd name="connsiteX2" fmla="*/ 6233446 w 6235406"/>
              <a:gd name="connsiteY2" fmla="*/ 3114000 h 5904331"/>
              <a:gd name="connsiteX3" fmla="*/ 4490214 w 6235406"/>
              <a:gd name="connsiteY3" fmla="*/ 5904331 h 5904331"/>
              <a:gd name="connsiteX4" fmla="*/ 4483173 w 6235406"/>
              <a:gd name="connsiteY4" fmla="*/ 4284366 h 5904331"/>
              <a:gd name="connsiteX5" fmla="*/ 4396917 w 6235406"/>
              <a:gd name="connsiteY5" fmla="*/ 3968895 h 5904331"/>
              <a:gd name="connsiteX6" fmla="*/ 106672 w 6235406"/>
              <a:gd name="connsiteY6" fmla="*/ 3971566 h 5904331"/>
              <a:gd name="connsiteX7" fmla="*/ 5446 w 6235406"/>
              <a:gd name="connsiteY7" fmla="*/ 3114000 h 5904331"/>
              <a:gd name="connsiteX0" fmla="*/ 5446 w 6235406"/>
              <a:gd name="connsiteY0" fmla="*/ 3114000 h 5904331"/>
              <a:gd name="connsiteX1" fmla="*/ 3119446 w 6235406"/>
              <a:gd name="connsiteY1" fmla="*/ 0 h 5904331"/>
              <a:gd name="connsiteX2" fmla="*/ 6233446 w 6235406"/>
              <a:gd name="connsiteY2" fmla="*/ 3114000 h 5904331"/>
              <a:gd name="connsiteX3" fmla="*/ 4490214 w 6235406"/>
              <a:gd name="connsiteY3" fmla="*/ 5904331 h 5904331"/>
              <a:gd name="connsiteX4" fmla="*/ 4483173 w 6235406"/>
              <a:gd name="connsiteY4" fmla="*/ 4284366 h 5904331"/>
              <a:gd name="connsiteX5" fmla="*/ 4396917 w 6235406"/>
              <a:gd name="connsiteY5" fmla="*/ 3968895 h 5904331"/>
              <a:gd name="connsiteX6" fmla="*/ 106672 w 6235406"/>
              <a:gd name="connsiteY6" fmla="*/ 3971566 h 5904331"/>
              <a:gd name="connsiteX7" fmla="*/ 5446 w 6235406"/>
              <a:gd name="connsiteY7" fmla="*/ 3114000 h 5904331"/>
              <a:gd name="connsiteX0" fmla="*/ 5446 w 6235406"/>
              <a:gd name="connsiteY0" fmla="*/ 3114000 h 5904331"/>
              <a:gd name="connsiteX1" fmla="*/ 3119446 w 6235406"/>
              <a:gd name="connsiteY1" fmla="*/ 0 h 5904331"/>
              <a:gd name="connsiteX2" fmla="*/ 6233446 w 6235406"/>
              <a:gd name="connsiteY2" fmla="*/ 3114000 h 5904331"/>
              <a:gd name="connsiteX3" fmla="*/ 4490214 w 6235406"/>
              <a:gd name="connsiteY3" fmla="*/ 5904331 h 5904331"/>
              <a:gd name="connsiteX4" fmla="*/ 4486585 w 6235406"/>
              <a:gd name="connsiteY4" fmla="*/ 4137653 h 5904331"/>
              <a:gd name="connsiteX5" fmla="*/ 4396917 w 6235406"/>
              <a:gd name="connsiteY5" fmla="*/ 3968895 h 5904331"/>
              <a:gd name="connsiteX6" fmla="*/ 106672 w 6235406"/>
              <a:gd name="connsiteY6" fmla="*/ 3971566 h 5904331"/>
              <a:gd name="connsiteX7" fmla="*/ 5446 w 6235406"/>
              <a:gd name="connsiteY7" fmla="*/ 3114000 h 5904331"/>
              <a:gd name="connsiteX0" fmla="*/ 5446 w 6235406"/>
              <a:gd name="connsiteY0" fmla="*/ 3114000 h 5904331"/>
              <a:gd name="connsiteX1" fmla="*/ 3119446 w 6235406"/>
              <a:gd name="connsiteY1" fmla="*/ 0 h 5904331"/>
              <a:gd name="connsiteX2" fmla="*/ 6233446 w 6235406"/>
              <a:gd name="connsiteY2" fmla="*/ 3114000 h 5904331"/>
              <a:gd name="connsiteX3" fmla="*/ 4490214 w 6235406"/>
              <a:gd name="connsiteY3" fmla="*/ 5904331 h 5904331"/>
              <a:gd name="connsiteX4" fmla="*/ 4486585 w 6235406"/>
              <a:gd name="connsiteY4" fmla="*/ 4147888 h 5904331"/>
              <a:gd name="connsiteX5" fmla="*/ 4396917 w 6235406"/>
              <a:gd name="connsiteY5" fmla="*/ 3968895 h 5904331"/>
              <a:gd name="connsiteX6" fmla="*/ 106672 w 6235406"/>
              <a:gd name="connsiteY6" fmla="*/ 3971566 h 5904331"/>
              <a:gd name="connsiteX7" fmla="*/ 5446 w 6235406"/>
              <a:gd name="connsiteY7" fmla="*/ 3114000 h 5904331"/>
              <a:gd name="connsiteX0" fmla="*/ 5446 w 6235406"/>
              <a:gd name="connsiteY0" fmla="*/ 3114000 h 5904331"/>
              <a:gd name="connsiteX1" fmla="*/ 3119446 w 6235406"/>
              <a:gd name="connsiteY1" fmla="*/ 0 h 5904331"/>
              <a:gd name="connsiteX2" fmla="*/ 6233446 w 6235406"/>
              <a:gd name="connsiteY2" fmla="*/ 3114000 h 5904331"/>
              <a:gd name="connsiteX3" fmla="*/ 4490214 w 6235406"/>
              <a:gd name="connsiteY3" fmla="*/ 5904331 h 5904331"/>
              <a:gd name="connsiteX4" fmla="*/ 4486585 w 6235406"/>
              <a:gd name="connsiteY4" fmla="*/ 4147888 h 5904331"/>
              <a:gd name="connsiteX5" fmla="*/ 4396917 w 6235406"/>
              <a:gd name="connsiteY5" fmla="*/ 3968895 h 5904331"/>
              <a:gd name="connsiteX6" fmla="*/ 106672 w 6235406"/>
              <a:gd name="connsiteY6" fmla="*/ 3971566 h 5904331"/>
              <a:gd name="connsiteX7" fmla="*/ 5446 w 6235406"/>
              <a:gd name="connsiteY7" fmla="*/ 3114000 h 5904331"/>
              <a:gd name="connsiteX0" fmla="*/ 120811 w 6350771"/>
              <a:gd name="connsiteY0" fmla="*/ 3114000 h 5904331"/>
              <a:gd name="connsiteX1" fmla="*/ 3234811 w 6350771"/>
              <a:gd name="connsiteY1" fmla="*/ 0 h 5904331"/>
              <a:gd name="connsiteX2" fmla="*/ 6348811 w 6350771"/>
              <a:gd name="connsiteY2" fmla="*/ 3114000 h 5904331"/>
              <a:gd name="connsiteX3" fmla="*/ 4605579 w 6350771"/>
              <a:gd name="connsiteY3" fmla="*/ 5904331 h 5904331"/>
              <a:gd name="connsiteX4" fmla="*/ 4601950 w 6350771"/>
              <a:gd name="connsiteY4" fmla="*/ 4147888 h 5904331"/>
              <a:gd name="connsiteX5" fmla="*/ 4512282 w 6350771"/>
              <a:gd name="connsiteY5" fmla="*/ 3968895 h 5904331"/>
              <a:gd name="connsiteX6" fmla="*/ 293688 w 6350771"/>
              <a:gd name="connsiteY6" fmla="*/ 3968154 h 5904331"/>
              <a:gd name="connsiteX7" fmla="*/ 120811 w 6350771"/>
              <a:gd name="connsiteY7" fmla="*/ 3114000 h 5904331"/>
              <a:gd name="connsiteX0" fmla="*/ 120811 w 6350771"/>
              <a:gd name="connsiteY0" fmla="*/ 3114000 h 5904331"/>
              <a:gd name="connsiteX1" fmla="*/ 3234811 w 6350771"/>
              <a:gd name="connsiteY1" fmla="*/ 0 h 5904331"/>
              <a:gd name="connsiteX2" fmla="*/ 6348811 w 6350771"/>
              <a:gd name="connsiteY2" fmla="*/ 3114000 h 5904331"/>
              <a:gd name="connsiteX3" fmla="*/ 4605579 w 6350771"/>
              <a:gd name="connsiteY3" fmla="*/ 5904331 h 5904331"/>
              <a:gd name="connsiteX4" fmla="*/ 4601950 w 6350771"/>
              <a:gd name="connsiteY4" fmla="*/ 4147888 h 5904331"/>
              <a:gd name="connsiteX5" fmla="*/ 4512282 w 6350771"/>
              <a:gd name="connsiteY5" fmla="*/ 3968895 h 5904331"/>
              <a:gd name="connsiteX6" fmla="*/ 293688 w 6350771"/>
              <a:gd name="connsiteY6" fmla="*/ 3968154 h 5904331"/>
              <a:gd name="connsiteX7" fmla="*/ 120811 w 6350771"/>
              <a:gd name="connsiteY7" fmla="*/ 3114000 h 5904331"/>
              <a:gd name="connsiteX0" fmla="*/ 12 w 6229972"/>
              <a:gd name="connsiteY0" fmla="*/ 3114000 h 5904331"/>
              <a:gd name="connsiteX1" fmla="*/ 3114012 w 6229972"/>
              <a:gd name="connsiteY1" fmla="*/ 0 h 5904331"/>
              <a:gd name="connsiteX2" fmla="*/ 6228012 w 6229972"/>
              <a:gd name="connsiteY2" fmla="*/ 3114000 h 5904331"/>
              <a:gd name="connsiteX3" fmla="*/ 4484780 w 6229972"/>
              <a:gd name="connsiteY3" fmla="*/ 5904331 h 5904331"/>
              <a:gd name="connsiteX4" fmla="*/ 4481151 w 6229972"/>
              <a:gd name="connsiteY4" fmla="*/ 4147888 h 5904331"/>
              <a:gd name="connsiteX5" fmla="*/ 4391483 w 6229972"/>
              <a:gd name="connsiteY5" fmla="*/ 3968895 h 5904331"/>
              <a:gd name="connsiteX6" fmla="*/ 172889 w 6229972"/>
              <a:gd name="connsiteY6" fmla="*/ 3968154 h 5904331"/>
              <a:gd name="connsiteX7" fmla="*/ 12 w 6229972"/>
              <a:gd name="connsiteY7" fmla="*/ 3114000 h 5904331"/>
              <a:gd name="connsiteX0" fmla="*/ 12 w 6229972"/>
              <a:gd name="connsiteY0" fmla="*/ 3114000 h 5904331"/>
              <a:gd name="connsiteX1" fmla="*/ 3114012 w 6229972"/>
              <a:gd name="connsiteY1" fmla="*/ 0 h 5904331"/>
              <a:gd name="connsiteX2" fmla="*/ 6228012 w 6229972"/>
              <a:gd name="connsiteY2" fmla="*/ 3114000 h 5904331"/>
              <a:gd name="connsiteX3" fmla="*/ 4484780 w 6229972"/>
              <a:gd name="connsiteY3" fmla="*/ 5904331 h 5904331"/>
              <a:gd name="connsiteX4" fmla="*/ 4481151 w 6229972"/>
              <a:gd name="connsiteY4" fmla="*/ 4147888 h 5904331"/>
              <a:gd name="connsiteX5" fmla="*/ 4391483 w 6229972"/>
              <a:gd name="connsiteY5" fmla="*/ 3968895 h 5904331"/>
              <a:gd name="connsiteX6" fmla="*/ 172889 w 6229972"/>
              <a:gd name="connsiteY6" fmla="*/ 3968154 h 5904331"/>
              <a:gd name="connsiteX7" fmla="*/ 12 w 6229972"/>
              <a:gd name="connsiteY7" fmla="*/ 3114000 h 5904331"/>
              <a:gd name="connsiteX0" fmla="*/ 12 w 6229972"/>
              <a:gd name="connsiteY0" fmla="*/ 3114000 h 5904331"/>
              <a:gd name="connsiteX1" fmla="*/ 3114012 w 6229972"/>
              <a:gd name="connsiteY1" fmla="*/ 0 h 5904331"/>
              <a:gd name="connsiteX2" fmla="*/ 6228012 w 6229972"/>
              <a:gd name="connsiteY2" fmla="*/ 3114000 h 5904331"/>
              <a:gd name="connsiteX3" fmla="*/ 4484780 w 6229972"/>
              <a:gd name="connsiteY3" fmla="*/ 5904331 h 5904331"/>
              <a:gd name="connsiteX4" fmla="*/ 4481151 w 6229972"/>
              <a:gd name="connsiteY4" fmla="*/ 4147888 h 5904331"/>
              <a:gd name="connsiteX5" fmla="*/ 4391483 w 6229972"/>
              <a:gd name="connsiteY5" fmla="*/ 3968895 h 5904331"/>
              <a:gd name="connsiteX6" fmla="*/ 172889 w 6229972"/>
              <a:gd name="connsiteY6" fmla="*/ 3968154 h 5904331"/>
              <a:gd name="connsiteX7" fmla="*/ 12 w 6229972"/>
              <a:gd name="connsiteY7" fmla="*/ 3114000 h 5904331"/>
              <a:gd name="connsiteX0" fmla="*/ 165707 w 6395667"/>
              <a:gd name="connsiteY0" fmla="*/ 3114000 h 5904331"/>
              <a:gd name="connsiteX1" fmla="*/ 3279707 w 6395667"/>
              <a:gd name="connsiteY1" fmla="*/ 0 h 5904331"/>
              <a:gd name="connsiteX2" fmla="*/ 6393707 w 6395667"/>
              <a:gd name="connsiteY2" fmla="*/ 3114000 h 5904331"/>
              <a:gd name="connsiteX3" fmla="*/ 4650475 w 6395667"/>
              <a:gd name="connsiteY3" fmla="*/ 5904331 h 5904331"/>
              <a:gd name="connsiteX4" fmla="*/ 4646846 w 6395667"/>
              <a:gd name="connsiteY4" fmla="*/ 4147888 h 5904331"/>
              <a:gd name="connsiteX5" fmla="*/ 4557178 w 6395667"/>
              <a:gd name="connsiteY5" fmla="*/ 3968895 h 5904331"/>
              <a:gd name="connsiteX6" fmla="*/ 338584 w 6395667"/>
              <a:gd name="connsiteY6" fmla="*/ 3968154 h 5904331"/>
              <a:gd name="connsiteX7" fmla="*/ 418664 w 6395667"/>
              <a:gd name="connsiteY7" fmla="*/ 3789530 h 5904331"/>
              <a:gd name="connsiteX8" fmla="*/ 165707 w 6395667"/>
              <a:gd name="connsiteY8" fmla="*/ 3114000 h 5904331"/>
              <a:gd name="connsiteX0" fmla="*/ 165707 w 6395667"/>
              <a:gd name="connsiteY0" fmla="*/ 3114000 h 5904331"/>
              <a:gd name="connsiteX1" fmla="*/ 3279707 w 6395667"/>
              <a:gd name="connsiteY1" fmla="*/ 0 h 5904331"/>
              <a:gd name="connsiteX2" fmla="*/ 6393707 w 6395667"/>
              <a:gd name="connsiteY2" fmla="*/ 3114000 h 5904331"/>
              <a:gd name="connsiteX3" fmla="*/ 4650475 w 6395667"/>
              <a:gd name="connsiteY3" fmla="*/ 5904331 h 5904331"/>
              <a:gd name="connsiteX4" fmla="*/ 4646846 w 6395667"/>
              <a:gd name="connsiteY4" fmla="*/ 4147888 h 5904331"/>
              <a:gd name="connsiteX5" fmla="*/ 4557178 w 6395667"/>
              <a:gd name="connsiteY5" fmla="*/ 3968895 h 5904331"/>
              <a:gd name="connsiteX6" fmla="*/ 338584 w 6395667"/>
              <a:gd name="connsiteY6" fmla="*/ 3968154 h 5904331"/>
              <a:gd name="connsiteX7" fmla="*/ 418664 w 6395667"/>
              <a:gd name="connsiteY7" fmla="*/ 3789530 h 5904331"/>
              <a:gd name="connsiteX8" fmla="*/ 165707 w 6395667"/>
              <a:gd name="connsiteY8" fmla="*/ 3114000 h 5904331"/>
              <a:gd name="connsiteX0" fmla="*/ 187804 w 6417764"/>
              <a:gd name="connsiteY0" fmla="*/ 3114000 h 5904331"/>
              <a:gd name="connsiteX1" fmla="*/ 3301804 w 6417764"/>
              <a:gd name="connsiteY1" fmla="*/ 0 h 5904331"/>
              <a:gd name="connsiteX2" fmla="*/ 6415804 w 6417764"/>
              <a:gd name="connsiteY2" fmla="*/ 3114000 h 5904331"/>
              <a:gd name="connsiteX3" fmla="*/ 4672572 w 6417764"/>
              <a:gd name="connsiteY3" fmla="*/ 5904331 h 5904331"/>
              <a:gd name="connsiteX4" fmla="*/ 4668943 w 6417764"/>
              <a:gd name="connsiteY4" fmla="*/ 4147888 h 5904331"/>
              <a:gd name="connsiteX5" fmla="*/ 4579275 w 6417764"/>
              <a:gd name="connsiteY5" fmla="*/ 3968895 h 5904331"/>
              <a:gd name="connsiteX6" fmla="*/ 360681 w 6417764"/>
              <a:gd name="connsiteY6" fmla="*/ 3968154 h 5904331"/>
              <a:gd name="connsiteX7" fmla="*/ 317931 w 6417764"/>
              <a:gd name="connsiteY7" fmla="*/ 3984011 h 5904331"/>
              <a:gd name="connsiteX8" fmla="*/ 187804 w 6417764"/>
              <a:gd name="connsiteY8" fmla="*/ 3114000 h 5904331"/>
              <a:gd name="connsiteX0" fmla="*/ 187804 w 6417764"/>
              <a:gd name="connsiteY0" fmla="*/ 3114000 h 5904331"/>
              <a:gd name="connsiteX1" fmla="*/ 3301804 w 6417764"/>
              <a:gd name="connsiteY1" fmla="*/ 0 h 5904331"/>
              <a:gd name="connsiteX2" fmla="*/ 6415804 w 6417764"/>
              <a:gd name="connsiteY2" fmla="*/ 3114000 h 5904331"/>
              <a:gd name="connsiteX3" fmla="*/ 4672572 w 6417764"/>
              <a:gd name="connsiteY3" fmla="*/ 5904331 h 5904331"/>
              <a:gd name="connsiteX4" fmla="*/ 4668943 w 6417764"/>
              <a:gd name="connsiteY4" fmla="*/ 4147888 h 5904331"/>
              <a:gd name="connsiteX5" fmla="*/ 4579275 w 6417764"/>
              <a:gd name="connsiteY5" fmla="*/ 3968895 h 5904331"/>
              <a:gd name="connsiteX6" fmla="*/ 360681 w 6417764"/>
              <a:gd name="connsiteY6" fmla="*/ 3968154 h 5904331"/>
              <a:gd name="connsiteX7" fmla="*/ 317931 w 6417764"/>
              <a:gd name="connsiteY7" fmla="*/ 3984011 h 5904331"/>
              <a:gd name="connsiteX8" fmla="*/ 187804 w 6417764"/>
              <a:gd name="connsiteY8" fmla="*/ 3114000 h 5904331"/>
              <a:gd name="connsiteX0" fmla="*/ 183019 w 6412979"/>
              <a:gd name="connsiteY0" fmla="*/ 3114000 h 5904331"/>
              <a:gd name="connsiteX1" fmla="*/ 3297019 w 6412979"/>
              <a:gd name="connsiteY1" fmla="*/ 0 h 5904331"/>
              <a:gd name="connsiteX2" fmla="*/ 6411019 w 6412979"/>
              <a:gd name="connsiteY2" fmla="*/ 3114000 h 5904331"/>
              <a:gd name="connsiteX3" fmla="*/ 4667787 w 6412979"/>
              <a:gd name="connsiteY3" fmla="*/ 5904331 h 5904331"/>
              <a:gd name="connsiteX4" fmla="*/ 4664158 w 6412979"/>
              <a:gd name="connsiteY4" fmla="*/ 4147888 h 5904331"/>
              <a:gd name="connsiteX5" fmla="*/ 4574490 w 6412979"/>
              <a:gd name="connsiteY5" fmla="*/ 3968895 h 5904331"/>
              <a:gd name="connsiteX6" fmla="*/ 355896 w 6412979"/>
              <a:gd name="connsiteY6" fmla="*/ 3968154 h 5904331"/>
              <a:gd name="connsiteX7" fmla="*/ 313146 w 6412979"/>
              <a:gd name="connsiteY7" fmla="*/ 3984011 h 5904331"/>
              <a:gd name="connsiteX8" fmla="*/ 183019 w 6412979"/>
              <a:gd name="connsiteY8" fmla="*/ 3114000 h 5904331"/>
              <a:gd name="connsiteX0" fmla="*/ 144151 w 6374111"/>
              <a:gd name="connsiteY0" fmla="*/ 3114000 h 5904331"/>
              <a:gd name="connsiteX1" fmla="*/ 3258151 w 6374111"/>
              <a:gd name="connsiteY1" fmla="*/ 0 h 5904331"/>
              <a:gd name="connsiteX2" fmla="*/ 6372151 w 6374111"/>
              <a:gd name="connsiteY2" fmla="*/ 3114000 h 5904331"/>
              <a:gd name="connsiteX3" fmla="*/ 4628919 w 6374111"/>
              <a:gd name="connsiteY3" fmla="*/ 5904331 h 5904331"/>
              <a:gd name="connsiteX4" fmla="*/ 4625290 w 6374111"/>
              <a:gd name="connsiteY4" fmla="*/ 4147888 h 5904331"/>
              <a:gd name="connsiteX5" fmla="*/ 4535622 w 6374111"/>
              <a:gd name="connsiteY5" fmla="*/ 3968895 h 5904331"/>
              <a:gd name="connsiteX6" fmla="*/ 317028 w 6374111"/>
              <a:gd name="connsiteY6" fmla="*/ 3968154 h 5904331"/>
              <a:gd name="connsiteX7" fmla="*/ 274278 w 6374111"/>
              <a:gd name="connsiteY7" fmla="*/ 3984011 h 5904331"/>
              <a:gd name="connsiteX8" fmla="*/ 144151 w 6374111"/>
              <a:gd name="connsiteY8" fmla="*/ 3114000 h 5904331"/>
              <a:gd name="connsiteX0" fmla="*/ 141340 w 6371300"/>
              <a:gd name="connsiteY0" fmla="*/ 3114000 h 5904331"/>
              <a:gd name="connsiteX1" fmla="*/ 3255340 w 6371300"/>
              <a:gd name="connsiteY1" fmla="*/ 0 h 5904331"/>
              <a:gd name="connsiteX2" fmla="*/ 6369340 w 6371300"/>
              <a:gd name="connsiteY2" fmla="*/ 3114000 h 5904331"/>
              <a:gd name="connsiteX3" fmla="*/ 4626108 w 6371300"/>
              <a:gd name="connsiteY3" fmla="*/ 5904331 h 5904331"/>
              <a:gd name="connsiteX4" fmla="*/ 4622479 w 6371300"/>
              <a:gd name="connsiteY4" fmla="*/ 4147888 h 5904331"/>
              <a:gd name="connsiteX5" fmla="*/ 4532811 w 6371300"/>
              <a:gd name="connsiteY5" fmla="*/ 3968895 h 5904331"/>
              <a:gd name="connsiteX6" fmla="*/ 314217 w 6371300"/>
              <a:gd name="connsiteY6" fmla="*/ 3968154 h 5904331"/>
              <a:gd name="connsiteX7" fmla="*/ 281702 w 6371300"/>
              <a:gd name="connsiteY7" fmla="*/ 3987423 h 5904331"/>
              <a:gd name="connsiteX8" fmla="*/ 141340 w 6371300"/>
              <a:gd name="connsiteY8" fmla="*/ 3114000 h 5904331"/>
              <a:gd name="connsiteX0" fmla="*/ 181 w 6230141"/>
              <a:gd name="connsiteY0" fmla="*/ 3114000 h 5904331"/>
              <a:gd name="connsiteX1" fmla="*/ 3114181 w 6230141"/>
              <a:gd name="connsiteY1" fmla="*/ 0 h 5904331"/>
              <a:gd name="connsiteX2" fmla="*/ 6228181 w 6230141"/>
              <a:gd name="connsiteY2" fmla="*/ 3114000 h 5904331"/>
              <a:gd name="connsiteX3" fmla="*/ 4484949 w 6230141"/>
              <a:gd name="connsiteY3" fmla="*/ 5904331 h 5904331"/>
              <a:gd name="connsiteX4" fmla="*/ 4481320 w 6230141"/>
              <a:gd name="connsiteY4" fmla="*/ 4147888 h 5904331"/>
              <a:gd name="connsiteX5" fmla="*/ 4391652 w 6230141"/>
              <a:gd name="connsiteY5" fmla="*/ 3968895 h 5904331"/>
              <a:gd name="connsiteX6" fmla="*/ 173058 w 6230141"/>
              <a:gd name="connsiteY6" fmla="*/ 3968154 h 5904331"/>
              <a:gd name="connsiteX7" fmla="*/ 140543 w 6230141"/>
              <a:gd name="connsiteY7" fmla="*/ 3987423 h 5904331"/>
              <a:gd name="connsiteX8" fmla="*/ 181 w 6230141"/>
              <a:gd name="connsiteY8" fmla="*/ 3114000 h 5904331"/>
              <a:gd name="connsiteX0" fmla="*/ 199 w 6230159"/>
              <a:gd name="connsiteY0" fmla="*/ 3114000 h 5904331"/>
              <a:gd name="connsiteX1" fmla="*/ 3114199 w 6230159"/>
              <a:gd name="connsiteY1" fmla="*/ 0 h 5904331"/>
              <a:gd name="connsiteX2" fmla="*/ 6228199 w 6230159"/>
              <a:gd name="connsiteY2" fmla="*/ 3114000 h 5904331"/>
              <a:gd name="connsiteX3" fmla="*/ 4484967 w 6230159"/>
              <a:gd name="connsiteY3" fmla="*/ 5904331 h 5904331"/>
              <a:gd name="connsiteX4" fmla="*/ 4481338 w 6230159"/>
              <a:gd name="connsiteY4" fmla="*/ 4147888 h 5904331"/>
              <a:gd name="connsiteX5" fmla="*/ 4391670 w 6230159"/>
              <a:gd name="connsiteY5" fmla="*/ 3968895 h 5904331"/>
              <a:gd name="connsiteX6" fmla="*/ 173076 w 6230159"/>
              <a:gd name="connsiteY6" fmla="*/ 3968154 h 5904331"/>
              <a:gd name="connsiteX7" fmla="*/ 126914 w 6230159"/>
              <a:gd name="connsiteY7" fmla="*/ 3990835 h 5904331"/>
              <a:gd name="connsiteX8" fmla="*/ 199 w 6230159"/>
              <a:gd name="connsiteY8" fmla="*/ 3114000 h 5904331"/>
              <a:gd name="connsiteX0" fmla="*/ 199 w 6230159"/>
              <a:gd name="connsiteY0" fmla="*/ 3114000 h 5904331"/>
              <a:gd name="connsiteX1" fmla="*/ 3114199 w 6230159"/>
              <a:gd name="connsiteY1" fmla="*/ 0 h 5904331"/>
              <a:gd name="connsiteX2" fmla="*/ 6228199 w 6230159"/>
              <a:gd name="connsiteY2" fmla="*/ 3114000 h 5904331"/>
              <a:gd name="connsiteX3" fmla="*/ 4484967 w 6230159"/>
              <a:gd name="connsiteY3" fmla="*/ 5904331 h 5904331"/>
              <a:gd name="connsiteX4" fmla="*/ 4481338 w 6230159"/>
              <a:gd name="connsiteY4" fmla="*/ 4147888 h 5904331"/>
              <a:gd name="connsiteX5" fmla="*/ 4391670 w 6230159"/>
              <a:gd name="connsiteY5" fmla="*/ 3968895 h 5904331"/>
              <a:gd name="connsiteX6" fmla="*/ 173076 w 6230159"/>
              <a:gd name="connsiteY6" fmla="*/ 3968154 h 5904331"/>
              <a:gd name="connsiteX7" fmla="*/ 126914 w 6230159"/>
              <a:gd name="connsiteY7" fmla="*/ 3990835 h 5904331"/>
              <a:gd name="connsiteX8" fmla="*/ 199 w 6230159"/>
              <a:gd name="connsiteY8" fmla="*/ 3114000 h 5904331"/>
              <a:gd name="connsiteX0" fmla="*/ 199 w 6230159"/>
              <a:gd name="connsiteY0" fmla="*/ 3114000 h 5904331"/>
              <a:gd name="connsiteX1" fmla="*/ 3114199 w 6230159"/>
              <a:gd name="connsiteY1" fmla="*/ 0 h 5904331"/>
              <a:gd name="connsiteX2" fmla="*/ 6228199 w 6230159"/>
              <a:gd name="connsiteY2" fmla="*/ 3114000 h 5904331"/>
              <a:gd name="connsiteX3" fmla="*/ 4484967 w 6230159"/>
              <a:gd name="connsiteY3" fmla="*/ 5904331 h 5904331"/>
              <a:gd name="connsiteX4" fmla="*/ 4481338 w 6230159"/>
              <a:gd name="connsiteY4" fmla="*/ 4147888 h 5904331"/>
              <a:gd name="connsiteX5" fmla="*/ 4391670 w 6230159"/>
              <a:gd name="connsiteY5" fmla="*/ 3968895 h 5904331"/>
              <a:gd name="connsiteX6" fmla="*/ 194243 w 6230159"/>
              <a:gd name="connsiteY6" fmla="*/ 3968154 h 5904331"/>
              <a:gd name="connsiteX7" fmla="*/ 126914 w 6230159"/>
              <a:gd name="connsiteY7" fmla="*/ 3990835 h 5904331"/>
              <a:gd name="connsiteX8" fmla="*/ 199 w 6230159"/>
              <a:gd name="connsiteY8" fmla="*/ 3114000 h 5904331"/>
              <a:gd name="connsiteX0" fmla="*/ 199 w 6228217"/>
              <a:gd name="connsiteY0" fmla="*/ 3114000 h 5904331"/>
              <a:gd name="connsiteX1" fmla="*/ 3114199 w 6228217"/>
              <a:gd name="connsiteY1" fmla="*/ 0 h 5904331"/>
              <a:gd name="connsiteX2" fmla="*/ 6228199 w 6228217"/>
              <a:gd name="connsiteY2" fmla="*/ 3114000 h 5904331"/>
              <a:gd name="connsiteX3" fmla="*/ 4484967 w 6228217"/>
              <a:gd name="connsiteY3" fmla="*/ 5904331 h 5904331"/>
              <a:gd name="connsiteX4" fmla="*/ 4481338 w 6228217"/>
              <a:gd name="connsiteY4" fmla="*/ 4147888 h 5904331"/>
              <a:gd name="connsiteX5" fmla="*/ 4391670 w 6228217"/>
              <a:gd name="connsiteY5" fmla="*/ 3968895 h 5904331"/>
              <a:gd name="connsiteX6" fmla="*/ 194243 w 6228217"/>
              <a:gd name="connsiteY6" fmla="*/ 3968154 h 5904331"/>
              <a:gd name="connsiteX7" fmla="*/ 126914 w 6228217"/>
              <a:gd name="connsiteY7" fmla="*/ 3990835 h 5904331"/>
              <a:gd name="connsiteX8" fmla="*/ 199 w 6228217"/>
              <a:gd name="connsiteY8" fmla="*/ 3114000 h 5904331"/>
              <a:gd name="connsiteX0" fmla="*/ 199 w 6228217"/>
              <a:gd name="connsiteY0" fmla="*/ 3114000 h 5904331"/>
              <a:gd name="connsiteX1" fmla="*/ 3114199 w 6228217"/>
              <a:gd name="connsiteY1" fmla="*/ 0 h 5904331"/>
              <a:gd name="connsiteX2" fmla="*/ 6228199 w 6228217"/>
              <a:gd name="connsiteY2" fmla="*/ 3114000 h 5904331"/>
              <a:gd name="connsiteX3" fmla="*/ 4484967 w 6228217"/>
              <a:gd name="connsiteY3" fmla="*/ 5904331 h 5904331"/>
              <a:gd name="connsiteX4" fmla="*/ 4481338 w 6228217"/>
              <a:gd name="connsiteY4" fmla="*/ 4147888 h 5904331"/>
              <a:gd name="connsiteX5" fmla="*/ 4391670 w 6228217"/>
              <a:gd name="connsiteY5" fmla="*/ 3968895 h 5904331"/>
              <a:gd name="connsiteX6" fmla="*/ 194243 w 6228217"/>
              <a:gd name="connsiteY6" fmla="*/ 3968154 h 5904331"/>
              <a:gd name="connsiteX7" fmla="*/ 126914 w 6228217"/>
              <a:gd name="connsiteY7" fmla="*/ 3990835 h 5904331"/>
              <a:gd name="connsiteX8" fmla="*/ 199 w 6228217"/>
              <a:gd name="connsiteY8" fmla="*/ 3114000 h 5904331"/>
              <a:gd name="connsiteX0" fmla="*/ 199 w 6228217"/>
              <a:gd name="connsiteY0" fmla="*/ 3114000 h 5904331"/>
              <a:gd name="connsiteX1" fmla="*/ 3114199 w 6228217"/>
              <a:gd name="connsiteY1" fmla="*/ 0 h 5904331"/>
              <a:gd name="connsiteX2" fmla="*/ 6228199 w 6228217"/>
              <a:gd name="connsiteY2" fmla="*/ 3114000 h 5904331"/>
              <a:gd name="connsiteX3" fmla="*/ 4484967 w 6228217"/>
              <a:gd name="connsiteY3" fmla="*/ 5904331 h 5904331"/>
              <a:gd name="connsiteX4" fmla="*/ 4481338 w 6228217"/>
              <a:gd name="connsiteY4" fmla="*/ 4147888 h 5904331"/>
              <a:gd name="connsiteX5" fmla="*/ 4391670 w 6228217"/>
              <a:gd name="connsiteY5" fmla="*/ 3968895 h 5904331"/>
              <a:gd name="connsiteX6" fmla="*/ 194243 w 6228217"/>
              <a:gd name="connsiteY6" fmla="*/ 3968154 h 5904331"/>
              <a:gd name="connsiteX7" fmla="*/ 126914 w 6228217"/>
              <a:gd name="connsiteY7" fmla="*/ 3990835 h 5904331"/>
              <a:gd name="connsiteX8" fmla="*/ 199 w 6228217"/>
              <a:gd name="connsiteY8" fmla="*/ 3114000 h 5904331"/>
              <a:gd name="connsiteX0" fmla="*/ 199 w 6228216"/>
              <a:gd name="connsiteY0" fmla="*/ 3114000 h 5904331"/>
              <a:gd name="connsiteX1" fmla="*/ 3114199 w 6228216"/>
              <a:gd name="connsiteY1" fmla="*/ 0 h 5904331"/>
              <a:gd name="connsiteX2" fmla="*/ 6228199 w 6228216"/>
              <a:gd name="connsiteY2" fmla="*/ 3114000 h 5904331"/>
              <a:gd name="connsiteX3" fmla="*/ 4474456 w 6228216"/>
              <a:gd name="connsiteY3" fmla="*/ 5904331 h 5904331"/>
              <a:gd name="connsiteX4" fmla="*/ 4481338 w 6228216"/>
              <a:gd name="connsiteY4" fmla="*/ 4147888 h 5904331"/>
              <a:gd name="connsiteX5" fmla="*/ 4391670 w 6228216"/>
              <a:gd name="connsiteY5" fmla="*/ 3968895 h 5904331"/>
              <a:gd name="connsiteX6" fmla="*/ 194243 w 6228216"/>
              <a:gd name="connsiteY6" fmla="*/ 3968154 h 5904331"/>
              <a:gd name="connsiteX7" fmla="*/ 126914 w 6228216"/>
              <a:gd name="connsiteY7" fmla="*/ 3990835 h 5904331"/>
              <a:gd name="connsiteX8" fmla="*/ 199 w 6228216"/>
              <a:gd name="connsiteY8" fmla="*/ 3114000 h 5904331"/>
              <a:gd name="connsiteX0" fmla="*/ 199 w 6228216"/>
              <a:gd name="connsiteY0" fmla="*/ 3114000 h 5915833"/>
              <a:gd name="connsiteX1" fmla="*/ 3114199 w 6228216"/>
              <a:gd name="connsiteY1" fmla="*/ 0 h 5915833"/>
              <a:gd name="connsiteX2" fmla="*/ 6228199 w 6228216"/>
              <a:gd name="connsiteY2" fmla="*/ 3114000 h 5915833"/>
              <a:gd name="connsiteX3" fmla="*/ 4480207 w 6228216"/>
              <a:gd name="connsiteY3" fmla="*/ 5915833 h 5915833"/>
              <a:gd name="connsiteX4" fmla="*/ 4481338 w 6228216"/>
              <a:gd name="connsiteY4" fmla="*/ 4147888 h 5915833"/>
              <a:gd name="connsiteX5" fmla="*/ 4391670 w 6228216"/>
              <a:gd name="connsiteY5" fmla="*/ 3968895 h 5915833"/>
              <a:gd name="connsiteX6" fmla="*/ 194243 w 6228216"/>
              <a:gd name="connsiteY6" fmla="*/ 3968154 h 5915833"/>
              <a:gd name="connsiteX7" fmla="*/ 126914 w 6228216"/>
              <a:gd name="connsiteY7" fmla="*/ 3990835 h 5915833"/>
              <a:gd name="connsiteX8" fmla="*/ 199 w 6228216"/>
              <a:gd name="connsiteY8" fmla="*/ 3114000 h 5915833"/>
              <a:gd name="connsiteX0" fmla="*/ 199 w 6228216"/>
              <a:gd name="connsiteY0" fmla="*/ 3114000 h 5927335"/>
              <a:gd name="connsiteX1" fmla="*/ 3114199 w 6228216"/>
              <a:gd name="connsiteY1" fmla="*/ 0 h 5927335"/>
              <a:gd name="connsiteX2" fmla="*/ 6228199 w 6228216"/>
              <a:gd name="connsiteY2" fmla="*/ 3114000 h 5927335"/>
              <a:gd name="connsiteX3" fmla="*/ 4480207 w 6228216"/>
              <a:gd name="connsiteY3" fmla="*/ 5927335 h 5927335"/>
              <a:gd name="connsiteX4" fmla="*/ 4481338 w 6228216"/>
              <a:gd name="connsiteY4" fmla="*/ 4147888 h 5927335"/>
              <a:gd name="connsiteX5" fmla="*/ 4391670 w 6228216"/>
              <a:gd name="connsiteY5" fmla="*/ 3968895 h 5927335"/>
              <a:gd name="connsiteX6" fmla="*/ 194243 w 6228216"/>
              <a:gd name="connsiteY6" fmla="*/ 3968154 h 5927335"/>
              <a:gd name="connsiteX7" fmla="*/ 126914 w 6228216"/>
              <a:gd name="connsiteY7" fmla="*/ 3990835 h 5927335"/>
              <a:gd name="connsiteX8" fmla="*/ 199 w 6228216"/>
              <a:gd name="connsiteY8" fmla="*/ 3114000 h 5927335"/>
              <a:gd name="connsiteX0" fmla="*/ 199 w 6228216"/>
              <a:gd name="connsiteY0" fmla="*/ 3114000 h 5927335"/>
              <a:gd name="connsiteX1" fmla="*/ 3114199 w 6228216"/>
              <a:gd name="connsiteY1" fmla="*/ 0 h 5927335"/>
              <a:gd name="connsiteX2" fmla="*/ 6228199 w 6228216"/>
              <a:gd name="connsiteY2" fmla="*/ 3114000 h 5927335"/>
              <a:gd name="connsiteX3" fmla="*/ 4480207 w 6228216"/>
              <a:gd name="connsiteY3" fmla="*/ 5927335 h 5927335"/>
              <a:gd name="connsiteX4" fmla="*/ 4481338 w 6228216"/>
              <a:gd name="connsiteY4" fmla="*/ 4147888 h 5927335"/>
              <a:gd name="connsiteX5" fmla="*/ 4391670 w 6228216"/>
              <a:gd name="connsiteY5" fmla="*/ 3968895 h 5927335"/>
              <a:gd name="connsiteX6" fmla="*/ 194243 w 6228216"/>
              <a:gd name="connsiteY6" fmla="*/ 3968154 h 5927335"/>
              <a:gd name="connsiteX7" fmla="*/ 126914 w 6228216"/>
              <a:gd name="connsiteY7" fmla="*/ 3990835 h 5927335"/>
              <a:gd name="connsiteX8" fmla="*/ 199 w 6228216"/>
              <a:gd name="connsiteY8" fmla="*/ 3114000 h 5927335"/>
              <a:gd name="connsiteX0" fmla="*/ 199 w 6228216"/>
              <a:gd name="connsiteY0" fmla="*/ 3114000 h 5927335"/>
              <a:gd name="connsiteX1" fmla="*/ 3114199 w 6228216"/>
              <a:gd name="connsiteY1" fmla="*/ 0 h 5927335"/>
              <a:gd name="connsiteX2" fmla="*/ 6228199 w 6228216"/>
              <a:gd name="connsiteY2" fmla="*/ 3114000 h 5927335"/>
              <a:gd name="connsiteX3" fmla="*/ 4476649 w 6228216"/>
              <a:gd name="connsiteY3" fmla="*/ 5927335 h 5927335"/>
              <a:gd name="connsiteX4" fmla="*/ 4481338 w 6228216"/>
              <a:gd name="connsiteY4" fmla="*/ 4147888 h 5927335"/>
              <a:gd name="connsiteX5" fmla="*/ 4391670 w 6228216"/>
              <a:gd name="connsiteY5" fmla="*/ 3968895 h 5927335"/>
              <a:gd name="connsiteX6" fmla="*/ 194243 w 6228216"/>
              <a:gd name="connsiteY6" fmla="*/ 3968154 h 5927335"/>
              <a:gd name="connsiteX7" fmla="*/ 126914 w 6228216"/>
              <a:gd name="connsiteY7" fmla="*/ 3990835 h 5927335"/>
              <a:gd name="connsiteX8" fmla="*/ 199 w 6228216"/>
              <a:gd name="connsiteY8" fmla="*/ 3114000 h 5927335"/>
              <a:gd name="connsiteX0" fmla="*/ 199 w 6228217"/>
              <a:gd name="connsiteY0" fmla="*/ 3114000 h 5927335"/>
              <a:gd name="connsiteX1" fmla="*/ 3114199 w 6228217"/>
              <a:gd name="connsiteY1" fmla="*/ 0 h 5927335"/>
              <a:gd name="connsiteX2" fmla="*/ 6228199 w 6228217"/>
              <a:gd name="connsiteY2" fmla="*/ 3114000 h 5927335"/>
              <a:gd name="connsiteX3" fmla="*/ 4476649 w 6228217"/>
              <a:gd name="connsiteY3" fmla="*/ 5927335 h 5927335"/>
              <a:gd name="connsiteX4" fmla="*/ 4481338 w 6228217"/>
              <a:gd name="connsiteY4" fmla="*/ 4147888 h 5927335"/>
              <a:gd name="connsiteX5" fmla="*/ 4391670 w 6228217"/>
              <a:gd name="connsiteY5" fmla="*/ 3968895 h 5927335"/>
              <a:gd name="connsiteX6" fmla="*/ 194243 w 6228217"/>
              <a:gd name="connsiteY6" fmla="*/ 3968154 h 5927335"/>
              <a:gd name="connsiteX7" fmla="*/ 126914 w 6228217"/>
              <a:gd name="connsiteY7" fmla="*/ 3990835 h 5927335"/>
              <a:gd name="connsiteX8" fmla="*/ 199 w 6228217"/>
              <a:gd name="connsiteY8" fmla="*/ 3114000 h 5927335"/>
              <a:gd name="connsiteX0" fmla="*/ 199 w 6228217"/>
              <a:gd name="connsiteY0" fmla="*/ 3114000 h 5927335"/>
              <a:gd name="connsiteX1" fmla="*/ 3114199 w 6228217"/>
              <a:gd name="connsiteY1" fmla="*/ 0 h 5927335"/>
              <a:gd name="connsiteX2" fmla="*/ 6228199 w 6228217"/>
              <a:gd name="connsiteY2" fmla="*/ 3114000 h 5927335"/>
              <a:gd name="connsiteX3" fmla="*/ 4494439 w 6228217"/>
              <a:gd name="connsiteY3" fmla="*/ 5927335 h 5927335"/>
              <a:gd name="connsiteX4" fmla="*/ 4481338 w 6228217"/>
              <a:gd name="connsiteY4" fmla="*/ 4147888 h 5927335"/>
              <a:gd name="connsiteX5" fmla="*/ 4391670 w 6228217"/>
              <a:gd name="connsiteY5" fmla="*/ 3968895 h 5927335"/>
              <a:gd name="connsiteX6" fmla="*/ 194243 w 6228217"/>
              <a:gd name="connsiteY6" fmla="*/ 3968154 h 5927335"/>
              <a:gd name="connsiteX7" fmla="*/ 126914 w 6228217"/>
              <a:gd name="connsiteY7" fmla="*/ 3990835 h 5927335"/>
              <a:gd name="connsiteX8" fmla="*/ 199 w 6228217"/>
              <a:gd name="connsiteY8" fmla="*/ 3114000 h 5927335"/>
              <a:gd name="connsiteX0" fmla="*/ 199 w 6228217"/>
              <a:gd name="connsiteY0" fmla="*/ 3114000 h 5927335"/>
              <a:gd name="connsiteX1" fmla="*/ 3114199 w 6228217"/>
              <a:gd name="connsiteY1" fmla="*/ 0 h 5927335"/>
              <a:gd name="connsiteX2" fmla="*/ 6228199 w 6228217"/>
              <a:gd name="connsiteY2" fmla="*/ 3114000 h 5927335"/>
              <a:gd name="connsiteX3" fmla="*/ 4480207 w 6228217"/>
              <a:gd name="connsiteY3" fmla="*/ 5927335 h 5927335"/>
              <a:gd name="connsiteX4" fmla="*/ 4481338 w 6228217"/>
              <a:gd name="connsiteY4" fmla="*/ 4147888 h 5927335"/>
              <a:gd name="connsiteX5" fmla="*/ 4391670 w 6228217"/>
              <a:gd name="connsiteY5" fmla="*/ 3968895 h 5927335"/>
              <a:gd name="connsiteX6" fmla="*/ 194243 w 6228217"/>
              <a:gd name="connsiteY6" fmla="*/ 3968154 h 5927335"/>
              <a:gd name="connsiteX7" fmla="*/ 126914 w 6228217"/>
              <a:gd name="connsiteY7" fmla="*/ 3990835 h 5927335"/>
              <a:gd name="connsiteX8" fmla="*/ 199 w 6228217"/>
              <a:gd name="connsiteY8" fmla="*/ 3114000 h 5927335"/>
              <a:gd name="connsiteX0" fmla="*/ 199 w 6228217"/>
              <a:gd name="connsiteY0" fmla="*/ 3114000 h 5952241"/>
              <a:gd name="connsiteX1" fmla="*/ 3114199 w 6228217"/>
              <a:gd name="connsiteY1" fmla="*/ 0 h 5952241"/>
              <a:gd name="connsiteX2" fmla="*/ 6228199 w 6228217"/>
              <a:gd name="connsiteY2" fmla="*/ 3114000 h 5952241"/>
              <a:gd name="connsiteX3" fmla="*/ 4476649 w 6228217"/>
              <a:gd name="connsiteY3" fmla="*/ 5952241 h 5952241"/>
              <a:gd name="connsiteX4" fmla="*/ 4481338 w 6228217"/>
              <a:gd name="connsiteY4" fmla="*/ 4147888 h 5952241"/>
              <a:gd name="connsiteX5" fmla="*/ 4391670 w 6228217"/>
              <a:gd name="connsiteY5" fmla="*/ 3968895 h 5952241"/>
              <a:gd name="connsiteX6" fmla="*/ 194243 w 6228217"/>
              <a:gd name="connsiteY6" fmla="*/ 3968154 h 5952241"/>
              <a:gd name="connsiteX7" fmla="*/ 126914 w 6228217"/>
              <a:gd name="connsiteY7" fmla="*/ 3990835 h 5952241"/>
              <a:gd name="connsiteX8" fmla="*/ 199 w 6228217"/>
              <a:gd name="connsiteY8" fmla="*/ 3114000 h 5952241"/>
              <a:gd name="connsiteX0" fmla="*/ 199 w 6228216"/>
              <a:gd name="connsiteY0" fmla="*/ 3114000 h 5977146"/>
              <a:gd name="connsiteX1" fmla="*/ 3114199 w 6228216"/>
              <a:gd name="connsiteY1" fmla="*/ 0 h 5977146"/>
              <a:gd name="connsiteX2" fmla="*/ 6228199 w 6228216"/>
              <a:gd name="connsiteY2" fmla="*/ 3114000 h 5977146"/>
              <a:gd name="connsiteX3" fmla="*/ 4469533 w 6228216"/>
              <a:gd name="connsiteY3" fmla="*/ 5977146 h 5977146"/>
              <a:gd name="connsiteX4" fmla="*/ 4481338 w 6228216"/>
              <a:gd name="connsiteY4" fmla="*/ 4147888 h 5977146"/>
              <a:gd name="connsiteX5" fmla="*/ 4391670 w 6228216"/>
              <a:gd name="connsiteY5" fmla="*/ 3968895 h 5977146"/>
              <a:gd name="connsiteX6" fmla="*/ 194243 w 6228216"/>
              <a:gd name="connsiteY6" fmla="*/ 3968154 h 5977146"/>
              <a:gd name="connsiteX7" fmla="*/ 126914 w 6228216"/>
              <a:gd name="connsiteY7" fmla="*/ 3990835 h 5977146"/>
              <a:gd name="connsiteX8" fmla="*/ 199 w 6228216"/>
              <a:gd name="connsiteY8" fmla="*/ 3114000 h 5977146"/>
              <a:gd name="connsiteX0" fmla="*/ 199 w 6228216"/>
              <a:gd name="connsiteY0" fmla="*/ 3114000 h 5927335"/>
              <a:gd name="connsiteX1" fmla="*/ 3114199 w 6228216"/>
              <a:gd name="connsiteY1" fmla="*/ 0 h 5927335"/>
              <a:gd name="connsiteX2" fmla="*/ 6228199 w 6228216"/>
              <a:gd name="connsiteY2" fmla="*/ 3114000 h 5927335"/>
              <a:gd name="connsiteX3" fmla="*/ 4473091 w 6228216"/>
              <a:gd name="connsiteY3" fmla="*/ 5927335 h 5927335"/>
              <a:gd name="connsiteX4" fmla="*/ 4481338 w 6228216"/>
              <a:gd name="connsiteY4" fmla="*/ 4147888 h 5927335"/>
              <a:gd name="connsiteX5" fmla="*/ 4391670 w 6228216"/>
              <a:gd name="connsiteY5" fmla="*/ 3968895 h 5927335"/>
              <a:gd name="connsiteX6" fmla="*/ 194243 w 6228216"/>
              <a:gd name="connsiteY6" fmla="*/ 3968154 h 5927335"/>
              <a:gd name="connsiteX7" fmla="*/ 126914 w 6228216"/>
              <a:gd name="connsiteY7" fmla="*/ 3990835 h 5927335"/>
              <a:gd name="connsiteX8" fmla="*/ 199 w 6228216"/>
              <a:gd name="connsiteY8" fmla="*/ 3114000 h 5927335"/>
              <a:gd name="connsiteX0" fmla="*/ 199 w 6228216"/>
              <a:gd name="connsiteY0" fmla="*/ 3114000 h 5927335"/>
              <a:gd name="connsiteX1" fmla="*/ 3114199 w 6228216"/>
              <a:gd name="connsiteY1" fmla="*/ 0 h 5927335"/>
              <a:gd name="connsiteX2" fmla="*/ 6228199 w 6228216"/>
              <a:gd name="connsiteY2" fmla="*/ 3114000 h 5927335"/>
              <a:gd name="connsiteX3" fmla="*/ 4473091 w 6228216"/>
              <a:gd name="connsiteY3" fmla="*/ 5927335 h 5927335"/>
              <a:gd name="connsiteX4" fmla="*/ 4481338 w 6228216"/>
              <a:gd name="connsiteY4" fmla="*/ 4147888 h 5927335"/>
              <a:gd name="connsiteX5" fmla="*/ 4391670 w 6228216"/>
              <a:gd name="connsiteY5" fmla="*/ 3968895 h 5927335"/>
              <a:gd name="connsiteX6" fmla="*/ 194243 w 6228216"/>
              <a:gd name="connsiteY6" fmla="*/ 3968154 h 5927335"/>
              <a:gd name="connsiteX7" fmla="*/ 126914 w 6228216"/>
              <a:gd name="connsiteY7" fmla="*/ 3990835 h 5927335"/>
              <a:gd name="connsiteX8" fmla="*/ 199 w 6228216"/>
              <a:gd name="connsiteY8" fmla="*/ 3114000 h 5927335"/>
              <a:gd name="connsiteX0" fmla="*/ 199 w 6228215"/>
              <a:gd name="connsiteY0" fmla="*/ 3114000 h 5927335"/>
              <a:gd name="connsiteX1" fmla="*/ 3114199 w 6228215"/>
              <a:gd name="connsiteY1" fmla="*/ 0 h 5927335"/>
              <a:gd name="connsiteX2" fmla="*/ 6228199 w 6228215"/>
              <a:gd name="connsiteY2" fmla="*/ 3114000 h 5927335"/>
              <a:gd name="connsiteX3" fmla="*/ 4473091 w 6228215"/>
              <a:gd name="connsiteY3" fmla="*/ 5927335 h 5927335"/>
              <a:gd name="connsiteX4" fmla="*/ 4481338 w 6228215"/>
              <a:gd name="connsiteY4" fmla="*/ 4147888 h 5927335"/>
              <a:gd name="connsiteX5" fmla="*/ 4391670 w 6228215"/>
              <a:gd name="connsiteY5" fmla="*/ 3968895 h 5927335"/>
              <a:gd name="connsiteX6" fmla="*/ 194243 w 6228215"/>
              <a:gd name="connsiteY6" fmla="*/ 3968154 h 5927335"/>
              <a:gd name="connsiteX7" fmla="*/ 126914 w 6228215"/>
              <a:gd name="connsiteY7" fmla="*/ 3990835 h 5927335"/>
              <a:gd name="connsiteX8" fmla="*/ 199 w 6228215"/>
              <a:gd name="connsiteY8" fmla="*/ 3114000 h 5927335"/>
              <a:gd name="connsiteX0" fmla="*/ 199 w 6228216"/>
              <a:gd name="connsiteY0" fmla="*/ 3114000 h 5911748"/>
              <a:gd name="connsiteX1" fmla="*/ 3114199 w 6228216"/>
              <a:gd name="connsiteY1" fmla="*/ 0 h 5911748"/>
              <a:gd name="connsiteX2" fmla="*/ 6228199 w 6228216"/>
              <a:gd name="connsiteY2" fmla="*/ 3114000 h 5911748"/>
              <a:gd name="connsiteX3" fmla="*/ 4483482 w 6228216"/>
              <a:gd name="connsiteY3" fmla="*/ 5911748 h 5911748"/>
              <a:gd name="connsiteX4" fmla="*/ 4481338 w 6228216"/>
              <a:gd name="connsiteY4" fmla="*/ 4147888 h 5911748"/>
              <a:gd name="connsiteX5" fmla="*/ 4391670 w 6228216"/>
              <a:gd name="connsiteY5" fmla="*/ 3968895 h 5911748"/>
              <a:gd name="connsiteX6" fmla="*/ 194243 w 6228216"/>
              <a:gd name="connsiteY6" fmla="*/ 3968154 h 5911748"/>
              <a:gd name="connsiteX7" fmla="*/ 126914 w 6228216"/>
              <a:gd name="connsiteY7" fmla="*/ 3990835 h 5911748"/>
              <a:gd name="connsiteX8" fmla="*/ 199 w 6228216"/>
              <a:gd name="connsiteY8" fmla="*/ 3114000 h 5911748"/>
              <a:gd name="connsiteX0" fmla="*/ 199 w 6228216"/>
              <a:gd name="connsiteY0" fmla="*/ 3114000 h 5896162"/>
              <a:gd name="connsiteX1" fmla="*/ 3114199 w 6228216"/>
              <a:gd name="connsiteY1" fmla="*/ 0 h 5896162"/>
              <a:gd name="connsiteX2" fmla="*/ 6228199 w 6228216"/>
              <a:gd name="connsiteY2" fmla="*/ 3114000 h 5896162"/>
              <a:gd name="connsiteX3" fmla="*/ 4483482 w 6228216"/>
              <a:gd name="connsiteY3" fmla="*/ 5896162 h 5896162"/>
              <a:gd name="connsiteX4" fmla="*/ 4481338 w 6228216"/>
              <a:gd name="connsiteY4" fmla="*/ 4147888 h 5896162"/>
              <a:gd name="connsiteX5" fmla="*/ 4391670 w 6228216"/>
              <a:gd name="connsiteY5" fmla="*/ 3968895 h 5896162"/>
              <a:gd name="connsiteX6" fmla="*/ 194243 w 6228216"/>
              <a:gd name="connsiteY6" fmla="*/ 3968154 h 5896162"/>
              <a:gd name="connsiteX7" fmla="*/ 126914 w 6228216"/>
              <a:gd name="connsiteY7" fmla="*/ 3990835 h 5896162"/>
              <a:gd name="connsiteX8" fmla="*/ 199 w 6228216"/>
              <a:gd name="connsiteY8" fmla="*/ 3114000 h 5896162"/>
              <a:gd name="connsiteX0" fmla="*/ 199 w 6228216"/>
              <a:gd name="connsiteY0" fmla="*/ 3114000 h 5880575"/>
              <a:gd name="connsiteX1" fmla="*/ 3114199 w 6228216"/>
              <a:gd name="connsiteY1" fmla="*/ 0 h 5880575"/>
              <a:gd name="connsiteX2" fmla="*/ 6228199 w 6228216"/>
              <a:gd name="connsiteY2" fmla="*/ 3114000 h 5880575"/>
              <a:gd name="connsiteX3" fmla="*/ 4488677 w 6228216"/>
              <a:gd name="connsiteY3" fmla="*/ 5880575 h 5880575"/>
              <a:gd name="connsiteX4" fmla="*/ 4481338 w 6228216"/>
              <a:gd name="connsiteY4" fmla="*/ 4147888 h 5880575"/>
              <a:gd name="connsiteX5" fmla="*/ 4391670 w 6228216"/>
              <a:gd name="connsiteY5" fmla="*/ 3968895 h 5880575"/>
              <a:gd name="connsiteX6" fmla="*/ 194243 w 6228216"/>
              <a:gd name="connsiteY6" fmla="*/ 3968154 h 5880575"/>
              <a:gd name="connsiteX7" fmla="*/ 126914 w 6228216"/>
              <a:gd name="connsiteY7" fmla="*/ 3990835 h 5880575"/>
              <a:gd name="connsiteX8" fmla="*/ 199 w 6228216"/>
              <a:gd name="connsiteY8" fmla="*/ 3114000 h 5880575"/>
              <a:gd name="connsiteX0" fmla="*/ 199 w 6228216"/>
              <a:gd name="connsiteY0" fmla="*/ 3114000 h 5890966"/>
              <a:gd name="connsiteX1" fmla="*/ 3114199 w 6228216"/>
              <a:gd name="connsiteY1" fmla="*/ 0 h 5890966"/>
              <a:gd name="connsiteX2" fmla="*/ 6228199 w 6228216"/>
              <a:gd name="connsiteY2" fmla="*/ 3114000 h 5890966"/>
              <a:gd name="connsiteX3" fmla="*/ 4483481 w 6228216"/>
              <a:gd name="connsiteY3" fmla="*/ 5890966 h 5890966"/>
              <a:gd name="connsiteX4" fmla="*/ 4481338 w 6228216"/>
              <a:gd name="connsiteY4" fmla="*/ 4147888 h 5890966"/>
              <a:gd name="connsiteX5" fmla="*/ 4391670 w 6228216"/>
              <a:gd name="connsiteY5" fmla="*/ 3968895 h 5890966"/>
              <a:gd name="connsiteX6" fmla="*/ 194243 w 6228216"/>
              <a:gd name="connsiteY6" fmla="*/ 3968154 h 5890966"/>
              <a:gd name="connsiteX7" fmla="*/ 126914 w 6228216"/>
              <a:gd name="connsiteY7" fmla="*/ 3990835 h 5890966"/>
              <a:gd name="connsiteX8" fmla="*/ 199 w 6228216"/>
              <a:gd name="connsiteY8" fmla="*/ 3114000 h 5890966"/>
              <a:gd name="connsiteX0" fmla="*/ 207 w 6228224"/>
              <a:gd name="connsiteY0" fmla="*/ 3114000 h 5890966"/>
              <a:gd name="connsiteX1" fmla="*/ 3114207 w 6228224"/>
              <a:gd name="connsiteY1" fmla="*/ 0 h 5890966"/>
              <a:gd name="connsiteX2" fmla="*/ 6228207 w 6228224"/>
              <a:gd name="connsiteY2" fmla="*/ 3114000 h 5890966"/>
              <a:gd name="connsiteX3" fmla="*/ 4483489 w 6228224"/>
              <a:gd name="connsiteY3" fmla="*/ 5890966 h 5890966"/>
              <a:gd name="connsiteX4" fmla="*/ 4481346 w 6228224"/>
              <a:gd name="connsiteY4" fmla="*/ 4147888 h 5890966"/>
              <a:gd name="connsiteX5" fmla="*/ 4391678 w 6228224"/>
              <a:gd name="connsiteY5" fmla="*/ 3968895 h 5890966"/>
              <a:gd name="connsiteX6" fmla="*/ 194251 w 6228224"/>
              <a:gd name="connsiteY6" fmla="*/ 3968154 h 5890966"/>
              <a:gd name="connsiteX7" fmla="*/ 121726 w 6228224"/>
              <a:gd name="connsiteY7" fmla="*/ 3970053 h 5890966"/>
              <a:gd name="connsiteX8" fmla="*/ 207 w 6228224"/>
              <a:gd name="connsiteY8" fmla="*/ 3114000 h 5890966"/>
              <a:gd name="connsiteX0" fmla="*/ 207 w 6228224"/>
              <a:gd name="connsiteY0" fmla="*/ 3114000 h 5890966"/>
              <a:gd name="connsiteX1" fmla="*/ 3114207 w 6228224"/>
              <a:gd name="connsiteY1" fmla="*/ 0 h 5890966"/>
              <a:gd name="connsiteX2" fmla="*/ 6228207 w 6228224"/>
              <a:gd name="connsiteY2" fmla="*/ 3114000 h 5890966"/>
              <a:gd name="connsiteX3" fmla="*/ 4483489 w 6228224"/>
              <a:gd name="connsiteY3" fmla="*/ 5890966 h 5890966"/>
              <a:gd name="connsiteX4" fmla="*/ 4481346 w 6228224"/>
              <a:gd name="connsiteY4" fmla="*/ 4147888 h 5890966"/>
              <a:gd name="connsiteX5" fmla="*/ 4391678 w 6228224"/>
              <a:gd name="connsiteY5" fmla="*/ 3968895 h 5890966"/>
              <a:gd name="connsiteX6" fmla="*/ 199447 w 6228224"/>
              <a:gd name="connsiteY6" fmla="*/ 3947372 h 5890966"/>
              <a:gd name="connsiteX7" fmla="*/ 121726 w 6228224"/>
              <a:gd name="connsiteY7" fmla="*/ 3970053 h 5890966"/>
              <a:gd name="connsiteX8" fmla="*/ 207 w 6228224"/>
              <a:gd name="connsiteY8" fmla="*/ 3114000 h 5890966"/>
              <a:gd name="connsiteX0" fmla="*/ 207 w 6228224"/>
              <a:gd name="connsiteY0" fmla="*/ 3114000 h 5890966"/>
              <a:gd name="connsiteX1" fmla="*/ 3114207 w 6228224"/>
              <a:gd name="connsiteY1" fmla="*/ 0 h 5890966"/>
              <a:gd name="connsiteX2" fmla="*/ 6228207 w 6228224"/>
              <a:gd name="connsiteY2" fmla="*/ 3114000 h 5890966"/>
              <a:gd name="connsiteX3" fmla="*/ 4483489 w 6228224"/>
              <a:gd name="connsiteY3" fmla="*/ 5890966 h 5890966"/>
              <a:gd name="connsiteX4" fmla="*/ 4481346 w 6228224"/>
              <a:gd name="connsiteY4" fmla="*/ 4147888 h 5890966"/>
              <a:gd name="connsiteX5" fmla="*/ 4370896 w 6228224"/>
              <a:gd name="connsiteY5" fmla="*/ 3953309 h 5890966"/>
              <a:gd name="connsiteX6" fmla="*/ 199447 w 6228224"/>
              <a:gd name="connsiteY6" fmla="*/ 3947372 h 5890966"/>
              <a:gd name="connsiteX7" fmla="*/ 121726 w 6228224"/>
              <a:gd name="connsiteY7" fmla="*/ 3970053 h 5890966"/>
              <a:gd name="connsiteX8" fmla="*/ 207 w 6228224"/>
              <a:gd name="connsiteY8" fmla="*/ 3114000 h 5890966"/>
              <a:gd name="connsiteX0" fmla="*/ 207 w 6228224"/>
              <a:gd name="connsiteY0" fmla="*/ 3114000 h 5890966"/>
              <a:gd name="connsiteX1" fmla="*/ 3114207 w 6228224"/>
              <a:gd name="connsiteY1" fmla="*/ 0 h 5890966"/>
              <a:gd name="connsiteX2" fmla="*/ 6228207 w 6228224"/>
              <a:gd name="connsiteY2" fmla="*/ 3114000 h 5890966"/>
              <a:gd name="connsiteX3" fmla="*/ 4483489 w 6228224"/>
              <a:gd name="connsiteY3" fmla="*/ 5890966 h 5890966"/>
              <a:gd name="connsiteX4" fmla="*/ 4481346 w 6228224"/>
              <a:gd name="connsiteY4" fmla="*/ 4147888 h 5890966"/>
              <a:gd name="connsiteX5" fmla="*/ 4370896 w 6228224"/>
              <a:gd name="connsiteY5" fmla="*/ 3953309 h 5890966"/>
              <a:gd name="connsiteX6" fmla="*/ 199447 w 6228224"/>
              <a:gd name="connsiteY6" fmla="*/ 3947372 h 5890966"/>
              <a:gd name="connsiteX7" fmla="*/ 121726 w 6228224"/>
              <a:gd name="connsiteY7" fmla="*/ 3970053 h 5890966"/>
              <a:gd name="connsiteX8" fmla="*/ 207 w 6228224"/>
              <a:gd name="connsiteY8" fmla="*/ 3114000 h 5890966"/>
              <a:gd name="connsiteX0" fmla="*/ 207 w 6228224"/>
              <a:gd name="connsiteY0" fmla="*/ 3114000 h 5890966"/>
              <a:gd name="connsiteX1" fmla="*/ 3114207 w 6228224"/>
              <a:gd name="connsiteY1" fmla="*/ 0 h 5890966"/>
              <a:gd name="connsiteX2" fmla="*/ 6228207 w 6228224"/>
              <a:gd name="connsiteY2" fmla="*/ 3114000 h 5890966"/>
              <a:gd name="connsiteX3" fmla="*/ 4483489 w 6228224"/>
              <a:gd name="connsiteY3" fmla="*/ 5890966 h 5890966"/>
              <a:gd name="connsiteX4" fmla="*/ 4481346 w 6228224"/>
              <a:gd name="connsiteY4" fmla="*/ 4147888 h 5890966"/>
              <a:gd name="connsiteX5" fmla="*/ 4370896 w 6228224"/>
              <a:gd name="connsiteY5" fmla="*/ 3953309 h 5890966"/>
              <a:gd name="connsiteX6" fmla="*/ 199447 w 6228224"/>
              <a:gd name="connsiteY6" fmla="*/ 3947372 h 5890966"/>
              <a:gd name="connsiteX7" fmla="*/ 121726 w 6228224"/>
              <a:gd name="connsiteY7" fmla="*/ 3970053 h 5890966"/>
              <a:gd name="connsiteX8" fmla="*/ 207 w 6228224"/>
              <a:gd name="connsiteY8" fmla="*/ 3114000 h 5890966"/>
              <a:gd name="connsiteX0" fmla="*/ 207 w 6228224"/>
              <a:gd name="connsiteY0" fmla="*/ 3114000 h 5890966"/>
              <a:gd name="connsiteX1" fmla="*/ 3114207 w 6228224"/>
              <a:gd name="connsiteY1" fmla="*/ 0 h 5890966"/>
              <a:gd name="connsiteX2" fmla="*/ 6228207 w 6228224"/>
              <a:gd name="connsiteY2" fmla="*/ 3114000 h 5890966"/>
              <a:gd name="connsiteX3" fmla="*/ 4483489 w 6228224"/>
              <a:gd name="connsiteY3" fmla="*/ 5890966 h 5890966"/>
              <a:gd name="connsiteX4" fmla="*/ 4481346 w 6228224"/>
              <a:gd name="connsiteY4" fmla="*/ 4147888 h 5890966"/>
              <a:gd name="connsiteX5" fmla="*/ 4370896 w 6228224"/>
              <a:gd name="connsiteY5" fmla="*/ 3953309 h 5890966"/>
              <a:gd name="connsiteX6" fmla="*/ 213232 w 6228224"/>
              <a:gd name="connsiteY6" fmla="*/ 3947372 h 5890966"/>
              <a:gd name="connsiteX7" fmla="*/ 121726 w 6228224"/>
              <a:gd name="connsiteY7" fmla="*/ 3970053 h 5890966"/>
              <a:gd name="connsiteX8" fmla="*/ 207 w 6228224"/>
              <a:gd name="connsiteY8" fmla="*/ 3114000 h 5890966"/>
              <a:gd name="connsiteX0" fmla="*/ 207 w 6228224"/>
              <a:gd name="connsiteY0" fmla="*/ 3114000 h 5890966"/>
              <a:gd name="connsiteX1" fmla="*/ 3114207 w 6228224"/>
              <a:gd name="connsiteY1" fmla="*/ 0 h 5890966"/>
              <a:gd name="connsiteX2" fmla="*/ 6228207 w 6228224"/>
              <a:gd name="connsiteY2" fmla="*/ 3114000 h 5890966"/>
              <a:gd name="connsiteX3" fmla="*/ 4483489 w 6228224"/>
              <a:gd name="connsiteY3" fmla="*/ 5890966 h 5890966"/>
              <a:gd name="connsiteX4" fmla="*/ 4481346 w 6228224"/>
              <a:gd name="connsiteY4" fmla="*/ 4147888 h 5890966"/>
              <a:gd name="connsiteX5" fmla="*/ 4370896 w 6228224"/>
              <a:gd name="connsiteY5" fmla="*/ 3953309 h 5890966"/>
              <a:gd name="connsiteX6" fmla="*/ 213232 w 6228224"/>
              <a:gd name="connsiteY6" fmla="*/ 3947372 h 5890966"/>
              <a:gd name="connsiteX7" fmla="*/ 121726 w 6228224"/>
              <a:gd name="connsiteY7" fmla="*/ 3970053 h 5890966"/>
              <a:gd name="connsiteX8" fmla="*/ 207 w 6228224"/>
              <a:gd name="connsiteY8" fmla="*/ 3114000 h 5890966"/>
              <a:gd name="connsiteX0" fmla="*/ 207 w 6228224"/>
              <a:gd name="connsiteY0" fmla="*/ 3114000 h 5890966"/>
              <a:gd name="connsiteX1" fmla="*/ 3114207 w 6228224"/>
              <a:gd name="connsiteY1" fmla="*/ 0 h 5890966"/>
              <a:gd name="connsiteX2" fmla="*/ 6228207 w 6228224"/>
              <a:gd name="connsiteY2" fmla="*/ 3114000 h 5890966"/>
              <a:gd name="connsiteX3" fmla="*/ 4483489 w 6228224"/>
              <a:gd name="connsiteY3" fmla="*/ 5890966 h 5890966"/>
              <a:gd name="connsiteX4" fmla="*/ 4481346 w 6228224"/>
              <a:gd name="connsiteY4" fmla="*/ 4147888 h 5890966"/>
              <a:gd name="connsiteX5" fmla="*/ 4370896 w 6228224"/>
              <a:gd name="connsiteY5" fmla="*/ 3953309 h 5890966"/>
              <a:gd name="connsiteX6" fmla="*/ 227017 w 6228224"/>
              <a:gd name="connsiteY6" fmla="*/ 3938182 h 5890966"/>
              <a:gd name="connsiteX7" fmla="*/ 121726 w 6228224"/>
              <a:gd name="connsiteY7" fmla="*/ 3970053 h 5890966"/>
              <a:gd name="connsiteX8" fmla="*/ 207 w 6228224"/>
              <a:gd name="connsiteY8" fmla="*/ 3114000 h 5890966"/>
              <a:gd name="connsiteX0" fmla="*/ 207 w 6228224"/>
              <a:gd name="connsiteY0" fmla="*/ 3114000 h 5890966"/>
              <a:gd name="connsiteX1" fmla="*/ 3114207 w 6228224"/>
              <a:gd name="connsiteY1" fmla="*/ 0 h 5890966"/>
              <a:gd name="connsiteX2" fmla="*/ 6228207 w 6228224"/>
              <a:gd name="connsiteY2" fmla="*/ 3114000 h 5890966"/>
              <a:gd name="connsiteX3" fmla="*/ 4483489 w 6228224"/>
              <a:gd name="connsiteY3" fmla="*/ 5890966 h 5890966"/>
              <a:gd name="connsiteX4" fmla="*/ 4481346 w 6228224"/>
              <a:gd name="connsiteY4" fmla="*/ 4147888 h 5890966"/>
              <a:gd name="connsiteX5" fmla="*/ 4370896 w 6228224"/>
              <a:gd name="connsiteY5" fmla="*/ 3953309 h 5890966"/>
              <a:gd name="connsiteX6" fmla="*/ 227017 w 6228224"/>
              <a:gd name="connsiteY6" fmla="*/ 3938182 h 5890966"/>
              <a:gd name="connsiteX7" fmla="*/ 121726 w 6228224"/>
              <a:gd name="connsiteY7" fmla="*/ 3965458 h 5890966"/>
              <a:gd name="connsiteX8" fmla="*/ 207 w 6228224"/>
              <a:gd name="connsiteY8" fmla="*/ 3114000 h 5890966"/>
              <a:gd name="connsiteX0" fmla="*/ 207 w 6228224"/>
              <a:gd name="connsiteY0" fmla="*/ 3114000 h 5890966"/>
              <a:gd name="connsiteX1" fmla="*/ 3114207 w 6228224"/>
              <a:gd name="connsiteY1" fmla="*/ 0 h 5890966"/>
              <a:gd name="connsiteX2" fmla="*/ 6228207 w 6228224"/>
              <a:gd name="connsiteY2" fmla="*/ 3114000 h 5890966"/>
              <a:gd name="connsiteX3" fmla="*/ 4483489 w 6228224"/>
              <a:gd name="connsiteY3" fmla="*/ 5890966 h 5890966"/>
              <a:gd name="connsiteX4" fmla="*/ 4481346 w 6228224"/>
              <a:gd name="connsiteY4" fmla="*/ 4147888 h 5890966"/>
              <a:gd name="connsiteX5" fmla="*/ 4370896 w 6228224"/>
              <a:gd name="connsiteY5" fmla="*/ 3953309 h 5890966"/>
              <a:gd name="connsiteX6" fmla="*/ 227017 w 6228224"/>
              <a:gd name="connsiteY6" fmla="*/ 3938182 h 5890966"/>
              <a:gd name="connsiteX7" fmla="*/ 121726 w 6228224"/>
              <a:gd name="connsiteY7" fmla="*/ 3965458 h 5890966"/>
              <a:gd name="connsiteX8" fmla="*/ 207 w 6228224"/>
              <a:gd name="connsiteY8" fmla="*/ 3114000 h 5890966"/>
              <a:gd name="connsiteX0" fmla="*/ 214 w 6228231"/>
              <a:gd name="connsiteY0" fmla="*/ 3114000 h 5890966"/>
              <a:gd name="connsiteX1" fmla="*/ 3114214 w 6228231"/>
              <a:gd name="connsiteY1" fmla="*/ 0 h 5890966"/>
              <a:gd name="connsiteX2" fmla="*/ 6228214 w 6228231"/>
              <a:gd name="connsiteY2" fmla="*/ 3114000 h 5890966"/>
              <a:gd name="connsiteX3" fmla="*/ 4483496 w 6228231"/>
              <a:gd name="connsiteY3" fmla="*/ 5890966 h 5890966"/>
              <a:gd name="connsiteX4" fmla="*/ 4481353 w 6228231"/>
              <a:gd name="connsiteY4" fmla="*/ 4147888 h 5890966"/>
              <a:gd name="connsiteX5" fmla="*/ 4370903 w 6228231"/>
              <a:gd name="connsiteY5" fmla="*/ 3953309 h 5890966"/>
              <a:gd name="connsiteX6" fmla="*/ 227024 w 6228231"/>
              <a:gd name="connsiteY6" fmla="*/ 3938182 h 5890966"/>
              <a:gd name="connsiteX7" fmla="*/ 117138 w 6228231"/>
              <a:gd name="connsiteY7" fmla="*/ 3956268 h 5890966"/>
              <a:gd name="connsiteX8" fmla="*/ 214 w 6228231"/>
              <a:gd name="connsiteY8" fmla="*/ 3114000 h 58909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228231" h="5890966">
                <a:moveTo>
                  <a:pt x="214" y="3114000"/>
                </a:moveTo>
                <a:cubicBezTo>
                  <a:pt x="-4330" y="1411998"/>
                  <a:pt x="1394399" y="0"/>
                  <a:pt x="3114214" y="0"/>
                </a:cubicBezTo>
                <a:cubicBezTo>
                  <a:pt x="4834029" y="0"/>
                  <a:pt x="6228009" y="1324528"/>
                  <a:pt x="6228214" y="3114000"/>
                </a:cubicBezTo>
                <a:cubicBezTo>
                  <a:pt x="6232591" y="4448745"/>
                  <a:pt x="5391347" y="5466913"/>
                  <a:pt x="4483496" y="5890966"/>
                </a:cubicBezTo>
                <a:cubicBezTo>
                  <a:pt x="4470286" y="5884723"/>
                  <a:pt x="4490830" y="4173263"/>
                  <a:pt x="4481353" y="4147888"/>
                </a:cubicBezTo>
                <a:cubicBezTo>
                  <a:pt x="4476337" y="4153536"/>
                  <a:pt x="4500847" y="3989338"/>
                  <a:pt x="4370903" y="3953309"/>
                </a:cubicBezTo>
                <a:lnTo>
                  <a:pt x="227024" y="3938182"/>
                </a:lnTo>
                <a:cubicBezTo>
                  <a:pt x="229896" y="3935584"/>
                  <a:pt x="121453" y="3950046"/>
                  <a:pt x="117138" y="3956268"/>
                </a:cubicBezTo>
                <a:cubicBezTo>
                  <a:pt x="115621" y="3943562"/>
                  <a:pt x="-5779" y="3527224"/>
                  <a:pt x="214" y="3114000"/>
                </a:cubicBezTo>
                <a:close/>
              </a:path>
            </a:pathLst>
          </a:custGeom>
        </p:spPr>
        <p:txBody>
          <a:bodyPr/>
          <a:lstStyle>
            <a:lvl1pPr algn="ctr">
              <a:defRPr sz="1400" b="0">
                <a:solidFill>
                  <a:schemeClr val="bg1"/>
                </a:solidFill>
              </a:defRPr>
            </a:lvl1pPr>
          </a:lstStyle>
          <a:p>
            <a:endParaRPr lang="pt-BR"/>
          </a:p>
          <a:p>
            <a:r>
              <a:rPr lang="pt-BR"/>
              <a:t>Imagem</a:t>
            </a:r>
            <a:br>
              <a:rPr lang="pt-BR"/>
            </a:br>
            <a:r>
              <a:rPr lang="pt-BR"/>
              <a:t>(opcional)</a:t>
            </a:r>
          </a:p>
        </p:txBody>
      </p:sp>
      <p:sp>
        <p:nvSpPr>
          <p:cNvPr id="45" name="Espaço Reservado para Texto 44">
            <a:extLst>
              <a:ext uri="{FF2B5EF4-FFF2-40B4-BE49-F238E27FC236}">
                <a16:creationId xmlns:a16="http://schemas.microsoft.com/office/drawing/2014/main" id="{06E30179-074A-9B58-6298-46634017239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7238366" y="1329766"/>
            <a:ext cx="3385184" cy="1534684"/>
          </a:xfrm>
        </p:spPr>
        <p:txBody>
          <a:bodyPr>
            <a:noAutofit/>
          </a:bodyPr>
          <a:lstStyle>
            <a:lvl1pPr>
              <a:lnSpc>
                <a:spcPct val="120000"/>
              </a:lnSpc>
              <a:defRPr lang="pt-BR" sz="1200" b="0" i="0" u="none" strike="noStrike" kern="1200" cap="none" dirty="0" smtClean="0">
                <a:solidFill>
                  <a:schemeClr val="bg1"/>
                </a:solidFill>
                <a:latin typeface="+mn-lt"/>
                <a:ea typeface="Times New Roman" panose="02020603050405020304" pitchFamily="18" charset="0"/>
                <a:cs typeface="Arial"/>
                <a:sym typeface="Arial"/>
              </a:defRPr>
            </a:lvl1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7" name="Freeform: Shape 24">
            <a:extLst>
              <a:ext uri="{FF2B5EF4-FFF2-40B4-BE49-F238E27FC236}">
                <a16:creationId xmlns:a16="http://schemas.microsoft.com/office/drawing/2014/main" id="{FD415740-21AF-903C-1A5A-37F7E5CC6A3C}"/>
              </a:ext>
            </a:extLst>
          </p:cNvPr>
          <p:cNvSpPr/>
          <p:nvPr userDrawn="1"/>
        </p:nvSpPr>
        <p:spPr>
          <a:xfrm>
            <a:off x="2" y="3886414"/>
            <a:ext cx="2848573" cy="2965721"/>
          </a:xfrm>
          <a:custGeom>
            <a:avLst/>
            <a:gdLst>
              <a:gd name="connsiteX0" fmla="*/ 1162912 w 2848573"/>
              <a:gd name="connsiteY0" fmla="*/ 0 h 2965721"/>
              <a:gd name="connsiteX1" fmla="*/ 2848573 w 2848573"/>
              <a:gd name="connsiteY1" fmla="*/ 1685661 h 2965721"/>
              <a:gd name="connsiteX2" fmla="*/ 2354855 w 2848573"/>
              <a:gd name="connsiteY2" fmla="*/ 2877604 h 2965721"/>
              <a:gd name="connsiteX3" fmla="*/ 2257901 w 2848573"/>
              <a:gd name="connsiteY3" fmla="*/ 2965721 h 2965721"/>
              <a:gd name="connsiteX4" fmla="*/ 67924 w 2848573"/>
              <a:gd name="connsiteY4" fmla="*/ 2965721 h 2965721"/>
              <a:gd name="connsiteX5" fmla="*/ 0 w 2848573"/>
              <a:gd name="connsiteY5" fmla="*/ 2903988 h 2965721"/>
              <a:gd name="connsiteX6" fmla="*/ 0 w 2848573"/>
              <a:gd name="connsiteY6" fmla="*/ 467334 h 2965721"/>
              <a:gd name="connsiteX7" fmla="*/ 90675 w 2848573"/>
              <a:gd name="connsiteY7" fmla="*/ 384923 h 2965721"/>
              <a:gd name="connsiteX8" fmla="*/ 1162912 w 2848573"/>
              <a:gd name="connsiteY8" fmla="*/ 0 h 29657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848573" h="2965721">
                <a:moveTo>
                  <a:pt x="1162912" y="0"/>
                </a:moveTo>
                <a:cubicBezTo>
                  <a:pt x="2093877" y="0"/>
                  <a:pt x="2848573" y="754696"/>
                  <a:pt x="2848573" y="1685661"/>
                </a:cubicBezTo>
                <a:cubicBezTo>
                  <a:pt x="2848573" y="2151144"/>
                  <a:pt x="2659899" y="2572559"/>
                  <a:pt x="2354855" y="2877604"/>
                </a:cubicBezTo>
                <a:lnTo>
                  <a:pt x="2257901" y="2965721"/>
                </a:lnTo>
                <a:lnTo>
                  <a:pt x="67924" y="2965721"/>
                </a:lnTo>
                <a:lnTo>
                  <a:pt x="0" y="2903988"/>
                </a:lnTo>
                <a:lnTo>
                  <a:pt x="0" y="467334"/>
                </a:lnTo>
                <a:lnTo>
                  <a:pt x="90675" y="384923"/>
                </a:lnTo>
                <a:cubicBezTo>
                  <a:pt x="382057" y="144454"/>
                  <a:pt x="755615" y="0"/>
                  <a:pt x="1162912" y="0"/>
                </a:cubicBezTo>
                <a:close/>
              </a:path>
            </a:pathLst>
          </a:custGeom>
          <a:solidFill>
            <a:schemeClr val="accent2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 sz="1351"/>
          </a:p>
        </p:txBody>
      </p:sp>
      <p:sp>
        <p:nvSpPr>
          <p:cNvPr id="28" name="Espaço Reservado para Imagem 27">
            <a:extLst>
              <a:ext uri="{FF2B5EF4-FFF2-40B4-BE49-F238E27FC236}">
                <a16:creationId xmlns:a16="http://schemas.microsoft.com/office/drawing/2014/main" id="{548B2331-2676-10C2-7E01-D10F6FB4AAA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481687" y="995363"/>
            <a:ext cx="793750" cy="793750"/>
          </a:xfrm>
        </p:spPr>
        <p:txBody>
          <a:bodyPr>
            <a:normAutofit/>
          </a:bodyPr>
          <a:lstStyle>
            <a:lvl1pPr algn="ctr">
              <a:defRPr sz="1400">
                <a:solidFill>
                  <a:schemeClr val="tx1"/>
                </a:solidFill>
              </a:defRPr>
            </a:lvl1pPr>
          </a:lstStyle>
          <a:p>
            <a:r>
              <a:rPr lang="pt-BR"/>
              <a:t>Ícone</a:t>
            </a:r>
          </a:p>
        </p:txBody>
      </p:sp>
      <p:sp>
        <p:nvSpPr>
          <p:cNvPr id="38" name="Título">
            <a:extLst>
              <a:ext uri="{FF2B5EF4-FFF2-40B4-BE49-F238E27FC236}">
                <a16:creationId xmlns:a16="http://schemas.microsoft.com/office/drawing/2014/main" id="{ADB15B2B-2001-9E64-8B66-5FAC0E2E52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23244" y="1270707"/>
            <a:ext cx="4158456" cy="1281113"/>
          </a:xfrm>
        </p:spPr>
        <p:txBody>
          <a:bodyPr>
            <a:noAutofit/>
          </a:bodyPr>
          <a:lstStyle>
            <a:lvl1pPr marR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pt-BR" sz="3600" b="1" i="0" u="none" strike="noStrike" cap="none" spc="-100" dirty="0">
                <a:solidFill>
                  <a:schemeClr val="accent1"/>
                </a:solidFill>
                <a:latin typeface="+mj-lt"/>
                <a:ea typeface="Arial"/>
                <a:cs typeface="Arial"/>
                <a:sym typeface="Arial"/>
              </a:defRPr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40" name="Espaço Reservado para Texto 39">
            <a:extLst>
              <a:ext uri="{FF2B5EF4-FFF2-40B4-BE49-F238E27FC236}">
                <a16:creationId xmlns:a16="http://schemas.microsoft.com/office/drawing/2014/main" id="{A1760A25-CD4E-1960-08EE-258535BF939F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1823244" y="926629"/>
            <a:ext cx="4180096" cy="323211"/>
          </a:xfrm>
        </p:spPr>
        <p:txBody>
          <a:bodyPr lIns="126000">
            <a:noAutofit/>
          </a:bodyPr>
          <a:lstStyle>
            <a:lvl1pPr>
              <a:defRPr lang="pt-BR" sz="1100" b="0" i="0" u="none" strike="noStrike" kern="1200" cap="all" spc="100" baseline="0" dirty="0" smtClean="0">
                <a:solidFill>
                  <a:schemeClr val="tx2"/>
                </a:solidFill>
                <a:latin typeface="+mn-lt"/>
                <a:ea typeface="Times New Roman" panose="02020603050405020304" pitchFamily="18" charset="0"/>
                <a:cs typeface="Arial"/>
                <a:sym typeface="Arial"/>
              </a:defRPr>
            </a:lvl1pPr>
          </a:lstStyle>
          <a:p>
            <a:pPr lvl="0"/>
            <a:r>
              <a:rPr lang="pt-BR"/>
              <a:t>Clique para editar os estilos</a:t>
            </a:r>
          </a:p>
        </p:txBody>
      </p:sp>
      <p:sp>
        <p:nvSpPr>
          <p:cNvPr id="8" name="Rectangle: Rounded Corners 9">
            <a:extLst>
              <a:ext uri="{FF2B5EF4-FFF2-40B4-BE49-F238E27FC236}">
                <a16:creationId xmlns:a16="http://schemas.microsoft.com/office/drawing/2014/main" id="{19FBD3DF-538E-7884-58FD-04DC57DB7E80}"/>
              </a:ext>
            </a:extLst>
          </p:cNvPr>
          <p:cNvSpPr/>
          <p:nvPr userDrawn="1"/>
        </p:nvSpPr>
        <p:spPr>
          <a:xfrm>
            <a:off x="1568450" y="3571620"/>
            <a:ext cx="4434893" cy="2405063"/>
          </a:xfrm>
          <a:prstGeom prst="roundRect">
            <a:avLst>
              <a:gd name="adj" fmla="val 6259"/>
            </a:avLst>
          </a:prstGeom>
          <a:solidFill>
            <a:schemeClr val="bg1"/>
          </a:solidFill>
          <a:ln>
            <a:noFill/>
          </a:ln>
          <a:effectLst>
            <a:outerShdw blurRad="177800" dist="38100" dir="8100000" algn="tr" rotWithShape="0">
              <a:prstClr val="black">
                <a:alpha val="2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sz="1351"/>
          </a:p>
        </p:txBody>
      </p:sp>
      <p:sp>
        <p:nvSpPr>
          <p:cNvPr id="9" name="Rectangle: Rounded Corners 10">
            <a:extLst>
              <a:ext uri="{FF2B5EF4-FFF2-40B4-BE49-F238E27FC236}">
                <a16:creationId xmlns:a16="http://schemas.microsoft.com/office/drawing/2014/main" id="{AE95629A-85FB-D0D9-6F6F-A142203545A5}"/>
              </a:ext>
            </a:extLst>
          </p:cNvPr>
          <p:cNvSpPr/>
          <p:nvPr userDrawn="1"/>
        </p:nvSpPr>
        <p:spPr>
          <a:xfrm>
            <a:off x="6222183" y="3545643"/>
            <a:ext cx="4435200" cy="2431040"/>
          </a:xfrm>
          <a:custGeom>
            <a:avLst/>
            <a:gdLst>
              <a:gd name="connsiteX0" fmla="*/ 0 w 4435200"/>
              <a:gd name="connsiteY0" fmla="*/ 150533 h 2405063"/>
              <a:gd name="connsiteX1" fmla="*/ 150533 w 4435200"/>
              <a:gd name="connsiteY1" fmla="*/ 0 h 2405063"/>
              <a:gd name="connsiteX2" fmla="*/ 4284667 w 4435200"/>
              <a:gd name="connsiteY2" fmla="*/ 0 h 2405063"/>
              <a:gd name="connsiteX3" fmla="*/ 4435200 w 4435200"/>
              <a:gd name="connsiteY3" fmla="*/ 150533 h 2405063"/>
              <a:gd name="connsiteX4" fmla="*/ 4435200 w 4435200"/>
              <a:gd name="connsiteY4" fmla="*/ 2254530 h 2405063"/>
              <a:gd name="connsiteX5" fmla="*/ 4284667 w 4435200"/>
              <a:gd name="connsiteY5" fmla="*/ 2405063 h 2405063"/>
              <a:gd name="connsiteX6" fmla="*/ 150533 w 4435200"/>
              <a:gd name="connsiteY6" fmla="*/ 2405063 h 2405063"/>
              <a:gd name="connsiteX7" fmla="*/ 0 w 4435200"/>
              <a:gd name="connsiteY7" fmla="*/ 2254530 h 2405063"/>
              <a:gd name="connsiteX8" fmla="*/ 0 w 4435200"/>
              <a:gd name="connsiteY8" fmla="*/ 150533 h 2405063"/>
              <a:gd name="connsiteX0" fmla="*/ 0 w 4435200"/>
              <a:gd name="connsiteY0" fmla="*/ 150533 h 2405063"/>
              <a:gd name="connsiteX1" fmla="*/ 150533 w 4435200"/>
              <a:gd name="connsiteY1" fmla="*/ 0 h 2405063"/>
              <a:gd name="connsiteX2" fmla="*/ 4279472 w 4435200"/>
              <a:gd name="connsiteY2" fmla="*/ 0 h 2405063"/>
              <a:gd name="connsiteX3" fmla="*/ 4435200 w 4435200"/>
              <a:gd name="connsiteY3" fmla="*/ 150533 h 2405063"/>
              <a:gd name="connsiteX4" fmla="*/ 4435200 w 4435200"/>
              <a:gd name="connsiteY4" fmla="*/ 2254530 h 2405063"/>
              <a:gd name="connsiteX5" fmla="*/ 4284667 w 4435200"/>
              <a:gd name="connsiteY5" fmla="*/ 2405063 h 2405063"/>
              <a:gd name="connsiteX6" fmla="*/ 150533 w 4435200"/>
              <a:gd name="connsiteY6" fmla="*/ 2405063 h 2405063"/>
              <a:gd name="connsiteX7" fmla="*/ 0 w 4435200"/>
              <a:gd name="connsiteY7" fmla="*/ 2254530 h 2405063"/>
              <a:gd name="connsiteX8" fmla="*/ 0 w 4435200"/>
              <a:gd name="connsiteY8" fmla="*/ 150533 h 2405063"/>
              <a:gd name="connsiteX0" fmla="*/ 0 w 4435200"/>
              <a:gd name="connsiteY0" fmla="*/ 150533 h 2405063"/>
              <a:gd name="connsiteX1" fmla="*/ 150533 w 4435200"/>
              <a:gd name="connsiteY1" fmla="*/ 0 h 2405063"/>
              <a:gd name="connsiteX2" fmla="*/ 4253494 w 4435200"/>
              <a:gd name="connsiteY2" fmla="*/ 10391 h 2405063"/>
              <a:gd name="connsiteX3" fmla="*/ 4435200 w 4435200"/>
              <a:gd name="connsiteY3" fmla="*/ 150533 h 2405063"/>
              <a:gd name="connsiteX4" fmla="*/ 4435200 w 4435200"/>
              <a:gd name="connsiteY4" fmla="*/ 2254530 h 2405063"/>
              <a:gd name="connsiteX5" fmla="*/ 4284667 w 4435200"/>
              <a:gd name="connsiteY5" fmla="*/ 2405063 h 2405063"/>
              <a:gd name="connsiteX6" fmla="*/ 150533 w 4435200"/>
              <a:gd name="connsiteY6" fmla="*/ 2405063 h 2405063"/>
              <a:gd name="connsiteX7" fmla="*/ 0 w 4435200"/>
              <a:gd name="connsiteY7" fmla="*/ 2254530 h 2405063"/>
              <a:gd name="connsiteX8" fmla="*/ 0 w 4435200"/>
              <a:gd name="connsiteY8" fmla="*/ 150533 h 2405063"/>
              <a:gd name="connsiteX0" fmla="*/ 0 w 4435200"/>
              <a:gd name="connsiteY0" fmla="*/ 150533 h 2405063"/>
              <a:gd name="connsiteX1" fmla="*/ 150533 w 4435200"/>
              <a:gd name="connsiteY1" fmla="*/ 0 h 2405063"/>
              <a:gd name="connsiteX2" fmla="*/ 4295058 w 4435200"/>
              <a:gd name="connsiteY2" fmla="*/ 5195 h 2405063"/>
              <a:gd name="connsiteX3" fmla="*/ 4435200 w 4435200"/>
              <a:gd name="connsiteY3" fmla="*/ 150533 h 2405063"/>
              <a:gd name="connsiteX4" fmla="*/ 4435200 w 4435200"/>
              <a:gd name="connsiteY4" fmla="*/ 2254530 h 2405063"/>
              <a:gd name="connsiteX5" fmla="*/ 4284667 w 4435200"/>
              <a:gd name="connsiteY5" fmla="*/ 2405063 h 2405063"/>
              <a:gd name="connsiteX6" fmla="*/ 150533 w 4435200"/>
              <a:gd name="connsiteY6" fmla="*/ 2405063 h 2405063"/>
              <a:gd name="connsiteX7" fmla="*/ 0 w 4435200"/>
              <a:gd name="connsiteY7" fmla="*/ 2254530 h 2405063"/>
              <a:gd name="connsiteX8" fmla="*/ 0 w 4435200"/>
              <a:gd name="connsiteY8" fmla="*/ 150533 h 2405063"/>
              <a:gd name="connsiteX0" fmla="*/ 0 w 4435200"/>
              <a:gd name="connsiteY0" fmla="*/ 150533 h 2405063"/>
              <a:gd name="connsiteX1" fmla="*/ 150533 w 4435200"/>
              <a:gd name="connsiteY1" fmla="*/ 0 h 2405063"/>
              <a:gd name="connsiteX2" fmla="*/ 4315839 w 4435200"/>
              <a:gd name="connsiteY2" fmla="*/ 5195 h 2405063"/>
              <a:gd name="connsiteX3" fmla="*/ 4435200 w 4435200"/>
              <a:gd name="connsiteY3" fmla="*/ 150533 h 2405063"/>
              <a:gd name="connsiteX4" fmla="*/ 4435200 w 4435200"/>
              <a:gd name="connsiteY4" fmla="*/ 2254530 h 2405063"/>
              <a:gd name="connsiteX5" fmla="*/ 4284667 w 4435200"/>
              <a:gd name="connsiteY5" fmla="*/ 2405063 h 2405063"/>
              <a:gd name="connsiteX6" fmla="*/ 150533 w 4435200"/>
              <a:gd name="connsiteY6" fmla="*/ 2405063 h 2405063"/>
              <a:gd name="connsiteX7" fmla="*/ 0 w 4435200"/>
              <a:gd name="connsiteY7" fmla="*/ 2254530 h 2405063"/>
              <a:gd name="connsiteX8" fmla="*/ 0 w 4435200"/>
              <a:gd name="connsiteY8" fmla="*/ 150533 h 2405063"/>
              <a:gd name="connsiteX0" fmla="*/ 0 w 4435200"/>
              <a:gd name="connsiteY0" fmla="*/ 155729 h 2410259"/>
              <a:gd name="connsiteX1" fmla="*/ 150533 w 4435200"/>
              <a:gd name="connsiteY1" fmla="*/ 0 h 2410259"/>
              <a:gd name="connsiteX2" fmla="*/ 4315839 w 4435200"/>
              <a:gd name="connsiteY2" fmla="*/ 10391 h 2410259"/>
              <a:gd name="connsiteX3" fmla="*/ 4435200 w 4435200"/>
              <a:gd name="connsiteY3" fmla="*/ 155729 h 2410259"/>
              <a:gd name="connsiteX4" fmla="*/ 4435200 w 4435200"/>
              <a:gd name="connsiteY4" fmla="*/ 2259726 h 2410259"/>
              <a:gd name="connsiteX5" fmla="*/ 4284667 w 4435200"/>
              <a:gd name="connsiteY5" fmla="*/ 2410259 h 2410259"/>
              <a:gd name="connsiteX6" fmla="*/ 150533 w 4435200"/>
              <a:gd name="connsiteY6" fmla="*/ 2410259 h 2410259"/>
              <a:gd name="connsiteX7" fmla="*/ 0 w 4435200"/>
              <a:gd name="connsiteY7" fmla="*/ 2259726 h 2410259"/>
              <a:gd name="connsiteX8" fmla="*/ 0 w 4435200"/>
              <a:gd name="connsiteY8" fmla="*/ 155729 h 2410259"/>
              <a:gd name="connsiteX0" fmla="*/ 0 w 4435200"/>
              <a:gd name="connsiteY0" fmla="*/ 155729 h 2410259"/>
              <a:gd name="connsiteX1" fmla="*/ 150533 w 4435200"/>
              <a:gd name="connsiteY1" fmla="*/ 0 h 2410259"/>
              <a:gd name="connsiteX2" fmla="*/ 4315839 w 4435200"/>
              <a:gd name="connsiteY2" fmla="*/ 5196 h 2410259"/>
              <a:gd name="connsiteX3" fmla="*/ 4435200 w 4435200"/>
              <a:gd name="connsiteY3" fmla="*/ 155729 h 2410259"/>
              <a:gd name="connsiteX4" fmla="*/ 4435200 w 4435200"/>
              <a:gd name="connsiteY4" fmla="*/ 2259726 h 2410259"/>
              <a:gd name="connsiteX5" fmla="*/ 4284667 w 4435200"/>
              <a:gd name="connsiteY5" fmla="*/ 2410259 h 2410259"/>
              <a:gd name="connsiteX6" fmla="*/ 150533 w 4435200"/>
              <a:gd name="connsiteY6" fmla="*/ 2410259 h 2410259"/>
              <a:gd name="connsiteX7" fmla="*/ 0 w 4435200"/>
              <a:gd name="connsiteY7" fmla="*/ 2259726 h 2410259"/>
              <a:gd name="connsiteX8" fmla="*/ 0 w 4435200"/>
              <a:gd name="connsiteY8" fmla="*/ 155729 h 2410259"/>
              <a:gd name="connsiteX0" fmla="*/ 0 w 4435200"/>
              <a:gd name="connsiteY0" fmla="*/ 160924 h 2415454"/>
              <a:gd name="connsiteX1" fmla="*/ 150533 w 4435200"/>
              <a:gd name="connsiteY1" fmla="*/ 5195 h 2415454"/>
              <a:gd name="connsiteX2" fmla="*/ 4321035 w 4435200"/>
              <a:gd name="connsiteY2" fmla="*/ 0 h 2415454"/>
              <a:gd name="connsiteX3" fmla="*/ 4435200 w 4435200"/>
              <a:gd name="connsiteY3" fmla="*/ 160924 h 2415454"/>
              <a:gd name="connsiteX4" fmla="*/ 4435200 w 4435200"/>
              <a:gd name="connsiteY4" fmla="*/ 2264921 h 2415454"/>
              <a:gd name="connsiteX5" fmla="*/ 4284667 w 4435200"/>
              <a:gd name="connsiteY5" fmla="*/ 2415454 h 2415454"/>
              <a:gd name="connsiteX6" fmla="*/ 150533 w 4435200"/>
              <a:gd name="connsiteY6" fmla="*/ 2415454 h 2415454"/>
              <a:gd name="connsiteX7" fmla="*/ 0 w 4435200"/>
              <a:gd name="connsiteY7" fmla="*/ 2264921 h 2415454"/>
              <a:gd name="connsiteX8" fmla="*/ 0 w 4435200"/>
              <a:gd name="connsiteY8" fmla="*/ 160924 h 2415454"/>
              <a:gd name="connsiteX0" fmla="*/ 0 w 4435200"/>
              <a:gd name="connsiteY0" fmla="*/ 176510 h 2431040"/>
              <a:gd name="connsiteX1" fmla="*/ 155729 w 4435200"/>
              <a:gd name="connsiteY1" fmla="*/ 0 h 2431040"/>
              <a:gd name="connsiteX2" fmla="*/ 4321035 w 4435200"/>
              <a:gd name="connsiteY2" fmla="*/ 15586 h 2431040"/>
              <a:gd name="connsiteX3" fmla="*/ 4435200 w 4435200"/>
              <a:gd name="connsiteY3" fmla="*/ 176510 h 2431040"/>
              <a:gd name="connsiteX4" fmla="*/ 4435200 w 4435200"/>
              <a:gd name="connsiteY4" fmla="*/ 2280507 h 2431040"/>
              <a:gd name="connsiteX5" fmla="*/ 4284667 w 4435200"/>
              <a:gd name="connsiteY5" fmla="*/ 2431040 h 2431040"/>
              <a:gd name="connsiteX6" fmla="*/ 150533 w 4435200"/>
              <a:gd name="connsiteY6" fmla="*/ 2431040 h 2431040"/>
              <a:gd name="connsiteX7" fmla="*/ 0 w 4435200"/>
              <a:gd name="connsiteY7" fmla="*/ 2280507 h 2431040"/>
              <a:gd name="connsiteX8" fmla="*/ 0 w 4435200"/>
              <a:gd name="connsiteY8" fmla="*/ 176510 h 2431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435200" h="2431040">
                <a:moveTo>
                  <a:pt x="0" y="176510"/>
                </a:moveTo>
                <a:cubicBezTo>
                  <a:pt x="0" y="93373"/>
                  <a:pt x="72592" y="0"/>
                  <a:pt x="155729" y="0"/>
                </a:cubicBezTo>
                <a:lnTo>
                  <a:pt x="4321035" y="15586"/>
                </a:lnTo>
                <a:cubicBezTo>
                  <a:pt x="4404172" y="15586"/>
                  <a:pt x="4435200" y="93373"/>
                  <a:pt x="4435200" y="176510"/>
                </a:cubicBezTo>
                <a:lnTo>
                  <a:pt x="4435200" y="2280507"/>
                </a:lnTo>
                <a:cubicBezTo>
                  <a:pt x="4435200" y="2363644"/>
                  <a:pt x="4367804" y="2431040"/>
                  <a:pt x="4284667" y="2431040"/>
                </a:cubicBezTo>
                <a:lnTo>
                  <a:pt x="150533" y="2431040"/>
                </a:lnTo>
                <a:cubicBezTo>
                  <a:pt x="67396" y="2431040"/>
                  <a:pt x="0" y="2363644"/>
                  <a:pt x="0" y="2280507"/>
                </a:cubicBezTo>
                <a:lnTo>
                  <a:pt x="0" y="17651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blurRad="177800" dist="38100" dir="8100000" algn="tr" rotWithShape="0">
              <a:prstClr val="black">
                <a:alpha val="2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sz="1351"/>
          </a:p>
        </p:txBody>
      </p:sp>
      <p:sp>
        <p:nvSpPr>
          <p:cNvPr id="25" name="Espaço Reservado para Texto 24">
            <a:extLst>
              <a:ext uri="{FF2B5EF4-FFF2-40B4-BE49-F238E27FC236}">
                <a16:creationId xmlns:a16="http://schemas.microsoft.com/office/drawing/2014/main" id="{F23AF8C6-F807-A43D-E470-FC73BC02AD1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811338" y="2698751"/>
            <a:ext cx="1949844" cy="1052513"/>
          </a:xfrm>
        </p:spPr>
        <p:txBody>
          <a:bodyPr lIns="0">
            <a:noAutofit/>
          </a:bodyPr>
          <a:lstStyle>
            <a:lvl1pPr marR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pt-BR" sz="6000" b="1" i="0" u="none" strike="noStrike" cap="none" dirty="0">
                <a:solidFill>
                  <a:srgbClr val="DAD8D8"/>
                </a:solidFill>
                <a:latin typeface="+mj-lt"/>
                <a:ea typeface="Times New Roman" panose="02020603050405020304" pitchFamily="18" charset="0"/>
                <a:cs typeface="Arial"/>
                <a:sym typeface="Arial"/>
              </a:defRPr>
            </a:lvl1pPr>
          </a:lstStyle>
          <a:p>
            <a:pPr lvl="0"/>
            <a:r>
              <a:rPr lang="pt-BR"/>
              <a:t>#</a:t>
            </a:r>
          </a:p>
        </p:txBody>
      </p:sp>
      <p:sp>
        <p:nvSpPr>
          <p:cNvPr id="30" name="Espaço Reservado para Texto 29">
            <a:extLst>
              <a:ext uri="{FF2B5EF4-FFF2-40B4-BE49-F238E27FC236}">
                <a16:creationId xmlns:a16="http://schemas.microsoft.com/office/drawing/2014/main" id="{9D491E22-92EA-618D-BAF8-776849CE7C7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811338" y="3911570"/>
            <a:ext cx="3516312" cy="312738"/>
          </a:xfrm>
        </p:spPr>
        <p:txBody>
          <a:bodyPr>
            <a:normAutofit/>
          </a:bodyPr>
          <a:lstStyle>
            <a:lvl1pPr marR="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pt-BR" sz="1400" b="1" i="0" u="none" strike="noStrike" cap="none" dirty="0" smtClean="0">
                <a:solidFill>
                  <a:schemeClr val="tx2"/>
                </a:solidFill>
                <a:latin typeface="+mj-lt"/>
                <a:ea typeface="Times New Roman" panose="02020603050405020304" pitchFamily="18" charset="0"/>
                <a:cs typeface="Arial"/>
                <a:sym typeface="Arial"/>
              </a:defRPr>
            </a:lvl1pPr>
          </a:lstStyle>
          <a:p>
            <a:pPr lvl="0"/>
            <a:r>
              <a:rPr lang="pt-BR"/>
              <a:t>Clique para editar os estilos</a:t>
            </a:r>
          </a:p>
        </p:txBody>
      </p:sp>
      <p:sp>
        <p:nvSpPr>
          <p:cNvPr id="31" name="Espaço Reservado para Texto 29">
            <a:extLst>
              <a:ext uri="{FF2B5EF4-FFF2-40B4-BE49-F238E27FC236}">
                <a16:creationId xmlns:a16="http://schemas.microsoft.com/office/drawing/2014/main" id="{BDD87BC4-5DA3-8DE4-6EB4-09DF200DC55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432764" y="3911570"/>
            <a:ext cx="3516312" cy="312738"/>
          </a:xfrm>
        </p:spPr>
        <p:txBody>
          <a:bodyPr>
            <a:normAutofit/>
          </a:bodyPr>
          <a:lstStyle>
            <a:lvl1pPr marR="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pt-BR" sz="1400" b="1" i="0" u="none" strike="noStrike" cap="none" dirty="0" smtClean="0">
                <a:solidFill>
                  <a:schemeClr val="tx2"/>
                </a:solidFill>
                <a:latin typeface="+mj-lt"/>
                <a:ea typeface="Times New Roman" panose="02020603050405020304" pitchFamily="18" charset="0"/>
                <a:cs typeface="Arial"/>
                <a:sym typeface="Arial"/>
              </a:defRPr>
            </a:lvl1pPr>
          </a:lstStyle>
          <a:p>
            <a:pPr lvl="0"/>
            <a:r>
              <a:rPr lang="pt-BR"/>
              <a:t>Clique para editar os estilos</a:t>
            </a:r>
          </a:p>
        </p:txBody>
      </p:sp>
      <p:sp>
        <p:nvSpPr>
          <p:cNvPr id="33" name="Espaço Reservado para Texto 32">
            <a:extLst>
              <a:ext uri="{FF2B5EF4-FFF2-40B4-BE49-F238E27FC236}">
                <a16:creationId xmlns:a16="http://schemas.microsoft.com/office/drawing/2014/main" id="{5B90BA16-3647-7EE4-E8E7-A0663719D6B1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823244" y="4284878"/>
            <a:ext cx="3516312" cy="1370013"/>
          </a:xfrm>
        </p:spPr>
        <p:txBody>
          <a:bodyPr>
            <a:normAutofit/>
          </a:bodyPr>
          <a:lstStyle>
            <a:lvl1pPr marR="0" algn="l" rtl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pt-BR" sz="1200" b="0" i="0" u="none" strike="noStrike" cap="none" dirty="0" smtClean="0">
                <a:solidFill>
                  <a:schemeClr val="tx2"/>
                </a:solidFill>
                <a:latin typeface="+mn-lt"/>
                <a:ea typeface="Times New Roman" panose="02020603050405020304" pitchFamily="18" charset="0"/>
                <a:cs typeface="Arial"/>
                <a:sym typeface="Arial"/>
              </a:defRPr>
            </a:lvl1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34" name="Espaço Reservado para Texto 32">
            <a:extLst>
              <a:ext uri="{FF2B5EF4-FFF2-40B4-BE49-F238E27FC236}">
                <a16:creationId xmlns:a16="http://schemas.microsoft.com/office/drawing/2014/main" id="{20BD869A-4B19-32B8-B2D1-E173FCFC9965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432315" y="4284878"/>
            <a:ext cx="3516312" cy="1370013"/>
          </a:xfrm>
        </p:spPr>
        <p:txBody>
          <a:bodyPr>
            <a:normAutofit/>
          </a:bodyPr>
          <a:lstStyle>
            <a:lvl1pPr marR="0" algn="l" rtl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pt-BR" sz="1200" b="0" i="0" u="none" strike="noStrike" cap="none" dirty="0" smtClean="0">
                <a:solidFill>
                  <a:schemeClr val="tx2"/>
                </a:solidFill>
                <a:latin typeface="+mn-lt"/>
                <a:ea typeface="Times New Roman" panose="02020603050405020304" pitchFamily="18" charset="0"/>
                <a:cs typeface="Arial"/>
                <a:sym typeface="Arial"/>
              </a:defRPr>
            </a:lvl1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36" name="Espaço Reservado para Imagem 35">
            <a:extLst>
              <a:ext uri="{FF2B5EF4-FFF2-40B4-BE49-F238E27FC236}">
                <a16:creationId xmlns:a16="http://schemas.microsoft.com/office/drawing/2014/main" id="{BDB52A58-E55C-9C98-C52A-346308CB97DB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5397500" y="3803683"/>
            <a:ext cx="481013" cy="479425"/>
          </a:xfrm>
        </p:spPr>
        <p:txBody>
          <a:bodyPr>
            <a:normAutofit/>
          </a:bodyPr>
          <a:lstStyle>
            <a:lvl1pPr algn="ctr">
              <a:defRPr sz="800"/>
            </a:lvl1pPr>
          </a:lstStyle>
          <a:p>
            <a:r>
              <a:rPr lang="pt-BR"/>
              <a:t>Ícone</a:t>
            </a:r>
          </a:p>
        </p:txBody>
      </p:sp>
      <p:sp>
        <p:nvSpPr>
          <p:cNvPr id="37" name="Espaço Reservado para Imagem 35">
            <a:extLst>
              <a:ext uri="{FF2B5EF4-FFF2-40B4-BE49-F238E27FC236}">
                <a16:creationId xmlns:a16="http://schemas.microsoft.com/office/drawing/2014/main" id="{C1628873-D7CE-181B-53FE-C45F4CA950AA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9957144" y="3803683"/>
            <a:ext cx="481013" cy="479425"/>
          </a:xfrm>
        </p:spPr>
        <p:txBody>
          <a:bodyPr>
            <a:normAutofit/>
          </a:bodyPr>
          <a:lstStyle>
            <a:lvl1pPr algn="ctr">
              <a:defRPr sz="800"/>
            </a:lvl1pPr>
          </a:lstStyle>
          <a:p>
            <a:r>
              <a:rPr lang="pt-BR"/>
              <a:t>Ícone</a:t>
            </a:r>
          </a:p>
        </p:txBody>
      </p:sp>
      <p:sp>
        <p:nvSpPr>
          <p:cNvPr id="26" name="Espaço Reservado para Texto 24">
            <a:extLst>
              <a:ext uri="{FF2B5EF4-FFF2-40B4-BE49-F238E27FC236}">
                <a16:creationId xmlns:a16="http://schemas.microsoft.com/office/drawing/2014/main" id="{78C5B9BC-23BA-9D40-0EFB-FD4839B9D61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23289" y="2698751"/>
            <a:ext cx="1971675" cy="1052513"/>
          </a:xfrm>
        </p:spPr>
        <p:txBody>
          <a:bodyPr lIns="0">
            <a:noAutofit/>
          </a:bodyPr>
          <a:lstStyle>
            <a:lvl1pPr marR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pt-BR" sz="6000" b="1" i="0" u="none" strike="noStrike" cap="none" dirty="0">
                <a:solidFill>
                  <a:srgbClr val="DAD8D8"/>
                </a:solidFill>
                <a:latin typeface="+mj-lt"/>
                <a:ea typeface="Times New Roman" panose="02020603050405020304" pitchFamily="18" charset="0"/>
                <a:cs typeface="Arial"/>
                <a:sym typeface="Arial"/>
              </a:defRPr>
            </a:lvl1pPr>
          </a:lstStyle>
          <a:p>
            <a:pPr lvl="0"/>
            <a:r>
              <a:rPr lang="pt-BR"/>
              <a:t>#</a:t>
            </a:r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5195C0EA-8668-632B-6E8C-C7C8464EF94B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1824038" y="2372411"/>
            <a:ext cx="4157662" cy="727075"/>
          </a:xfrm>
        </p:spPr>
        <p:txBody>
          <a:bodyPr>
            <a:normAutofit/>
          </a:bodyPr>
          <a:lstStyle>
            <a:lvl1pPr marR="0" algn="l" rtl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pt-BR" sz="1200" b="0" i="0" u="none" strike="noStrike" cap="none" dirty="0" smtClean="0">
                <a:solidFill>
                  <a:schemeClr val="tx2"/>
                </a:solidFill>
                <a:latin typeface="+mn-lt"/>
                <a:ea typeface="Times New Roman" panose="02020603050405020304" pitchFamily="18" charset="0"/>
                <a:cs typeface="Arial"/>
                <a:sym typeface="Arial"/>
              </a:defRPr>
            </a:lvl1pPr>
          </a:lstStyle>
          <a:p>
            <a:pPr lvl="0"/>
            <a:r>
              <a:rPr lang="pt-BR"/>
              <a:t>Clique para editar os estilos de texto Mestres</a:t>
            </a:r>
          </a:p>
        </p:txBody>
      </p:sp>
    </p:spTree>
    <p:extLst>
      <p:ext uri="{BB962C8B-B14F-4D97-AF65-F5344CB8AC3E}">
        <p14:creationId xmlns:p14="http://schemas.microsoft.com/office/powerpoint/2010/main" val="3350097318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ço Reservado para Texto 6">
            <a:extLst>
              <a:ext uri="{FF2B5EF4-FFF2-40B4-BE49-F238E27FC236}">
                <a16:creationId xmlns:a16="http://schemas.microsoft.com/office/drawing/2014/main" id="{D6F85BE3-183D-1F4D-9986-5566BC05916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429125" y="602332"/>
            <a:ext cx="6832600" cy="447675"/>
          </a:xfrm>
        </p:spPr>
        <p:txBody>
          <a:bodyPr lIns="126000">
            <a:normAutofit/>
          </a:bodyPr>
          <a:lstStyle>
            <a:lvl1pPr>
              <a:lnSpc>
                <a:spcPct val="100000"/>
              </a:lnSpc>
              <a:defRPr sz="1100" b="0" cap="all" spc="100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endParaRPr lang="pt-BR"/>
          </a:p>
        </p:txBody>
      </p:sp>
      <p:sp>
        <p:nvSpPr>
          <p:cNvPr id="8" name="Título 7">
            <a:extLst>
              <a:ext uri="{FF2B5EF4-FFF2-40B4-BE49-F238E27FC236}">
                <a16:creationId xmlns:a16="http://schemas.microsoft.com/office/drawing/2014/main" id="{850B399A-346B-51E3-1A92-253CADB724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45000" y="865524"/>
            <a:ext cx="6832600" cy="447676"/>
          </a:xfrm>
        </p:spPr>
        <p:txBody>
          <a:bodyPr anchor="t">
            <a:noAutofit/>
          </a:bodyPr>
          <a:lstStyle>
            <a:lvl1pPr>
              <a:defRPr sz="3600" b="1" spc="-100" baseline="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10" name="Espaço Reservado para Texto 9">
            <a:extLst>
              <a:ext uri="{FF2B5EF4-FFF2-40B4-BE49-F238E27FC236}">
                <a16:creationId xmlns:a16="http://schemas.microsoft.com/office/drawing/2014/main" id="{A4BD41B5-820C-FB18-CD31-121F93FBE6B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445000" y="2090738"/>
            <a:ext cx="6832600" cy="4132846"/>
          </a:xfrm>
        </p:spPr>
        <p:txBody>
          <a:bodyPr>
            <a:noAutofit/>
          </a:bodyPr>
          <a:lstStyle>
            <a:lvl1pPr marL="0" indent="0">
              <a:lnSpc>
                <a:spcPct val="110000"/>
              </a:lnSpc>
              <a:spcBef>
                <a:spcPts val="2000"/>
              </a:spcBef>
              <a:spcAft>
                <a:spcPts val="500"/>
              </a:spcAft>
              <a:buFont typeface="Arial" panose="020B0604020202020204" pitchFamily="34" charset="0"/>
              <a:buNone/>
              <a:defRPr sz="1600" b="1" u="none">
                <a:solidFill>
                  <a:schemeClr val="accent2"/>
                </a:solidFill>
              </a:defRPr>
            </a:lvl1pPr>
            <a:lvl2pPr marL="0" indent="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None/>
              <a:defRPr sz="1400"/>
            </a:lvl2pPr>
            <a:lvl3pPr marL="792000" indent="-288000">
              <a:lnSpc>
                <a:spcPct val="110000"/>
              </a:lnSpc>
              <a:spcBef>
                <a:spcPts val="500"/>
              </a:spcBef>
              <a:spcAft>
                <a:spcPts val="0"/>
              </a:spcAft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400">
                <a:solidFill>
                  <a:schemeClr val="tx2"/>
                </a:solidFill>
              </a:defRPr>
            </a:lvl3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endParaRPr lang="pt-BR"/>
          </a:p>
        </p:txBody>
      </p:sp>
      <p:pic>
        <p:nvPicPr>
          <p:cNvPr id="2" name="Gráfico 1">
            <a:extLst>
              <a:ext uri="{FF2B5EF4-FFF2-40B4-BE49-F238E27FC236}">
                <a16:creationId xmlns:a16="http://schemas.microsoft.com/office/drawing/2014/main" id="{A8EC6370-4927-C92F-ACF0-D1E7FF52C1D9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-4731040" y="-591489"/>
            <a:ext cx="8040978" cy="80409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8164906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lipse 3">
            <a:extLst>
              <a:ext uri="{FF2B5EF4-FFF2-40B4-BE49-F238E27FC236}">
                <a16:creationId xmlns:a16="http://schemas.microsoft.com/office/drawing/2014/main" id="{2C50B055-D4D1-8B28-58F6-A4E7EE06C736}"/>
              </a:ext>
            </a:extLst>
          </p:cNvPr>
          <p:cNvSpPr/>
          <p:nvPr userDrawn="1"/>
        </p:nvSpPr>
        <p:spPr>
          <a:xfrm>
            <a:off x="9740900" y="4254388"/>
            <a:ext cx="3476175" cy="3476175"/>
          </a:xfrm>
          <a:prstGeom prst="ellipse">
            <a:avLst/>
          </a:prstGeom>
          <a:solidFill>
            <a:srgbClr val="F3ABA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7" name="Espaço Reservado para Texto 6">
            <a:extLst>
              <a:ext uri="{FF2B5EF4-FFF2-40B4-BE49-F238E27FC236}">
                <a16:creationId xmlns:a16="http://schemas.microsoft.com/office/drawing/2014/main" id="{D6F85BE3-183D-1F4D-9986-5566BC05916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429125" y="602332"/>
            <a:ext cx="6832600" cy="447675"/>
          </a:xfrm>
        </p:spPr>
        <p:txBody>
          <a:bodyPr lIns="126000">
            <a:normAutofit/>
          </a:bodyPr>
          <a:lstStyle>
            <a:lvl1pPr>
              <a:lnSpc>
                <a:spcPct val="100000"/>
              </a:lnSpc>
              <a:defRPr sz="1100" b="0" cap="all" spc="100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endParaRPr lang="pt-BR"/>
          </a:p>
        </p:txBody>
      </p:sp>
      <p:sp>
        <p:nvSpPr>
          <p:cNvPr id="8" name="Título 7">
            <a:extLst>
              <a:ext uri="{FF2B5EF4-FFF2-40B4-BE49-F238E27FC236}">
                <a16:creationId xmlns:a16="http://schemas.microsoft.com/office/drawing/2014/main" id="{850B399A-346B-51E3-1A92-253CADB724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45000" y="865524"/>
            <a:ext cx="6832600" cy="447676"/>
          </a:xfrm>
        </p:spPr>
        <p:txBody>
          <a:bodyPr anchor="t">
            <a:noAutofit/>
          </a:bodyPr>
          <a:lstStyle>
            <a:lvl1pPr>
              <a:defRPr sz="3600" b="1" spc="-100" baseline="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10" name="Espaço Reservado para Texto 9">
            <a:extLst>
              <a:ext uri="{FF2B5EF4-FFF2-40B4-BE49-F238E27FC236}">
                <a16:creationId xmlns:a16="http://schemas.microsoft.com/office/drawing/2014/main" id="{A4BD41B5-820C-FB18-CD31-121F93FBE6B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445000" y="2090738"/>
            <a:ext cx="6832600" cy="4132846"/>
          </a:xfrm>
        </p:spPr>
        <p:txBody>
          <a:bodyPr>
            <a:noAutofit/>
          </a:bodyPr>
          <a:lstStyle>
            <a:lvl1pPr marL="0" indent="0">
              <a:lnSpc>
                <a:spcPct val="110000"/>
              </a:lnSpc>
              <a:spcBef>
                <a:spcPts val="2000"/>
              </a:spcBef>
              <a:spcAft>
                <a:spcPts val="500"/>
              </a:spcAft>
              <a:buFont typeface="Arial" panose="020B0604020202020204" pitchFamily="34" charset="0"/>
              <a:buNone/>
              <a:defRPr sz="1600" b="1" u="none">
                <a:solidFill>
                  <a:schemeClr val="accent2"/>
                </a:solidFill>
              </a:defRPr>
            </a:lvl1pPr>
            <a:lvl2pPr marL="0" indent="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None/>
              <a:defRPr sz="1400"/>
            </a:lvl2pPr>
            <a:lvl3pPr marL="792000" indent="-288000">
              <a:lnSpc>
                <a:spcPct val="110000"/>
              </a:lnSpc>
              <a:spcBef>
                <a:spcPts val="500"/>
              </a:spcBef>
              <a:spcAft>
                <a:spcPts val="0"/>
              </a:spcAft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400">
                <a:solidFill>
                  <a:schemeClr val="tx2"/>
                </a:solidFill>
              </a:defRPr>
            </a:lvl3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endParaRPr lang="pt-BR"/>
          </a:p>
        </p:txBody>
      </p:sp>
      <p:pic>
        <p:nvPicPr>
          <p:cNvPr id="2" name="Gráfico 1">
            <a:extLst>
              <a:ext uri="{FF2B5EF4-FFF2-40B4-BE49-F238E27FC236}">
                <a16:creationId xmlns:a16="http://schemas.microsoft.com/office/drawing/2014/main" id="{A8EC6370-4927-C92F-ACF0-D1E7FF52C1D9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-4731040" y="-591489"/>
            <a:ext cx="8040978" cy="80409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7684778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ço Reservado para Texto 6">
            <a:extLst>
              <a:ext uri="{FF2B5EF4-FFF2-40B4-BE49-F238E27FC236}">
                <a16:creationId xmlns:a16="http://schemas.microsoft.com/office/drawing/2014/main" id="{D6F85BE3-183D-1F4D-9986-5566BC05916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429125" y="602332"/>
            <a:ext cx="6832600" cy="447675"/>
          </a:xfrm>
        </p:spPr>
        <p:txBody>
          <a:bodyPr lIns="126000">
            <a:normAutofit/>
          </a:bodyPr>
          <a:lstStyle>
            <a:lvl1pPr>
              <a:lnSpc>
                <a:spcPct val="100000"/>
              </a:lnSpc>
              <a:defRPr sz="1100" b="0" cap="all" spc="100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endParaRPr lang="pt-BR"/>
          </a:p>
        </p:txBody>
      </p:sp>
      <p:sp>
        <p:nvSpPr>
          <p:cNvPr id="8" name="Título 7">
            <a:extLst>
              <a:ext uri="{FF2B5EF4-FFF2-40B4-BE49-F238E27FC236}">
                <a16:creationId xmlns:a16="http://schemas.microsoft.com/office/drawing/2014/main" id="{850B399A-346B-51E3-1A92-253CADB724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45000" y="865524"/>
            <a:ext cx="6832600" cy="447676"/>
          </a:xfrm>
        </p:spPr>
        <p:txBody>
          <a:bodyPr anchor="t">
            <a:noAutofit/>
          </a:bodyPr>
          <a:lstStyle>
            <a:lvl1pPr>
              <a:defRPr sz="3600" b="1" spc="-100" baseline="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10" name="Espaço Reservado para Texto 9">
            <a:extLst>
              <a:ext uri="{FF2B5EF4-FFF2-40B4-BE49-F238E27FC236}">
                <a16:creationId xmlns:a16="http://schemas.microsoft.com/office/drawing/2014/main" id="{A4BD41B5-820C-FB18-CD31-121F93FBE6B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445000" y="2090738"/>
            <a:ext cx="6832600" cy="4132846"/>
          </a:xfrm>
        </p:spPr>
        <p:txBody>
          <a:bodyPr>
            <a:noAutofit/>
          </a:bodyPr>
          <a:lstStyle>
            <a:lvl1pPr marL="0" indent="0">
              <a:lnSpc>
                <a:spcPct val="110000"/>
              </a:lnSpc>
              <a:spcBef>
                <a:spcPts val="2000"/>
              </a:spcBef>
              <a:spcAft>
                <a:spcPts val="500"/>
              </a:spcAft>
              <a:buFont typeface="Arial" panose="020B0604020202020204" pitchFamily="34" charset="0"/>
              <a:buNone/>
              <a:defRPr sz="1600" b="1" u="none">
                <a:solidFill>
                  <a:schemeClr val="accent2"/>
                </a:solidFill>
              </a:defRPr>
            </a:lvl1pPr>
            <a:lvl2pPr marL="0" indent="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None/>
              <a:defRPr sz="1400"/>
            </a:lvl2pPr>
            <a:lvl3pPr marL="792000" indent="-288000">
              <a:lnSpc>
                <a:spcPct val="110000"/>
              </a:lnSpc>
              <a:spcBef>
                <a:spcPts val="500"/>
              </a:spcBef>
              <a:spcAft>
                <a:spcPts val="0"/>
              </a:spcAft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400">
                <a:solidFill>
                  <a:schemeClr val="tx2"/>
                </a:solidFill>
              </a:defRPr>
            </a:lvl3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endParaRPr lang="pt-BR"/>
          </a:p>
        </p:txBody>
      </p:sp>
      <p:pic>
        <p:nvPicPr>
          <p:cNvPr id="3" name="Gráfico 2">
            <a:extLst>
              <a:ext uri="{FF2B5EF4-FFF2-40B4-BE49-F238E27FC236}">
                <a16:creationId xmlns:a16="http://schemas.microsoft.com/office/drawing/2014/main" id="{35E7C3AD-E15C-80F2-4FED-5155F41E38C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-1092580" y="650458"/>
            <a:ext cx="4716432" cy="5541795"/>
          </a:xfrm>
          <a:prstGeom prst="rect">
            <a:avLst/>
          </a:prstGeom>
        </p:spPr>
      </p:pic>
      <p:pic>
        <p:nvPicPr>
          <p:cNvPr id="4" name="Gráfico 3">
            <a:extLst>
              <a:ext uri="{FF2B5EF4-FFF2-40B4-BE49-F238E27FC236}">
                <a16:creationId xmlns:a16="http://schemas.microsoft.com/office/drawing/2014/main" id="{4EBD6769-77D4-163B-AC96-F0F1CB1F703E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828972" y="-1239748"/>
            <a:ext cx="2726056" cy="2726056"/>
          </a:xfrm>
          <a:prstGeom prst="rect">
            <a:avLst/>
          </a:prstGeom>
        </p:spPr>
      </p:pic>
      <p:pic>
        <p:nvPicPr>
          <p:cNvPr id="5" name="Gráfico 4">
            <a:extLst>
              <a:ext uri="{FF2B5EF4-FFF2-40B4-BE49-F238E27FC236}">
                <a16:creationId xmlns:a16="http://schemas.microsoft.com/office/drawing/2014/main" id="{D64BC587-E1BC-D84B-13E1-280D52F92BC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680864" y="6346864"/>
            <a:ext cx="1022272" cy="10222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945861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ço Reservado para Texto 6">
            <a:extLst>
              <a:ext uri="{FF2B5EF4-FFF2-40B4-BE49-F238E27FC236}">
                <a16:creationId xmlns:a16="http://schemas.microsoft.com/office/drawing/2014/main" id="{D6F85BE3-183D-1F4D-9986-5566BC05916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429125" y="602332"/>
            <a:ext cx="6832600" cy="447675"/>
          </a:xfrm>
        </p:spPr>
        <p:txBody>
          <a:bodyPr lIns="126000">
            <a:normAutofit/>
          </a:bodyPr>
          <a:lstStyle>
            <a:lvl1pPr>
              <a:lnSpc>
                <a:spcPct val="100000"/>
              </a:lnSpc>
              <a:defRPr sz="1100" b="0" cap="all" spc="100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endParaRPr lang="pt-BR"/>
          </a:p>
        </p:txBody>
      </p:sp>
      <p:sp>
        <p:nvSpPr>
          <p:cNvPr id="8" name="Título 7">
            <a:extLst>
              <a:ext uri="{FF2B5EF4-FFF2-40B4-BE49-F238E27FC236}">
                <a16:creationId xmlns:a16="http://schemas.microsoft.com/office/drawing/2014/main" id="{850B399A-346B-51E3-1A92-253CADB724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45000" y="865524"/>
            <a:ext cx="6832600" cy="447676"/>
          </a:xfrm>
        </p:spPr>
        <p:txBody>
          <a:bodyPr anchor="t">
            <a:noAutofit/>
          </a:bodyPr>
          <a:lstStyle>
            <a:lvl1pPr>
              <a:defRPr sz="3600" b="1" spc="-100" baseline="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10" name="Espaço Reservado para Texto 9">
            <a:extLst>
              <a:ext uri="{FF2B5EF4-FFF2-40B4-BE49-F238E27FC236}">
                <a16:creationId xmlns:a16="http://schemas.microsoft.com/office/drawing/2014/main" id="{A4BD41B5-820C-FB18-CD31-121F93FBE6B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445000" y="2090738"/>
            <a:ext cx="6832600" cy="4132846"/>
          </a:xfrm>
        </p:spPr>
        <p:txBody>
          <a:bodyPr>
            <a:noAutofit/>
          </a:bodyPr>
          <a:lstStyle>
            <a:lvl1pPr marL="0" indent="0">
              <a:lnSpc>
                <a:spcPct val="110000"/>
              </a:lnSpc>
              <a:spcBef>
                <a:spcPts val="2000"/>
              </a:spcBef>
              <a:spcAft>
                <a:spcPts val="500"/>
              </a:spcAft>
              <a:buFont typeface="Arial" panose="020B0604020202020204" pitchFamily="34" charset="0"/>
              <a:buNone/>
              <a:defRPr sz="1600" b="1" u="none">
                <a:solidFill>
                  <a:schemeClr val="accent2"/>
                </a:solidFill>
              </a:defRPr>
            </a:lvl1pPr>
            <a:lvl2pPr marL="0" indent="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None/>
              <a:defRPr sz="1400"/>
            </a:lvl2pPr>
            <a:lvl3pPr marL="792000" indent="-288000">
              <a:lnSpc>
                <a:spcPct val="110000"/>
              </a:lnSpc>
              <a:spcBef>
                <a:spcPts val="500"/>
              </a:spcBef>
              <a:spcAft>
                <a:spcPts val="0"/>
              </a:spcAft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400">
                <a:solidFill>
                  <a:schemeClr val="tx2"/>
                </a:solidFill>
              </a:defRPr>
            </a:lvl3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endParaRPr lang="pt-BR"/>
          </a:p>
        </p:txBody>
      </p:sp>
      <p:pic>
        <p:nvPicPr>
          <p:cNvPr id="2" name="Gráfico 1">
            <a:extLst>
              <a:ext uri="{FF2B5EF4-FFF2-40B4-BE49-F238E27FC236}">
                <a16:creationId xmlns:a16="http://schemas.microsoft.com/office/drawing/2014/main" id="{A8EC6370-4927-C92F-ACF0-D1E7FF52C1D9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-4731040" y="-591489"/>
            <a:ext cx="8040978" cy="80409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4398757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ço Reservado para Texto 6">
            <a:extLst>
              <a:ext uri="{FF2B5EF4-FFF2-40B4-BE49-F238E27FC236}">
                <a16:creationId xmlns:a16="http://schemas.microsoft.com/office/drawing/2014/main" id="{D6F85BE3-183D-1F4D-9986-5566BC05916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811338" y="602332"/>
            <a:ext cx="5919787" cy="447675"/>
          </a:xfrm>
        </p:spPr>
        <p:txBody>
          <a:bodyPr lIns="126000">
            <a:normAutofit/>
          </a:bodyPr>
          <a:lstStyle>
            <a:lvl1pPr>
              <a:lnSpc>
                <a:spcPct val="100000"/>
              </a:lnSpc>
              <a:defRPr sz="1100" b="0" cap="all" spc="100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endParaRPr lang="pt-BR"/>
          </a:p>
        </p:txBody>
      </p:sp>
      <p:sp>
        <p:nvSpPr>
          <p:cNvPr id="8" name="Título 7">
            <a:extLst>
              <a:ext uri="{FF2B5EF4-FFF2-40B4-BE49-F238E27FC236}">
                <a16:creationId xmlns:a16="http://schemas.microsoft.com/office/drawing/2014/main" id="{850B399A-346B-51E3-1A92-253CADB724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27213" y="865524"/>
            <a:ext cx="5919787" cy="447676"/>
          </a:xfrm>
        </p:spPr>
        <p:txBody>
          <a:bodyPr anchor="t">
            <a:noAutofit/>
          </a:bodyPr>
          <a:lstStyle>
            <a:lvl1pPr>
              <a:defRPr sz="3600" b="1" spc="-100" baseline="0"/>
            </a:lvl1pPr>
          </a:lstStyle>
          <a:p>
            <a:r>
              <a:rPr lang="pt-BR"/>
              <a:t>Clique para editar o título Mestre</a:t>
            </a:r>
          </a:p>
        </p:txBody>
      </p:sp>
      <p:pic>
        <p:nvPicPr>
          <p:cNvPr id="3" name="Gráfico 2">
            <a:extLst>
              <a:ext uri="{FF2B5EF4-FFF2-40B4-BE49-F238E27FC236}">
                <a16:creationId xmlns:a16="http://schemas.microsoft.com/office/drawing/2014/main" id="{35E7C3AD-E15C-80F2-4FED-5155F41E38C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-2526167" y="650458"/>
            <a:ext cx="4716432" cy="5541795"/>
          </a:xfrm>
          <a:prstGeom prst="rect">
            <a:avLst/>
          </a:prstGeom>
        </p:spPr>
      </p:pic>
      <p:pic>
        <p:nvPicPr>
          <p:cNvPr id="4" name="Gráfico 3">
            <a:extLst>
              <a:ext uri="{FF2B5EF4-FFF2-40B4-BE49-F238E27FC236}">
                <a16:creationId xmlns:a16="http://schemas.microsoft.com/office/drawing/2014/main" id="{4EBD6769-77D4-163B-AC96-F0F1CB1F703E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828972" y="-1239748"/>
            <a:ext cx="2726056" cy="2726056"/>
          </a:xfrm>
          <a:prstGeom prst="rect">
            <a:avLst/>
          </a:prstGeom>
        </p:spPr>
      </p:pic>
      <p:pic>
        <p:nvPicPr>
          <p:cNvPr id="5" name="Gráfico 4">
            <a:extLst>
              <a:ext uri="{FF2B5EF4-FFF2-40B4-BE49-F238E27FC236}">
                <a16:creationId xmlns:a16="http://schemas.microsoft.com/office/drawing/2014/main" id="{D64BC587-E1BC-D84B-13E1-280D52F92BC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680864" y="6346864"/>
            <a:ext cx="1022272" cy="1022272"/>
          </a:xfrm>
          <a:prstGeom prst="rect">
            <a:avLst/>
          </a:prstGeom>
        </p:spPr>
      </p:pic>
      <p:sp>
        <p:nvSpPr>
          <p:cNvPr id="11" name="Retângulo 10">
            <a:extLst>
              <a:ext uri="{FF2B5EF4-FFF2-40B4-BE49-F238E27FC236}">
                <a16:creationId xmlns:a16="http://schemas.microsoft.com/office/drawing/2014/main" id="{842E5A5A-7704-2F48-8702-A3E6101A002E}"/>
              </a:ext>
            </a:extLst>
          </p:cNvPr>
          <p:cNvSpPr/>
          <p:nvPr userDrawn="1"/>
        </p:nvSpPr>
        <p:spPr>
          <a:xfrm>
            <a:off x="1828046" y="2954787"/>
            <a:ext cx="2952000" cy="3600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8" name="Espaço Reservado para Texto 3">
            <a:extLst>
              <a:ext uri="{FF2B5EF4-FFF2-40B4-BE49-F238E27FC236}">
                <a16:creationId xmlns:a16="http://schemas.microsoft.com/office/drawing/2014/main" id="{CDF90CEE-BDF2-3D8C-A60C-9E9609E82BDF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1825882" y="1920603"/>
            <a:ext cx="5922962" cy="727075"/>
          </a:xfrm>
        </p:spPr>
        <p:txBody>
          <a:bodyPr>
            <a:normAutofit/>
          </a:bodyPr>
          <a:lstStyle>
            <a:lvl1pPr marR="0" algn="l" rtl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pt-BR" sz="1200" b="0" i="0" u="none" strike="noStrike" cap="none" dirty="0" smtClean="0">
                <a:solidFill>
                  <a:schemeClr val="tx2"/>
                </a:solidFill>
                <a:latin typeface="+mn-lt"/>
                <a:ea typeface="Times New Roman" panose="02020603050405020304" pitchFamily="18" charset="0"/>
                <a:cs typeface="Arial"/>
                <a:sym typeface="Arial"/>
              </a:defRPr>
            </a:lvl1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6" name="Espaço Reservado para Texto 5">
            <a:extLst>
              <a:ext uri="{FF2B5EF4-FFF2-40B4-BE49-F238E27FC236}">
                <a16:creationId xmlns:a16="http://schemas.microsoft.com/office/drawing/2014/main" id="{99F7F299-B9F4-BC9F-95FF-5ED073B643B1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1824038" y="3315150"/>
            <a:ext cx="2952000" cy="2901500"/>
          </a:xfrm>
          <a:solidFill>
            <a:srgbClr val="2D3D70">
              <a:alpha val="90000"/>
              <a:tint val="40000"/>
              <a:hueOff val="0"/>
              <a:satOff val="0"/>
              <a:lumOff val="0"/>
              <a:alphaOff val="0"/>
            </a:srgbClr>
          </a:solidFill>
          <a:ln w="12700" cap="flat" cmpd="sng" algn="ctr">
            <a:solidFill>
              <a:srgbClr val="2D3D70">
                <a:alpha val="90000"/>
                <a:tint val="40000"/>
                <a:hueOff val="0"/>
                <a:satOff val="0"/>
                <a:lumOff val="0"/>
                <a:alphaOff val="0"/>
              </a:srgbClr>
            </a:solidFill>
            <a:prstDash val="solid"/>
            <a:miter lim="800000"/>
          </a:ln>
          <a:effectLst/>
        </p:spPr>
        <p:txBody>
          <a:bodyPr spcFirstLastPara="0" vert="horz" wrap="square" lIns="180000" tIns="261366" rIns="180000" bIns="392049" numCol="1" spcCol="1270" anchor="t" anchorCtr="0">
            <a:noAutofit/>
          </a:bodyPr>
          <a:lstStyle>
            <a:lvl1pPr marR="0" algn="l" rtl="0">
              <a:lnSpc>
                <a:spcPct val="13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Font typeface="Arial"/>
              <a:defRPr lang="pt-BR" sz="1300" b="0" i="0" u="none" strike="noStrike" cap="none" dirty="0">
                <a:solidFill>
                  <a:schemeClr val="tx1"/>
                </a:solidFill>
                <a:latin typeface="+mn-lt"/>
                <a:ea typeface="Arial"/>
                <a:cs typeface="Arial"/>
                <a:sym typeface="Arial"/>
              </a:defRPr>
            </a:lvl1pPr>
          </a:lstStyle>
          <a:p>
            <a:pPr marR="0" lv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</a:pPr>
            <a:r>
              <a:rPr lang="pt-BR"/>
              <a:t>Clique para editar os estilos de texto Mestres</a:t>
            </a:r>
          </a:p>
        </p:txBody>
      </p:sp>
      <p:sp>
        <p:nvSpPr>
          <p:cNvPr id="10" name="Espaço Reservado para Texto 5">
            <a:extLst>
              <a:ext uri="{FF2B5EF4-FFF2-40B4-BE49-F238E27FC236}">
                <a16:creationId xmlns:a16="http://schemas.microsoft.com/office/drawing/2014/main" id="{79E14420-1845-E853-61FD-FA2963FDC8F4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5099050" y="3315150"/>
            <a:ext cx="2952000" cy="2901500"/>
          </a:xfrm>
          <a:solidFill>
            <a:srgbClr val="2D3D70">
              <a:alpha val="90000"/>
              <a:tint val="40000"/>
              <a:hueOff val="0"/>
              <a:satOff val="0"/>
              <a:lumOff val="0"/>
              <a:alphaOff val="0"/>
            </a:srgbClr>
          </a:solidFill>
          <a:ln w="12700" cap="flat" cmpd="sng" algn="ctr">
            <a:solidFill>
              <a:srgbClr val="2D3D70">
                <a:alpha val="90000"/>
                <a:tint val="40000"/>
                <a:hueOff val="0"/>
                <a:satOff val="0"/>
                <a:lumOff val="0"/>
                <a:alphaOff val="0"/>
              </a:srgbClr>
            </a:solidFill>
            <a:prstDash val="solid"/>
            <a:miter lim="800000"/>
          </a:ln>
          <a:effectLst/>
        </p:spPr>
        <p:txBody>
          <a:bodyPr spcFirstLastPara="0" vert="horz" wrap="square" lIns="180000" tIns="261366" rIns="180000" bIns="392049" numCol="1" spcCol="1270" rtlCol="0" anchor="t" anchorCtr="0">
            <a:noAutofit/>
          </a:bodyPr>
          <a:lstStyle>
            <a:lvl1pPr>
              <a:defRPr lang="pt-BR" sz="1300" b="0" i="0" u="none" strike="noStrike" cap="none" dirty="0">
                <a:solidFill>
                  <a:schemeClr val="tx1"/>
                </a:solidFill>
                <a:ea typeface="Arial"/>
                <a:cs typeface="Arial"/>
              </a:defRPr>
            </a:lvl1pPr>
          </a:lstStyle>
          <a:p>
            <a:pPr marR="0" lv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</a:pPr>
            <a:r>
              <a:rPr lang="pt-BR"/>
              <a:t>Clique para editar os estilos de texto Mestres</a:t>
            </a:r>
          </a:p>
        </p:txBody>
      </p:sp>
      <p:sp>
        <p:nvSpPr>
          <p:cNvPr id="12" name="Espaço Reservado para Texto 5">
            <a:extLst>
              <a:ext uri="{FF2B5EF4-FFF2-40B4-BE49-F238E27FC236}">
                <a16:creationId xmlns:a16="http://schemas.microsoft.com/office/drawing/2014/main" id="{913B9138-B8EB-3199-7F11-1E6E66F0F896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8325600" y="3315150"/>
            <a:ext cx="2952000" cy="2901500"/>
          </a:xfrm>
          <a:solidFill>
            <a:srgbClr val="2D3D70">
              <a:alpha val="90000"/>
              <a:tint val="40000"/>
              <a:hueOff val="0"/>
              <a:satOff val="0"/>
              <a:lumOff val="0"/>
              <a:alphaOff val="0"/>
            </a:srgbClr>
          </a:solidFill>
          <a:ln w="12700" cap="flat" cmpd="sng" algn="ctr">
            <a:solidFill>
              <a:srgbClr val="2D3D70">
                <a:alpha val="90000"/>
                <a:tint val="40000"/>
                <a:hueOff val="0"/>
                <a:satOff val="0"/>
                <a:lumOff val="0"/>
                <a:alphaOff val="0"/>
              </a:srgbClr>
            </a:solidFill>
            <a:prstDash val="solid"/>
            <a:miter lim="800000"/>
          </a:ln>
          <a:effectLst/>
        </p:spPr>
        <p:txBody>
          <a:bodyPr spcFirstLastPara="0" vert="horz" wrap="square" lIns="180000" tIns="261366" rIns="180000" bIns="392049" numCol="1" spcCol="1270" rtlCol="0" anchor="t" anchorCtr="0">
            <a:noAutofit/>
          </a:bodyPr>
          <a:lstStyle>
            <a:lvl1pPr>
              <a:defRPr lang="pt-BR" sz="1300" b="0" i="0" u="none" strike="noStrike" cap="none" dirty="0">
                <a:solidFill>
                  <a:schemeClr val="tx1"/>
                </a:solidFill>
                <a:ea typeface="Arial"/>
                <a:cs typeface="Arial"/>
              </a:defRPr>
            </a:lvl1pPr>
          </a:lstStyle>
          <a:p>
            <a:pPr marR="0" lv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</a:pPr>
            <a:r>
              <a:rPr lang="pt-BR"/>
              <a:t>Clique para editar os estilos de texto Mestres</a:t>
            </a:r>
          </a:p>
        </p:txBody>
      </p:sp>
      <p:sp>
        <p:nvSpPr>
          <p:cNvPr id="13" name="Espaço Reservado para Texto 5">
            <a:extLst>
              <a:ext uri="{FF2B5EF4-FFF2-40B4-BE49-F238E27FC236}">
                <a16:creationId xmlns:a16="http://schemas.microsoft.com/office/drawing/2014/main" id="{B8F1D9A9-B7F4-BE71-F7ED-0A07DA24A98C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1824038" y="2961188"/>
            <a:ext cx="2952000" cy="353377"/>
          </a:xfrm>
          <a:solidFill>
            <a:schemeClr val="accent1">
              <a:alpha val="9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spcFirstLastPara="0" vert="horz" wrap="square" lIns="180000" tIns="180000" rIns="180000" bIns="392049" numCol="1" spcCol="1270" rtlCol="0" anchor="t" anchorCtr="0">
            <a:noAutofit/>
          </a:bodyPr>
          <a:lstStyle>
            <a:lvl1pPr>
              <a:defRPr lang="pt-BR" sz="1300" b="0" i="0" u="none" strike="noStrike" cap="none" spc="-40" baseline="0" dirty="0">
                <a:solidFill>
                  <a:schemeClr val="bg1"/>
                </a:solidFill>
                <a:ea typeface="Arial"/>
                <a:cs typeface="Arial"/>
              </a:defRPr>
            </a:lvl1pPr>
          </a:lstStyle>
          <a:p>
            <a:pPr marR="0" lv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</a:pPr>
            <a:r>
              <a:rPr lang="pt-BR"/>
              <a:t>Clique para editar os estilos</a:t>
            </a:r>
          </a:p>
        </p:txBody>
      </p:sp>
      <p:sp>
        <p:nvSpPr>
          <p:cNvPr id="19" name="Espaço Reservado para Texto 5">
            <a:extLst>
              <a:ext uri="{FF2B5EF4-FFF2-40B4-BE49-F238E27FC236}">
                <a16:creationId xmlns:a16="http://schemas.microsoft.com/office/drawing/2014/main" id="{980425ED-7FEC-0C8E-25E6-739799A40669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5099050" y="2961188"/>
            <a:ext cx="2952000" cy="353377"/>
          </a:xfrm>
          <a:solidFill>
            <a:schemeClr val="accent1">
              <a:alpha val="9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spcFirstLastPara="0" vert="horz" wrap="square" lIns="180000" tIns="180000" rIns="180000" bIns="392049" numCol="1" spcCol="1270" rtlCol="0" anchor="t" anchorCtr="0">
            <a:noAutofit/>
          </a:bodyPr>
          <a:lstStyle>
            <a:lvl1pPr>
              <a:defRPr lang="pt-BR" sz="1300" b="0" i="0" u="none" strike="noStrike" cap="none" spc="-40" baseline="0" dirty="0">
                <a:solidFill>
                  <a:schemeClr val="bg1"/>
                </a:solidFill>
                <a:ea typeface="Arial"/>
                <a:cs typeface="Arial"/>
              </a:defRPr>
            </a:lvl1pPr>
          </a:lstStyle>
          <a:p>
            <a:pPr marR="0" lv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</a:pPr>
            <a:r>
              <a:rPr lang="pt-BR"/>
              <a:t>Clique para editar os estilos</a:t>
            </a:r>
          </a:p>
        </p:txBody>
      </p:sp>
      <p:sp>
        <p:nvSpPr>
          <p:cNvPr id="20" name="Espaço Reservado para Texto 5">
            <a:extLst>
              <a:ext uri="{FF2B5EF4-FFF2-40B4-BE49-F238E27FC236}">
                <a16:creationId xmlns:a16="http://schemas.microsoft.com/office/drawing/2014/main" id="{C5B6446B-3A90-952C-4B30-11612A5C500B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8325600" y="2961188"/>
            <a:ext cx="2952000" cy="353377"/>
          </a:xfrm>
          <a:solidFill>
            <a:schemeClr val="accent1">
              <a:alpha val="9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spcFirstLastPara="0" vert="horz" wrap="square" lIns="180000" tIns="180000" rIns="180000" bIns="392049" numCol="1" spcCol="1270" rtlCol="0" anchor="t" anchorCtr="0">
            <a:noAutofit/>
          </a:bodyPr>
          <a:lstStyle>
            <a:lvl1pPr>
              <a:defRPr lang="pt-BR" sz="1300" b="0" i="0" u="none" strike="noStrike" cap="none" spc="-40" baseline="0" dirty="0">
                <a:solidFill>
                  <a:schemeClr val="bg1"/>
                </a:solidFill>
                <a:ea typeface="Arial"/>
                <a:cs typeface="Arial"/>
              </a:defRPr>
            </a:lvl1pPr>
          </a:lstStyle>
          <a:p>
            <a:pPr marR="0" lv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</a:pPr>
            <a:r>
              <a:rPr lang="pt-BR"/>
              <a:t>Clique para editar os estilos</a:t>
            </a:r>
          </a:p>
        </p:txBody>
      </p:sp>
      <p:pic>
        <p:nvPicPr>
          <p:cNvPr id="2" name="Imagem 1" descr="Logotipo&#10;&#10;Descrição gerada automaticamente">
            <a:extLst>
              <a:ext uri="{FF2B5EF4-FFF2-40B4-BE49-F238E27FC236}">
                <a16:creationId xmlns:a16="http://schemas.microsoft.com/office/drawing/2014/main" id="{0EC2B83C-9E2E-3F15-9152-6DD23C36ADAB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9877675" y="278512"/>
            <a:ext cx="864013" cy="507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2705169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9E3206E-0AB7-B63C-651D-884C11379B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62350" y="2090737"/>
            <a:ext cx="6832600" cy="2674937"/>
          </a:xfrm>
        </p:spPr>
        <p:txBody>
          <a:bodyPr anchor="ctr"/>
          <a:lstStyle>
            <a:lvl1pPr>
              <a:lnSpc>
                <a:spcPct val="80000"/>
              </a:lnSpc>
              <a:defRPr lang="pt-BR" sz="4400" b="1" i="0" u="none" strike="noStrike" kern="1200" cap="none" spc="-100" baseline="0" dirty="0" smtClean="0">
                <a:solidFill>
                  <a:schemeClr val="accent1"/>
                </a:solidFill>
                <a:latin typeface="+mj-lt"/>
                <a:ea typeface="+mj-ea"/>
                <a:cs typeface="+mj-cs"/>
                <a:sym typeface="Arial"/>
              </a:defRPr>
            </a:lvl1pPr>
          </a:lstStyle>
          <a:p>
            <a:r>
              <a:rPr lang="pt-BR"/>
              <a:t>Clique para editar o título</a:t>
            </a:r>
          </a:p>
        </p:txBody>
      </p:sp>
      <p:sp>
        <p:nvSpPr>
          <p:cNvPr id="7" name="Espaço Reservado para Texto 4">
            <a:extLst>
              <a:ext uri="{FF2B5EF4-FFF2-40B4-BE49-F238E27FC236}">
                <a16:creationId xmlns:a16="http://schemas.microsoft.com/office/drawing/2014/main" id="{B9457824-AFC5-539D-B4C1-7A3A5E03DD0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538538" y="4268788"/>
            <a:ext cx="6892925" cy="496887"/>
          </a:xfrm>
        </p:spPr>
        <p:txBody>
          <a:bodyPr lIns="108000" anchor="ctr">
            <a:normAutofit/>
          </a:bodyPr>
          <a:lstStyle>
            <a:lvl1pPr>
              <a:defRPr sz="1100" b="0" cap="all" spc="100" baseline="0">
                <a:solidFill>
                  <a:schemeClr val="tx2"/>
                </a:solidFill>
              </a:defRPr>
            </a:lvl1pPr>
          </a:lstStyle>
          <a:p>
            <a:endParaRPr lang="pt-BR"/>
          </a:p>
        </p:txBody>
      </p:sp>
      <p:pic>
        <p:nvPicPr>
          <p:cNvPr id="8" name="Gráfico 7">
            <a:extLst>
              <a:ext uri="{FF2B5EF4-FFF2-40B4-BE49-F238E27FC236}">
                <a16:creationId xmlns:a16="http://schemas.microsoft.com/office/drawing/2014/main" id="{1575969D-0F0E-88B6-17B4-F083C94DB6A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-4438651" y="0"/>
            <a:ext cx="6858000" cy="6858000"/>
          </a:xfrm>
          <a:prstGeom prst="rect">
            <a:avLst/>
          </a:prstGeom>
        </p:spPr>
      </p:pic>
      <p:pic>
        <p:nvPicPr>
          <p:cNvPr id="9" name="Gráfico 8">
            <a:extLst>
              <a:ext uri="{FF2B5EF4-FFF2-40B4-BE49-F238E27FC236}">
                <a16:creationId xmlns:a16="http://schemas.microsoft.com/office/drawing/2014/main" id="{CE54C1C0-D953-09FC-46AB-1CD803756B67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68362" y="4357257"/>
            <a:ext cx="1577057" cy="1853043"/>
          </a:xfrm>
          <a:prstGeom prst="rect">
            <a:avLst/>
          </a:prstGeom>
        </p:spPr>
      </p:pic>
      <p:pic>
        <p:nvPicPr>
          <p:cNvPr id="10" name="Gráfico 9">
            <a:extLst>
              <a:ext uri="{FF2B5EF4-FFF2-40B4-BE49-F238E27FC236}">
                <a16:creationId xmlns:a16="http://schemas.microsoft.com/office/drawing/2014/main" id="{15B50A3B-6C12-DE17-8536-FE3F8B4AA77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38386" y="476863"/>
            <a:ext cx="1412714" cy="8297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0447897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Layout Personalizado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9E3206E-0AB7-B63C-651D-884C11379B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62350" y="2090737"/>
            <a:ext cx="6832600" cy="2674937"/>
          </a:xfrm>
        </p:spPr>
        <p:txBody>
          <a:bodyPr anchor="ctr"/>
          <a:lstStyle>
            <a:lvl1pPr>
              <a:lnSpc>
                <a:spcPct val="80000"/>
              </a:lnSpc>
              <a:defRPr lang="pt-BR" sz="4400" b="1" i="0" u="none" strike="noStrike" kern="1200" cap="none" spc="-100" baseline="0" dirty="0" smtClean="0">
                <a:solidFill>
                  <a:schemeClr val="bg1"/>
                </a:solidFill>
                <a:latin typeface="+mj-lt"/>
                <a:ea typeface="+mj-ea"/>
                <a:cs typeface="+mj-cs"/>
                <a:sym typeface="Arial"/>
              </a:defRPr>
            </a:lvl1pPr>
          </a:lstStyle>
          <a:p>
            <a:r>
              <a:rPr lang="pt-BR"/>
              <a:t>Clique para editar o título</a:t>
            </a:r>
          </a:p>
        </p:txBody>
      </p:sp>
      <p:sp>
        <p:nvSpPr>
          <p:cNvPr id="7" name="Espaço Reservado para Texto 4">
            <a:extLst>
              <a:ext uri="{FF2B5EF4-FFF2-40B4-BE49-F238E27FC236}">
                <a16:creationId xmlns:a16="http://schemas.microsoft.com/office/drawing/2014/main" id="{B9457824-AFC5-539D-B4C1-7A3A5E03DD0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538538" y="4268788"/>
            <a:ext cx="6892925" cy="496887"/>
          </a:xfrm>
        </p:spPr>
        <p:txBody>
          <a:bodyPr lIns="108000" anchor="ctr">
            <a:normAutofit/>
          </a:bodyPr>
          <a:lstStyle>
            <a:lvl1pPr>
              <a:defRPr sz="1100" b="0" cap="all" spc="100" baseline="0">
                <a:solidFill>
                  <a:schemeClr val="bg2"/>
                </a:solidFill>
              </a:defRPr>
            </a:lvl1pPr>
          </a:lstStyle>
          <a:p>
            <a:endParaRPr lang="pt-BR"/>
          </a:p>
        </p:txBody>
      </p:sp>
      <p:pic>
        <p:nvPicPr>
          <p:cNvPr id="8" name="Gráfico 7">
            <a:extLst>
              <a:ext uri="{FF2B5EF4-FFF2-40B4-BE49-F238E27FC236}">
                <a16:creationId xmlns:a16="http://schemas.microsoft.com/office/drawing/2014/main" id="{1575969D-0F0E-88B6-17B4-F083C94DB6A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-4438651" y="0"/>
            <a:ext cx="6858000" cy="6858000"/>
          </a:xfrm>
          <a:prstGeom prst="rect">
            <a:avLst/>
          </a:prstGeom>
        </p:spPr>
      </p:pic>
      <p:pic>
        <p:nvPicPr>
          <p:cNvPr id="9" name="Gráfico 8">
            <a:extLst>
              <a:ext uri="{FF2B5EF4-FFF2-40B4-BE49-F238E27FC236}">
                <a16:creationId xmlns:a16="http://schemas.microsoft.com/office/drawing/2014/main" id="{CE54C1C0-D953-09FC-46AB-1CD803756B67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68362" y="4357257"/>
            <a:ext cx="1577057" cy="1853043"/>
          </a:xfrm>
          <a:prstGeom prst="rect">
            <a:avLst/>
          </a:prstGeom>
        </p:spPr>
      </p:pic>
      <p:pic>
        <p:nvPicPr>
          <p:cNvPr id="10" name="Gráfico 9">
            <a:extLst>
              <a:ext uri="{FF2B5EF4-FFF2-40B4-BE49-F238E27FC236}">
                <a16:creationId xmlns:a16="http://schemas.microsoft.com/office/drawing/2014/main" id="{15B50A3B-6C12-DE17-8536-FE3F8B4AA77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 l="32" r="32"/>
          <a:stretch/>
        </p:blipFill>
        <p:spPr>
          <a:xfrm>
            <a:off x="1038386" y="476863"/>
            <a:ext cx="1411800" cy="8297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384270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Layout Personalizado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9E3206E-0AB7-B63C-651D-884C11379B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62350" y="2090737"/>
            <a:ext cx="6832600" cy="2674937"/>
          </a:xfrm>
        </p:spPr>
        <p:txBody>
          <a:bodyPr anchor="ctr"/>
          <a:lstStyle>
            <a:lvl1pPr>
              <a:lnSpc>
                <a:spcPct val="80000"/>
              </a:lnSpc>
              <a:defRPr lang="pt-BR" sz="4400" b="1" i="0" u="none" strike="noStrike" kern="1200" cap="none" spc="-100" baseline="0" dirty="0" smtClean="0">
                <a:solidFill>
                  <a:schemeClr val="bg1"/>
                </a:solidFill>
                <a:latin typeface="+mj-lt"/>
                <a:ea typeface="+mj-ea"/>
                <a:cs typeface="+mj-cs"/>
                <a:sym typeface="Arial"/>
              </a:defRPr>
            </a:lvl1pPr>
          </a:lstStyle>
          <a:p>
            <a:r>
              <a:rPr lang="pt-BR"/>
              <a:t>Clique para editar o título</a:t>
            </a:r>
          </a:p>
        </p:txBody>
      </p:sp>
      <p:pic>
        <p:nvPicPr>
          <p:cNvPr id="8" name="Gráfico 7">
            <a:extLst>
              <a:ext uri="{FF2B5EF4-FFF2-40B4-BE49-F238E27FC236}">
                <a16:creationId xmlns:a16="http://schemas.microsoft.com/office/drawing/2014/main" id="{1575969D-0F0E-88B6-17B4-F083C94DB6A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-4438651" y="0"/>
            <a:ext cx="6858000" cy="6858000"/>
          </a:xfrm>
          <a:prstGeom prst="rect">
            <a:avLst/>
          </a:prstGeom>
        </p:spPr>
      </p:pic>
      <p:pic>
        <p:nvPicPr>
          <p:cNvPr id="9" name="Gráfico 8">
            <a:extLst>
              <a:ext uri="{FF2B5EF4-FFF2-40B4-BE49-F238E27FC236}">
                <a16:creationId xmlns:a16="http://schemas.microsoft.com/office/drawing/2014/main" id="{CE54C1C0-D953-09FC-46AB-1CD803756B67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68362" y="4357257"/>
            <a:ext cx="1577057" cy="1853043"/>
          </a:xfrm>
          <a:prstGeom prst="rect">
            <a:avLst/>
          </a:prstGeom>
        </p:spPr>
      </p:pic>
      <p:pic>
        <p:nvPicPr>
          <p:cNvPr id="10" name="Gráfico 9">
            <a:extLst>
              <a:ext uri="{FF2B5EF4-FFF2-40B4-BE49-F238E27FC236}">
                <a16:creationId xmlns:a16="http://schemas.microsoft.com/office/drawing/2014/main" id="{15B50A3B-6C12-DE17-8536-FE3F8B4AA77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 l="32" r="32"/>
          <a:stretch/>
        </p:blipFill>
        <p:spPr>
          <a:xfrm>
            <a:off x="1038386" y="476863"/>
            <a:ext cx="1411800" cy="829797"/>
          </a:xfrm>
          <a:prstGeom prst="rect">
            <a:avLst/>
          </a:prstGeom>
        </p:spPr>
      </p:pic>
      <p:sp>
        <p:nvSpPr>
          <p:cNvPr id="19" name="Espaço Reservado para Texto 4">
            <a:extLst>
              <a:ext uri="{FF2B5EF4-FFF2-40B4-BE49-F238E27FC236}">
                <a16:creationId xmlns:a16="http://schemas.microsoft.com/office/drawing/2014/main" id="{4D87E33E-59D6-DAD1-29AD-45184F79D6C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538538" y="4268788"/>
            <a:ext cx="6892925" cy="496887"/>
          </a:xfrm>
        </p:spPr>
        <p:txBody>
          <a:bodyPr lIns="108000" anchor="ctr">
            <a:normAutofit/>
          </a:bodyPr>
          <a:lstStyle>
            <a:lvl1pPr>
              <a:defRPr sz="1100" b="0" cap="all" spc="100" baseline="0">
                <a:solidFill>
                  <a:schemeClr val="bg2"/>
                </a:solidFill>
              </a:defRPr>
            </a:lvl1pPr>
          </a:lstStyle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535937441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ço Reservado para Texto 6">
            <a:extLst>
              <a:ext uri="{FF2B5EF4-FFF2-40B4-BE49-F238E27FC236}">
                <a16:creationId xmlns:a16="http://schemas.microsoft.com/office/drawing/2014/main" id="{D6F85BE3-183D-1F4D-9986-5566BC05916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10300" y="634416"/>
            <a:ext cx="5067325" cy="447675"/>
          </a:xfrm>
        </p:spPr>
        <p:txBody>
          <a:bodyPr lIns="108000">
            <a:normAutofit/>
          </a:bodyPr>
          <a:lstStyle>
            <a:lvl1pPr>
              <a:lnSpc>
                <a:spcPct val="100000"/>
              </a:lnSpc>
              <a:defRPr sz="1100" b="0" cap="all" spc="100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pt-BR"/>
              <a:t>Título</a:t>
            </a:r>
          </a:p>
        </p:txBody>
      </p:sp>
      <p:sp>
        <p:nvSpPr>
          <p:cNvPr id="8" name="Título 7">
            <a:extLst>
              <a:ext uri="{FF2B5EF4-FFF2-40B4-BE49-F238E27FC236}">
                <a16:creationId xmlns:a16="http://schemas.microsoft.com/office/drawing/2014/main" id="{850B399A-346B-51E3-1A92-253CADB724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10300" y="929692"/>
            <a:ext cx="5067325" cy="447676"/>
          </a:xfrm>
        </p:spPr>
        <p:txBody>
          <a:bodyPr anchor="t">
            <a:noAutofit/>
          </a:bodyPr>
          <a:lstStyle>
            <a:lvl1pPr>
              <a:defRPr sz="3600" b="1" spc="-100" baseline="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10" name="Espaço Reservado para Texto 9">
            <a:extLst>
              <a:ext uri="{FF2B5EF4-FFF2-40B4-BE49-F238E27FC236}">
                <a16:creationId xmlns:a16="http://schemas.microsoft.com/office/drawing/2014/main" id="{A4BD41B5-820C-FB18-CD31-121F93FBE6B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209506" y="2090738"/>
            <a:ext cx="5068094" cy="4125912"/>
          </a:xfrm>
        </p:spPr>
        <p:txBody>
          <a:bodyPr>
            <a:noAutofit/>
          </a:bodyPr>
          <a:lstStyle>
            <a:lvl1pPr marL="0" indent="0">
              <a:lnSpc>
                <a:spcPct val="120000"/>
              </a:lnSpc>
              <a:spcBef>
                <a:spcPts val="2000"/>
              </a:spcBef>
              <a:spcAft>
                <a:spcPts val="500"/>
              </a:spcAft>
              <a:buFont typeface="Arial" panose="020B0604020202020204" pitchFamily="34" charset="0"/>
              <a:buNone/>
              <a:defRPr sz="1600" b="1" u="none">
                <a:solidFill>
                  <a:schemeClr val="accent2"/>
                </a:solidFill>
              </a:defRPr>
            </a:lvl1pPr>
            <a:lvl2pPr marL="0" indent="0">
              <a:lnSpc>
                <a:spcPct val="120000"/>
              </a:lnSpc>
              <a:spcBef>
                <a:spcPts val="0"/>
              </a:spcBef>
              <a:spcAft>
                <a:spcPts val="500"/>
              </a:spcAft>
              <a:buNone/>
              <a:defRPr sz="1400"/>
            </a:lvl2pPr>
            <a:lvl3pPr marL="792000" indent="-288000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400">
                <a:solidFill>
                  <a:schemeClr val="tx2"/>
                </a:solidFill>
              </a:defRPr>
            </a:lvl3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endParaRPr lang="pt-BR"/>
          </a:p>
        </p:txBody>
      </p:sp>
      <p:sp>
        <p:nvSpPr>
          <p:cNvPr id="6" name="Picture Placeholder 4">
            <a:extLst>
              <a:ext uri="{FF2B5EF4-FFF2-40B4-BE49-F238E27FC236}">
                <a16:creationId xmlns:a16="http://schemas.microsoft.com/office/drawing/2014/main" id="{BD69C575-C0B5-1DAA-55F9-8E736B50604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013853" y="1514150"/>
            <a:ext cx="3494354" cy="3494354"/>
          </a:xfrm>
          <a:custGeom>
            <a:avLst/>
            <a:gdLst>
              <a:gd name="connsiteX0" fmla="*/ 3543300 w 7086600"/>
              <a:gd name="connsiteY0" fmla="*/ 0 h 7086600"/>
              <a:gd name="connsiteX1" fmla="*/ 7086600 w 7086600"/>
              <a:gd name="connsiteY1" fmla="*/ 3543300 h 7086600"/>
              <a:gd name="connsiteX2" fmla="*/ 3543300 w 7086600"/>
              <a:gd name="connsiteY2" fmla="*/ 7086600 h 7086600"/>
              <a:gd name="connsiteX3" fmla="*/ 0 w 7086600"/>
              <a:gd name="connsiteY3" fmla="*/ 3543300 h 7086600"/>
              <a:gd name="connsiteX4" fmla="*/ 3543300 w 7086600"/>
              <a:gd name="connsiteY4" fmla="*/ 0 h 7086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086600" h="7086600">
                <a:moveTo>
                  <a:pt x="3543300" y="0"/>
                </a:moveTo>
                <a:cubicBezTo>
                  <a:pt x="5500211" y="0"/>
                  <a:pt x="7086600" y="1586389"/>
                  <a:pt x="7086600" y="3543300"/>
                </a:cubicBezTo>
                <a:cubicBezTo>
                  <a:pt x="7086600" y="5500211"/>
                  <a:pt x="5500211" y="7086600"/>
                  <a:pt x="3543300" y="7086600"/>
                </a:cubicBezTo>
                <a:cubicBezTo>
                  <a:pt x="1586389" y="7086600"/>
                  <a:pt x="0" y="5500211"/>
                  <a:pt x="0" y="3543300"/>
                </a:cubicBezTo>
                <a:cubicBezTo>
                  <a:pt x="0" y="1586389"/>
                  <a:pt x="1586389" y="0"/>
                  <a:pt x="35433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 sz="2000"/>
            </a:lvl1pPr>
          </a:lstStyle>
          <a:p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665514520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ço Reservado para Texto 6">
            <a:extLst>
              <a:ext uri="{FF2B5EF4-FFF2-40B4-BE49-F238E27FC236}">
                <a16:creationId xmlns:a16="http://schemas.microsoft.com/office/drawing/2014/main" id="{D6F85BE3-183D-1F4D-9986-5566BC05916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15194" y="634416"/>
            <a:ext cx="5067325" cy="447675"/>
          </a:xfrm>
        </p:spPr>
        <p:txBody>
          <a:bodyPr lIns="108000">
            <a:normAutofit/>
          </a:bodyPr>
          <a:lstStyle>
            <a:lvl1pPr>
              <a:lnSpc>
                <a:spcPct val="100000"/>
              </a:lnSpc>
              <a:defRPr sz="1100" b="0" cap="all" spc="100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pt-BR"/>
              <a:t>Título</a:t>
            </a:r>
          </a:p>
        </p:txBody>
      </p:sp>
      <p:sp>
        <p:nvSpPr>
          <p:cNvPr id="8" name="Título 7">
            <a:extLst>
              <a:ext uri="{FF2B5EF4-FFF2-40B4-BE49-F238E27FC236}">
                <a16:creationId xmlns:a16="http://schemas.microsoft.com/office/drawing/2014/main" id="{850B399A-346B-51E3-1A92-253CADB724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5194" y="929692"/>
            <a:ext cx="5067325" cy="447676"/>
          </a:xfrm>
        </p:spPr>
        <p:txBody>
          <a:bodyPr anchor="t">
            <a:noAutofit/>
          </a:bodyPr>
          <a:lstStyle>
            <a:lvl1pPr>
              <a:defRPr sz="3200" b="1" spc="-100" baseline="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10" name="Espaço Reservado para Texto 9">
            <a:extLst>
              <a:ext uri="{FF2B5EF4-FFF2-40B4-BE49-F238E27FC236}">
                <a16:creationId xmlns:a16="http://schemas.microsoft.com/office/drawing/2014/main" id="{A4BD41B5-820C-FB18-CD31-121F93FBE6B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14400" y="2090738"/>
            <a:ext cx="5068094" cy="4125912"/>
          </a:xfrm>
        </p:spPr>
        <p:txBody>
          <a:bodyPr>
            <a:noAutofit/>
          </a:bodyPr>
          <a:lstStyle>
            <a:lvl1pPr marL="0" indent="0">
              <a:lnSpc>
                <a:spcPct val="120000"/>
              </a:lnSpc>
              <a:spcBef>
                <a:spcPts val="2000"/>
              </a:spcBef>
              <a:spcAft>
                <a:spcPts val="500"/>
              </a:spcAft>
              <a:buFont typeface="Arial" panose="020B0604020202020204" pitchFamily="34" charset="0"/>
              <a:buNone/>
              <a:defRPr sz="1600" b="1" u="none">
                <a:solidFill>
                  <a:schemeClr val="accent2"/>
                </a:solidFill>
              </a:defRPr>
            </a:lvl1pPr>
            <a:lvl2pPr marL="0" indent="0">
              <a:lnSpc>
                <a:spcPct val="120000"/>
              </a:lnSpc>
              <a:spcBef>
                <a:spcPts val="0"/>
              </a:spcBef>
              <a:spcAft>
                <a:spcPts val="500"/>
              </a:spcAft>
              <a:buNone/>
              <a:defRPr sz="1400"/>
            </a:lvl2pPr>
            <a:lvl3pPr marL="792000" indent="-288000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400">
                <a:solidFill>
                  <a:schemeClr val="tx2"/>
                </a:solidFill>
              </a:defRPr>
            </a:lvl3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endParaRPr lang="pt-BR"/>
          </a:p>
        </p:txBody>
      </p:sp>
      <p:sp>
        <p:nvSpPr>
          <p:cNvPr id="6" name="Picture Placeholder 4">
            <a:extLst>
              <a:ext uri="{FF2B5EF4-FFF2-40B4-BE49-F238E27FC236}">
                <a16:creationId xmlns:a16="http://schemas.microsoft.com/office/drawing/2014/main" id="{BD69C575-C0B5-1DAA-55F9-8E736B506045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137373" y="2652353"/>
            <a:ext cx="3215912" cy="3215912"/>
          </a:xfrm>
          <a:custGeom>
            <a:avLst/>
            <a:gdLst>
              <a:gd name="connsiteX0" fmla="*/ 3543300 w 7086600"/>
              <a:gd name="connsiteY0" fmla="*/ 0 h 7086600"/>
              <a:gd name="connsiteX1" fmla="*/ 7086600 w 7086600"/>
              <a:gd name="connsiteY1" fmla="*/ 3543300 h 7086600"/>
              <a:gd name="connsiteX2" fmla="*/ 3543300 w 7086600"/>
              <a:gd name="connsiteY2" fmla="*/ 7086600 h 7086600"/>
              <a:gd name="connsiteX3" fmla="*/ 0 w 7086600"/>
              <a:gd name="connsiteY3" fmla="*/ 3543300 h 7086600"/>
              <a:gd name="connsiteX4" fmla="*/ 3543300 w 7086600"/>
              <a:gd name="connsiteY4" fmla="*/ 0 h 7086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086600" h="7086600">
                <a:moveTo>
                  <a:pt x="3543300" y="0"/>
                </a:moveTo>
                <a:cubicBezTo>
                  <a:pt x="5500211" y="0"/>
                  <a:pt x="7086600" y="1586389"/>
                  <a:pt x="7086600" y="3543300"/>
                </a:cubicBezTo>
                <a:cubicBezTo>
                  <a:pt x="7086600" y="5500211"/>
                  <a:pt x="5500211" y="7086600"/>
                  <a:pt x="3543300" y="7086600"/>
                </a:cubicBezTo>
                <a:cubicBezTo>
                  <a:pt x="1586389" y="7086600"/>
                  <a:pt x="0" y="5500211"/>
                  <a:pt x="0" y="3543300"/>
                </a:cubicBezTo>
                <a:cubicBezTo>
                  <a:pt x="0" y="1586389"/>
                  <a:pt x="1586389" y="0"/>
                  <a:pt x="35433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 sz="2000"/>
            </a:lvl1pPr>
          </a:lstStyle>
          <a:p>
            <a:r>
              <a:rPr lang="en-ID" err="1"/>
              <a:t>Imagem</a:t>
            </a:r>
            <a:endParaRPr lang="en-ID"/>
          </a:p>
        </p:txBody>
      </p:sp>
      <p:sp>
        <p:nvSpPr>
          <p:cNvPr id="2" name="Elipse 1">
            <a:extLst>
              <a:ext uri="{FF2B5EF4-FFF2-40B4-BE49-F238E27FC236}">
                <a16:creationId xmlns:a16="http://schemas.microsoft.com/office/drawing/2014/main" id="{A49AEE0D-5540-3547-BC5A-EEFF6F6E43A8}"/>
              </a:ext>
            </a:extLst>
          </p:cNvPr>
          <p:cNvSpPr/>
          <p:nvPr userDrawn="1"/>
        </p:nvSpPr>
        <p:spPr>
          <a:xfrm>
            <a:off x="6063916" y="1579387"/>
            <a:ext cx="5362826" cy="5362826"/>
          </a:xfrm>
          <a:prstGeom prst="ellipse">
            <a:avLst/>
          </a:prstGeom>
          <a:noFill/>
          <a:ln w="9525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9" name="Elipse 8">
            <a:extLst>
              <a:ext uri="{FF2B5EF4-FFF2-40B4-BE49-F238E27FC236}">
                <a16:creationId xmlns:a16="http://schemas.microsoft.com/office/drawing/2014/main" id="{C637D6D3-823D-5CA1-E4DB-1EBD83A6E131}"/>
              </a:ext>
            </a:extLst>
          </p:cNvPr>
          <p:cNvSpPr/>
          <p:nvPr userDrawn="1"/>
        </p:nvSpPr>
        <p:spPr>
          <a:xfrm>
            <a:off x="7111110" y="786063"/>
            <a:ext cx="1600274" cy="1600274"/>
          </a:xfrm>
          <a:prstGeom prst="ellipse">
            <a:avLst/>
          </a:pr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1" name="Elipse 10">
            <a:extLst>
              <a:ext uri="{FF2B5EF4-FFF2-40B4-BE49-F238E27FC236}">
                <a16:creationId xmlns:a16="http://schemas.microsoft.com/office/drawing/2014/main" id="{A80B72A2-436E-D9FD-0AF7-648ADA0BB41E}"/>
              </a:ext>
            </a:extLst>
          </p:cNvPr>
          <p:cNvSpPr/>
          <p:nvPr userDrawn="1"/>
        </p:nvSpPr>
        <p:spPr>
          <a:xfrm>
            <a:off x="10338588" y="4967534"/>
            <a:ext cx="1243812" cy="1243812"/>
          </a:xfrm>
          <a:prstGeom prst="ellipse">
            <a:avLst/>
          </a:pr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12" name="Gráfico 11">
            <a:extLst>
              <a:ext uri="{FF2B5EF4-FFF2-40B4-BE49-F238E27FC236}">
                <a16:creationId xmlns:a16="http://schemas.microsoft.com/office/drawing/2014/main" id="{E9ECFA41-67A9-E4A3-C1EE-58B458E21DE6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828972" y="-1239748"/>
            <a:ext cx="2726056" cy="2726056"/>
          </a:xfrm>
          <a:prstGeom prst="rect">
            <a:avLst/>
          </a:prstGeom>
        </p:spPr>
      </p:pic>
      <p:sp>
        <p:nvSpPr>
          <p:cNvPr id="14" name="Picture Placeholder 4">
            <a:extLst>
              <a:ext uri="{FF2B5EF4-FFF2-40B4-BE49-F238E27FC236}">
                <a16:creationId xmlns:a16="http://schemas.microsoft.com/office/drawing/2014/main" id="{C78140DF-A908-BA68-B4C7-7132F96883C0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7328107" y="1003061"/>
            <a:ext cx="1166279" cy="1166279"/>
          </a:xfrm>
          <a:custGeom>
            <a:avLst/>
            <a:gdLst>
              <a:gd name="connsiteX0" fmla="*/ 3543300 w 7086600"/>
              <a:gd name="connsiteY0" fmla="*/ 0 h 7086600"/>
              <a:gd name="connsiteX1" fmla="*/ 7086600 w 7086600"/>
              <a:gd name="connsiteY1" fmla="*/ 3543300 h 7086600"/>
              <a:gd name="connsiteX2" fmla="*/ 3543300 w 7086600"/>
              <a:gd name="connsiteY2" fmla="*/ 7086600 h 7086600"/>
              <a:gd name="connsiteX3" fmla="*/ 0 w 7086600"/>
              <a:gd name="connsiteY3" fmla="*/ 3543300 h 7086600"/>
              <a:gd name="connsiteX4" fmla="*/ 3543300 w 7086600"/>
              <a:gd name="connsiteY4" fmla="*/ 0 h 7086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086600" h="7086600">
                <a:moveTo>
                  <a:pt x="3543300" y="0"/>
                </a:moveTo>
                <a:cubicBezTo>
                  <a:pt x="5500211" y="0"/>
                  <a:pt x="7086600" y="1586389"/>
                  <a:pt x="7086600" y="3543300"/>
                </a:cubicBezTo>
                <a:cubicBezTo>
                  <a:pt x="7086600" y="5500211"/>
                  <a:pt x="5500211" y="7086600"/>
                  <a:pt x="3543300" y="7086600"/>
                </a:cubicBezTo>
                <a:cubicBezTo>
                  <a:pt x="1586389" y="7086600"/>
                  <a:pt x="0" y="5500211"/>
                  <a:pt x="0" y="3543300"/>
                </a:cubicBezTo>
                <a:cubicBezTo>
                  <a:pt x="0" y="1586389"/>
                  <a:pt x="1586389" y="0"/>
                  <a:pt x="35433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 sz="2000"/>
            </a:lvl1pPr>
          </a:lstStyle>
          <a:p>
            <a:r>
              <a:rPr lang="en-ID" err="1"/>
              <a:t>Imagem</a:t>
            </a:r>
            <a:endParaRPr lang="en-ID"/>
          </a:p>
        </p:txBody>
      </p:sp>
      <p:sp>
        <p:nvSpPr>
          <p:cNvPr id="16" name="Picture Placeholder 4">
            <a:extLst>
              <a:ext uri="{FF2B5EF4-FFF2-40B4-BE49-F238E27FC236}">
                <a16:creationId xmlns:a16="http://schemas.microsoft.com/office/drawing/2014/main" id="{BE0A0048-DD3B-B964-36C4-C7F672FEE759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10567923" y="5196870"/>
            <a:ext cx="785141" cy="785141"/>
          </a:xfrm>
          <a:custGeom>
            <a:avLst/>
            <a:gdLst>
              <a:gd name="connsiteX0" fmla="*/ 3543300 w 7086600"/>
              <a:gd name="connsiteY0" fmla="*/ 0 h 7086600"/>
              <a:gd name="connsiteX1" fmla="*/ 7086600 w 7086600"/>
              <a:gd name="connsiteY1" fmla="*/ 3543300 h 7086600"/>
              <a:gd name="connsiteX2" fmla="*/ 3543300 w 7086600"/>
              <a:gd name="connsiteY2" fmla="*/ 7086600 h 7086600"/>
              <a:gd name="connsiteX3" fmla="*/ 0 w 7086600"/>
              <a:gd name="connsiteY3" fmla="*/ 3543300 h 7086600"/>
              <a:gd name="connsiteX4" fmla="*/ 3543300 w 7086600"/>
              <a:gd name="connsiteY4" fmla="*/ 0 h 7086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086600" h="7086600">
                <a:moveTo>
                  <a:pt x="3543300" y="0"/>
                </a:moveTo>
                <a:cubicBezTo>
                  <a:pt x="5500211" y="0"/>
                  <a:pt x="7086600" y="1586389"/>
                  <a:pt x="7086600" y="3543300"/>
                </a:cubicBezTo>
                <a:cubicBezTo>
                  <a:pt x="7086600" y="5500211"/>
                  <a:pt x="5500211" y="7086600"/>
                  <a:pt x="3543300" y="7086600"/>
                </a:cubicBezTo>
                <a:cubicBezTo>
                  <a:pt x="1586389" y="7086600"/>
                  <a:pt x="0" y="5500211"/>
                  <a:pt x="0" y="3543300"/>
                </a:cubicBezTo>
                <a:cubicBezTo>
                  <a:pt x="0" y="1586389"/>
                  <a:pt x="1586389" y="0"/>
                  <a:pt x="35433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 sz="2000"/>
            </a:lvl1pPr>
          </a:lstStyle>
          <a:p>
            <a:r>
              <a:rPr lang="en-ID" err="1"/>
              <a:t>Imagem</a:t>
            </a:r>
            <a:endParaRPr lang="en-ID"/>
          </a:p>
        </p:txBody>
      </p:sp>
      <p:pic>
        <p:nvPicPr>
          <p:cNvPr id="3" name="Imagem 2" descr="Logotipo&#10;&#10;Descrição gerada automaticamente">
            <a:extLst>
              <a:ext uri="{FF2B5EF4-FFF2-40B4-BE49-F238E27FC236}">
                <a16:creationId xmlns:a16="http://schemas.microsoft.com/office/drawing/2014/main" id="{D0FB1F73-2382-C83E-EE36-306677E91D91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9877675" y="278512"/>
            <a:ext cx="864013" cy="507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712859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Layout Personalizado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ítulo 7">
            <a:extLst>
              <a:ext uri="{FF2B5EF4-FFF2-40B4-BE49-F238E27FC236}">
                <a16:creationId xmlns:a16="http://schemas.microsoft.com/office/drawing/2014/main" id="{850B399A-346B-51E3-1A92-253CADB7249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10300" y="1398588"/>
            <a:ext cx="5067325" cy="447676"/>
          </a:xfrm>
        </p:spPr>
        <p:txBody>
          <a:bodyPr anchor="t">
            <a:noAutofit/>
          </a:bodyPr>
          <a:lstStyle>
            <a:lvl1pPr>
              <a:defRPr sz="3000" b="1" spc="-100" baseline="0">
                <a:solidFill>
                  <a:schemeClr val="bg1"/>
                </a:solidFill>
              </a:defRPr>
            </a:lvl1pPr>
          </a:lstStyle>
          <a:p>
            <a:r>
              <a:rPr lang="pt-BR"/>
              <a:t>Título Mestre</a:t>
            </a:r>
          </a:p>
        </p:txBody>
      </p:sp>
      <p:sp>
        <p:nvSpPr>
          <p:cNvPr id="10" name="Espaço Reservado para Texto 9">
            <a:extLst>
              <a:ext uri="{FF2B5EF4-FFF2-40B4-BE49-F238E27FC236}">
                <a16:creationId xmlns:a16="http://schemas.microsoft.com/office/drawing/2014/main" id="{A4BD41B5-820C-FB18-CD31-121F93FBE6B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209506" y="2090738"/>
            <a:ext cx="5068094" cy="4125912"/>
          </a:xfrm>
        </p:spPr>
        <p:txBody>
          <a:bodyPr>
            <a:noAutofit/>
          </a:bodyPr>
          <a:lstStyle>
            <a:lvl1pPr marL="0" indent="0">
              <a:lnSpc>
                <a:spcPct val="120000"/>
              </a:lnSpc>
              <a:spcBef>
                <a:spcPts val="2000"/>
              </a:spcBef>
              <a:spcAft>
                <a:spcPts val="500"/>
              </a:spcAft>
              <a:buFont typeface="Arial" panose="020B0604020202020204" pitchFamily="34" charset="0"/>
              <a:buNone/>
              <a:defRPr sz="1500" b="1" u="none">
                <a:solidFill>
                  <a:schemeClr val="accent2"/>
                </a:solidFill>
              </a:defRPr>
            </a:lvl1pPr>
            <a:lvl2pPr marL="0" indent="0">
              <a:lnSpc>
                <a:spcPct val="120000"/>
              </a:lnSpc>
              <a:spcBef>
                <a:spcPts val="0"/>
              </a:spcBef>
              <a:spcAft>
                <a:spcPts val="500"/>
              </a:spcAft>
              <a:buNone/>
              <a:defRPr sz="1300">
                <a:solidFill>
                  <a:schemeClr val="bg1"/>
                </a:solidFill>
              </a:defRPr>
            </a:lvl2pPr>
            <a:lvl3pPr marL="792000" indent="-288000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400">
                <a:solidFill>
                  <a:schemeClr val="bg2"/>
                </a:solidFill>
              </a:defRPr>
            </a:lvl3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endParaRPr lang="pt-BR"/>
          </a:p>
        </p:txBody>
      </p:sp>
      <p:pic>
        <p:nvPicPr>
          <p:cNvPr id="2" name="Gráfico 1">
            <a:extLst>
              <a:ext uri="{FF2B5EF4-FFF2-40B4-BE49-F238E27FC236}">
                <a16:creationId xmlns:a16="http://schemas.microsoft.com/office/drawing/2014/main" id="{0A5879CF-3A57-F8C5-5DB7-0DDBF0702F55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638510" y="1335128"/>
            <a:ext cx="1022272" cy="1022272"/>
          </a:xfrm>
          <a:prstGeom prst="rect">
            <a:avLst/>
          </a:prstGeom>
        </p:spPr>
      </p:pic>
      <p:pic>
        <p:nvPicPr>
          <p:cNvPr id="3" name="Gráfico 2">
            <a:extLst>
              <a:ext uri="{FF2B5EF4-FFF2-40B4-BE49-F238E27FC236}">
                <a16:creationId xmlns:a16="http://schemas.microsoft.com/office/drawing/2014/main" id="{65263578-CBA1-22C2-E629-7BBA7BA793D8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-888620" y="-1239748"/>
            <a:ext cx="2726056" cy="2726056"/>
          </a:xfrm>
          <a:prstGeom prst="rect">
            <a:avLst/>
          </a:prstGeom>
        </p:spPr>
      </p:pic>
      <p:pic>
        <p:nvPicPr>
          <p:cNvPr id="4" name="Gráfico 3">
            <a:extLst>
              <a:ext uri="{FF2B5EF4-FFF2-40B4-BE49-F238E27FC236}">
                <a16:creationId xmlns:a16="http://schemas.microsoft.com/office/drawing/2014/main" id="{139BA4FB-8314-FDEC-15F0-E08569D9D4CB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109642" y="5660305"/>
            <a:ext cx="681514" cy="681514"/>
          </a:xfrm>
          <a:prstGeom prst="rect">
            <a:avLst/>
          </a:prstGeom>
        </p:spPr>
      </p:pic>
      <p:sp>
        <p:nvSpPr>
          <p:cNvPr id="6" name="Picture Placeholder 4">
            <a:extLst>
              <a:ext uri="{FF2B5EF4-FFF2-40B4-BE49-F238E27FC236}">
                <a16:creationId xmlns:a16="http://schemas.microsoft.com/office/drawing/2014/main" id="{BD69C575-C0B5-1DAA-55F9-8E736B50604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949568" y="1642454"/>
            <a:ext cx="4061502" cy="4061502"/>
          </a:xfrm>
          <a:custGeom>
            <a:avLst/>
            <a:gdLst>
              <a:gd name="connsiteX0" fmla="*/ 3543300 w 7086600"/>
              <a:gd name="connsiteY0" fmla="*/ 0 h 7086600"/>
              <a:gd name="connsiteX1" fmla="*/ 7086600 w 7086600"/>
              <a:gd name="connsiteY1" fmla="*/ 3543300 h 7086600"/>
              <a:gd name="connsiteX2" fmla="*/ 3543300 w 7086600"/>
              <a:gd name="connsiteY2" fmla="*/ 7086600 h 7086600"/>
              <a:gd name="connsiteX3" fmla="*/ 0 w 7086600"/>
              <a:gd name="connsiteY3" fmla="*/ 3543300 h 7086600"/>
              <a:gd name="connsiteX4" fmla="*/ 3543300 w 7086600"/>
              <a:gd name="connsiteY4" fmla="*/ 0 h 7086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086600" h="7086600">
                <a:moveTo>
                  <a:pt x="3543300" y="0"/>
                </a:moveTo>
                <a:cubicBezTo>
                  <a:pt x="5500211" y="0"/>
                  <a:pt x="7086600" y="1586389"/>
                  <a:pt x="7086600" y="3543300"/>
                </a:cubicBezTo>
                <a:cubicBezTo>
                  <a:pt x="7086600" y="5500211"/>
                  <a:pt x="5500211" y="7086600"/>
                  <a:pt x="3543300" y="7086600"/>
                </a:cubicBezTo>
                <a:cubicBezTo>
                  <a:pt x="1586389" y="7086600"/>
                  <a:pt x="0" y="5500211"/>
                  <a:pt x="0" y="3543300"/>
                </a:cubicBezTo>
                <a:cubicBezTo>
                  <a:pt x="0" y="1586389"/>
                  <a:pt x="1586389" y="0"/>
                  <a:pt x="35433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 sz="2000"/>
            </a:lvl1pPr>
          </a:lstStyle>
          <a:p>
            <a:endParaRPr lang="en-ID"/>
          </a:p>
        </p:txBody>
      </p:sp>
      <p:sp>
        <p:nvSpPr>
          <p:cNvPr id="12" name="Espaço Reservado para Imagem 10">
            <a:extLst>
              <a:ext uri="{FF2B5EF4-FFF2-40B4-BE49-F238E27FC236}">
                <a16:creationId xmlns:a16="http://schemas.microsoft.com/office/drawing/2014/main" id="{82EDB949-E31F-851E-8023-22D09B234E03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74745" y="1494631"/>
            <a:ext cx="1190998" cy="1395317"/>
          </a:xfrm>
        </p:spPr>
        <p:txBody>
          <a:bodyPr/>
          <a:lstStyle>
            <a:lvl1pPr>
              <a:defRPr spc="-50" baseline="0"/>
            </a:lvl1pPr>
          </a:lstStyle>
          <a:p>
            <a:r>
              <a:rPr lang="pt-BR"/>
              <a:t>Grafismo</a:t>
            </a:r>
            <a:br>
              <a:rPr lang="pt-BR"/>
            </a:br>
            <a:r>
              <a:rPr lang="pt-BR"/>
              <a:t>(opcional)</a:t>
            </a:r>
          </a:p>
        </p:txBody>
      </p:sp>
    </p:spTree>
    <p:extLst>
      <p:ext uri="{BB962C8B-B14F-4D97-AF65-F5344CB8AC3E}">
        <p14:creationId xmlns:p14="http://schemas.microsoft.com/office/powerpoint/2010/main" val="3082605294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Layout Personalizado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val 6">
            <a:extLst>
              <a:ext uri="{FF2B5EF4-FFF2-40B4-BE49-F238E27FC236}">
                <a16:creationId xmlns:a16="http://schemas.microsoft.com/office/drawing/2014/main" id="{834422CA-98D0-C42F-0C28-8A89C29CEF93}"/>
              </a:ext>
            </a:extLst>
          </p:cNvPr>
          <p:cNvSpPr/>
          <p:nvPr userDrawn="1"/>
        </p:nvSpPr>
        <p:spPr>
          <a:xfrm>
            <a:off x="-279474" y="3770819"/>
            <a:ext cx="2140804" cy="2135020"/>
          </a:xfrm>
          <a:prstGeom prst="ellipse">
            <a:avLst/>
          </a:prstGeom>
          <a:solidFill>
            <a:srgbClr val="F461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sz="1351"/>
          </a:p>
        </p:txBody>
      </p:sp>
      <p:pic>
        <p:nvPicPr>
          <p:cNvPr id="4" name="Gráfico 3">
            <a:extLst>
              <a:ext uri="{FF2B5EF4-FFF2-40B4-BE49-F238E27FC236}">
                <a16:creationId xmlns:a16="http://schemas.microsoft.com/office/drawing/2014/main" id="{E1A1E57D-5415-FF9C-C2D4-D14B5775926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435006" y="1136650"/>
            <a:ext cx="1712170" cy="1707542"/>
          </a:xfrm>
          <a:prstGeom prst="rect">
            <a:avLst/>
          </a:prstGeom>
        </p:spPr>
      </p:pic>
      <p:sp>
        <p:nvSpPr>
          <p:cNvPr id="5" name="Oval 5">
            <a:extLst>
              <a:ext uri="{FF2B5EF4-FFF2-40B4-BE49-F238E27FC236}">
                <a16:creationId xmlns:a16="http://schemas.microsoft.com/office/drawing/2014/main" id="{A501F69B-8309-1299-025A-632B85EADA6F}"/>
              </a:ext>
            </a:extLst>
          </p:cNvPr>
          <p:cNvSpPr/>
          <p:nvPr userDrawn="1"/>
        </p:nvSpPr>
        <p:spPr>
          <a:xfrm>
            <a:off x="949082" y="1438270"/>
            <a:ext cx="3633370" cy="3623546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sz="1351"/>
          </a:p>
        </p:txBody>
      </p:sp>
      <p:sp>
        <p:nvSpPr>
          <p:cNvPr id="7" name="Espaço Reservado para Texto 6">
            <a:extLst>
              <a:ext uri="{FF2B5EF4-FFF2-40B4-BE49-F238E27FC236}">
                <a16:creationId xmlns:a16="http://schemas.microsoft.com/office/drawing/2014/main" id="{D6F85BE3-183D-1F4D-9986-5566BC05916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10300" y="634416"/>
            <a:ext cx="5067325" cy="447675"/>
          </a:xfrm>
        </p:spPr>
        <p:txBody>
          <a:bodyPr lIns="108000">
            <a:normAutofit/>
          </a:bodyPr>
          <a:lstStyle>
            <a:lvl1pPr>
              <a:lnSpc>
                <a:spcPct val="100000"/>
              </a:lnSpc>
              <a:defRPr sz="1100" b="0" cap="all" spc="100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pt-BR"/>
              <a:t>Título</a:t>
            </a:r>
          </a:p>
        </p:txBody>
      </p:sp>
      <p:sp>
        <p:nvSpPr>
          <p:cNvPr id="8" name="Título 7">
            <a:extLst>
              <a:ext uri="{FF2B5EF4-FFF2-40B4-BE49-F238E27FC236}">
                <a16:creationId xmlns:a16="http://schemas.microsoft.com/office/drawing/2014/main" id="{850B399A-346B-51E3-1A92-253CADB724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10300" y="929692"/>
            <a:ext cx="5067325" cy="447676"/>
          </a:xfrm>
        </p:spPr>
        <p:txBody>
          <a:bodyPr anchor="t">
            <a:noAutofit/>
          </a:bodyPr>
          <a:lstStyle>
            <a:lvl1pPr>
              <a:defRPr sz="3600" b="1" spc="-100" baseline="0">
                <a:solidFill>
                  <a:schemeClr val="accent2"/>
                </a:solidFill>
              </a:defRPr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10" name="Espaço Reservado para Texto 9">
            <a:extLst>
              <a:ext uri="{FF2B5EF4-FFF2-40B4-BE49-F238E27FC236}">
                <a16:creationId xmlns:a16="http://schemas.microsoft.com/office/drawing/2014/main" id="{A4BD41B5-820C-FB18-CD31-121F93FBE6B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209506" y="2090738"/>
            <a:ext cx="5068094" cy="4132846"/>
          </a:xfrm>
        </p:spPr>
        <p:txBody>
          <a:bodyPr>
            <a:noAutofit/>
          </a:bodyPr>
          <a:lstStyle>
            <a:lvl1pPr marL="0" indent="0">
              <a:lnSpc>
                <a:spcPct val="120000"/>
              </a:lnSpc>
              <a:spcBef>
                <a:spcPts val="2000"/>
              </a:spcBef>
              <a:spcAft>
                <a:spcPts val="500"/>
              </a:spcAft>
              <a:buFont typeface="Arial" panose="020B0604020202020204" pitchFamily="34" charset="0"/>
              <a:buNone/>
              <a:defRPr sz="1600" b="1" u="none">
                <a:solidFill>
                  <a:schemeClr val="accent2"/>
                </a:solidFill>
              </a:defRPr>
            </a:lvl1pPr>
            <a:lvl2pPr marL="0" indent="0">
              <a:lnSpc>
                <a:spcPct val="120000"/>
              </a:lnSpc>
              <a:spcBef>
                <a:spcPts val="0"/>
              </a:spcBef>
              <a:spcAft>
                <a:spcPts val="500"/>
              </a:spcAft>
              <a:buNone/>
              <a:defRPr sz="1400">
                <a:solidFill>
                  <a:schemeClr val="bg1"/>
                </a:solidFill>
              </a:defRPr>
            </a:lvl2pPr>
            <a:lvl3pPr marL="792000" indent="-288000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FontTx/>
              <a:buBlip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</a:buBlip>
              <a:defRPr sz="1300">
                <a:solidFill>
                  <a:schemeClr val="bg2"/>
                </a:solidFill>
              </a:defRPr>
            </a:lvl3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endParaRPr lang="pt-BR"/>
          </a:p>
        </p:txBody>
      </p:sp>
      <p:sp>
        <p:nvSpPr>
          <p:cNvPr id="2" name="Picture Placeholder 4">
            <a:extLst>
              <a:ext uri="{FF2B5EF4-FFF2-40B4-BE49-F238E27FC236}">
                <a16:creationId xmlns:a16="http://schemas.microsoft.com/office/drawing/2014/main" id="{01BE0EC9-7069-DF75-D503-4A156A65201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013853" y="1505358"/>
            <a:ext cx="3494354" cy="3494354"/>
          </a:xfrm>
          <a:custGeom>
            <a:avLst/>
            <a:gdLst>
              <a:gd name="connsiteX0" fmla="*/ 3543300 w 7086600"/>
              <a:gd name="connsiteY0" fmla="*/ 0 h 7086600"/>
              <a:gd name="connsiteX1" fmla="*/ 7086600 w 7086600"/>
              <a:gd name="connsiteY1" fmla="*/ 3543300 h 7086600"/>
              <a:gd name="connsiteX2" fmla="*/ 3543300 w 7086600"/>
              <a:gd name="connsiteY2" fmla="*/ 7086600 h 7086600"/>
              <a:gd name="connsiteX3" fmla="*/ 0 w 7086600"/>
              <a:gd name="connsiteY3" fmla="*/ 3543300 h 7086600"/>
              <a:gd name="connsiteX4" fmla="*/ 3543300 w 7086600"/>
              <a:gd name="connsiteY4" fmla="*/ 0 h 7086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086600" h="7086600">
                <a:moveTo>
                  <a:pt x="3543300" y="0"/>
                </a:moveTo>
                <a:cubicBezTo>
                  <a:pt x="5500211" y="0"/>
                  <a:pt x="7086600" y="1586389"/>
                  <a:pt x="7086600" y="3543300"/>
                </a:cubicBezTo>
                <a:cubicBezTo>
                  <a:pt x="7086600" y="5500211"/>
                  <a:pt x="5500211" y="7086600"/>
                  <a:pt x="3543300" y="7086600"/>
                </a:cubicBezTo>
                <a:cubicBezTo>
                  <a:pt x="1586389" y="7086600"/>
                  <a:pt x="0" y="5500211"/>
                  <a:pt x="0" y="3543300"/>
                </a:cubicBezTo>
                <a:cubicBezTo>
                  <a:pt x="0" y="1586389"/>
                  <a:pt x="1586389" y="0"/>
                  <a:pt x="35433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 sz="2000"/>
            </a:lvl1pPr>
          </a:lstStyle>
          <a:p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711639505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9D7E6FD-C4DA-F588-E77A-C8DBEDF918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569426D3-4E19-986D-846B-503FE94727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C555FC61-4954-E68E-3679-F6B0250BF4F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pic>
        <p:nvPicPr>
          <p:cNvPr id="5" name="Imagem 4" descr="Logotipo&#10;&#10;Descrição gerada automaticamente">
            <a:extLst>
              <a:ext uri="{FF2B5EF4-FFF2-40B4-BE49-F238E27FC236}">
                <a16:creationId xmlns:a16="http://schemas.microsoft.com/office/drawing/2014/main" id="{18F92F95-DAA0-5CA6-8223-654C44F6D80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877675" y="278512"/>
            <a:ext cx="864013" cy="507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5527033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B2FE12D4-690A-0F87-A603-8BADEE0A2F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Imagem 2">
            <a:extLst>
              <a:ext uri="{FF2B5EF4-FFF2-40B4-BE49-F238E27FC236}">
                <a16:creationId xmlns:a16="http://schemas.microsoft.com/office/drawing/2014/main" id="{2A62373F-9A2F-0755-558D-BC41F23DDA3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BR"/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22D91843-CA13-7080-4F10-850D261F15A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pic>
        <p:nvPicPr>
          <p:cNvPr id="5" name="Imagem 4" descr="Logotipo&#10;&#10;Descrição gerada automaticamente">
            <a:extLst>
              <a:ext uri="{FF2B5EF4-FFF2-40B4-BE49-F238E27FC236}">
                <a16:creationId xmlns:a16="http://schemas.microsoft.com/office/drawing/2014/main" id="{DC36B712-BEA9-D1F7-495E-CE9EB10743B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877675" y="278512"/>
            <a:ext cx="864013" cy="507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792565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lipse 3">
            <a:extLst>
              <a:ext uri="{FF2B5EF4-FFF2-40B4-BE49-F238E27FC236}">
                <a16:creationId xmlns:a16="http://schemas.microsoft.com/office/drawing/2014/main" id="{2C50B055-D4D1-8B28-58F6-A4E7EE06C736}"/>
              </a:ext>
            </a:extLst>
          </p:cNvPr>
          <p:cNvSpPr/>
          <p:nvPr userDrawn="1"/>
        </p:nvSpPr>
        <p:spPr>
          <a:xfrm>
            <a:off x="9740900" y="4254388"/>
            <a:ext cx="3476175" cy="3476175"/>
          </a:xfrm>
          <a:prstGeom prst="ellipse">
            <a:avLst/>
          </a:prstGeom>
          <a:solidFill>
            <a:srgbClr val="F3ABA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7" name="Espaço Reservado para Texto 6">
            <a:extLst>
              <a:ext uri="{FF2B5EF4-FFF2-40B4-BE49-F238E27FC236}">
                <a16:creationId xmlns:a16="http://schemas.microsoft.com/office/drawing/2014/main" id="{D6F85BE3-183D-1F4D-9986-5566BC05916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429125" y="602332"/>
            <a:ext cx="6832600" cy="447675"/>
          </a:xfrm>
        </p:spPr>
        <p:txBody>
          <a:bodyPr lIns="126000">
            <a:normAutofit/>
          </a:bodyPr>
          <a:lstStyle>
            <a:lvl1pPr>
              <a:lnSpc>
                <a:spcPct val="100000"/>
              </a:lnSpc>
              <a:defRPr sz="1100" b="0" cap="all" spc="100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endParaRPr lang="pt-BR"/>
          </a:p>
        </p:txBody>
      </p:sp>
      <p:sp>
        <p:nvSpPr>
          <p:cNvPr id="8" name="Título 7">
            <a:extLst>
              <a:ext uri="{FF2B5EF4-FFF2-40B4-BE49-F238E27FC236}">
                <a16:creationId xmlns:a16="http://schemas.microsoft.com/office/drawing/2014/main" id="{850B399A-346B-51E3-1A92-253CADB724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45000" y="865524"/>
            <a:ext cx="6832600" cy="447676"/>
          </a:xfrm>
        </p:spPr>
        <p:txBody>
          <a:bodyPr anchor="t">
            <a:noAutofit/>
          </a:bodyPr>
          <a:lstStyle>
            <a:lvl1pPr>
              <a:defRPr sz="3600" b="1" spc="-100" baseline="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10" name="Espaço Reservado para Texto 9">
            <a:extLst>
              <a:ext uri="{FF2B5EF4-FFF2-40B4-BE49-F238E27FC236}">
                <a16:creationId xmlns:a16="http://schemas.microsoft.com/office/drawing/2014/main" id="{A4BD41B5-820C-FB18-CD31-121F93FBE6B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445000" y="2090738"/>
            <a:ext cx="6832600" cy="4132846"/>
          </a:xfrm>
        </p:spPr>
        <p:txBody>
          <a:bodyPr>
            <a:noAutofit/>
          </a:bodyPr>
          <a:lstStyle>
            <a:lvl1pPr marL="0" indent="0">
              <a:lnSpc>
                <a:spcPct val="110000"/>
              </a:lnSpc>
              <a:spcBef>
                <a:spcPts val="2000"/>
              </a:spcBef>
              <a:spcAft>
                <a:spcPts val="500"/>
              </a:spcAft>
              <a:buFont typeface="Arial" panose="020B0604020202020204" pitchFamily="34" charset="0"/>
              <a:buNone/>
              <a:defRPr sz="1600" b="1" u="none">
                <a:solidFill>
                  <a:schemeClr val="accent2"/>
                </a:solidFill>
              </a:defRPr>
            </a:lvl1pPr>
            <a:lvl2pPr marL="0" indent="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None/>
              <a:defRPr sz="1400"/>
            </a:lvl2pPr>
            <a:lvl3pPr marL="792000" indent="-288000">
              <a:lnSpc>
                <a:spcPct val="110000"/>
              </a:lnSpc>
              <a:spcBef>
                <a:spcPts val="500"/>
              </a:spcBef>
              <a:spcAft>
                <a:spcPts val="0"/>
              </a:spcAft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400">
                <a:solidFill>
                  <a:schemeClr val="tx2"/>
                </a:solidFill>
              </a:defRPr>
            </a:lvl3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endParaRPr lang="pt-BR"/>
          </a:p>
        </p:txBody>
      </p:sp>
      <p:pic>
        <p:nvPicPr>
          <p:cNvPr id="2" name="Gráfico 1">
            <a:extLst>
              <a:ext uri="{FF2B5EF4-FFF2-40B4-BE49-F238E27FC236}">
                <a16:creationId xmlns:a16="http://schemas.microsoft.com/office/drawing/2014/main" id="{A8EC6370-4927-C92F-ACF0-D1E7FF52C1D9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-4731040" y="-591489"/>
            <a:ext cx="8040978" cy="80409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8134588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Gráfico 20">
            <a:extLst>
              <a:ext uri="{FF2B5EF4-FFF2-40B4-BE49-F238E27FC236}">
                <a16:creationId xmlns:a16="http://schemas.microsoft.com/office/drawing/2014/main" id="{8FC6E60B-071E-D350-BC6F-C0CD9604C70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360999" y="2586446"/>
            <a:ext cx="2101026" cy="2101026"/>
          </a:xfrm>
          <a:prstGeom prst="rect">
            <a:avLst/>
          </a:prstGeom>
        </p:spPr>
      </p:pic>
      <p:sp>
        <p:nvSpPr>
          <p:cNvPr id="22" name="Freeform: Shape 24">
            <a:extLst>
              <a:ext uri="{FF2B5EF4-FFF2-40B4-BE49-F238E27FC236}">
                <a16:creationId xmlns:a16="http://schemas.microsoft.com/office/drawing/2014/main" id="{55589210-86D7-6986-4F2E-47E6E193B276}"/>
              </a:ext>
            </a:extLst>
          </p:cNvPr>
          <p:cNvSpPr/>
          <p:nvPr userDrawn="1"/>
        </p:nvSpPr>
        <p:spPr>
          <a:xfrm>
            <a:off x="1" y="5491163"/>
            <a:ext cx="1460543" cy="1360974"/>
          </a:xfrm>
          <a:custGeom>
            <a:avLst/>
            <a:gdLst>
              <a:gd name="connsiteX0" fmla="*/ 618317 w 1778972"/>
              <a:gd name="connsiteY0" fmla="*/ 0 h 1657695"/>
              <a:gd name="connsiteX1" fmla="*/ 1778972 w 1778972"/>
              <a:gd name="connsiteY1" fmla="*/ 1160655 h 1657695"/>
              <a:gd name="connsiteX2" fmla="*/ 1687762 w 1778972"/>
              <a:gd name="connsiteY2" fmla="*/ 1612435 h 1657695"/>
              <a:gd name="connsiteX3" fmla="*/ 1663196 w 1778972"/>
              <a:gd name="connsiteY3" fmla="*/ 1657695 h 1657695"/>
              <a:gd name="connsiteX4" fmla="*/ 0 w 1778972"/>
              <a:gd name="connsiteY4" fmla="*/ 1657695 h 1657695"/>
              <a:gd name="connsiteX5" fmla="*/ 0 w 1778972"/>
              <a:gd name="connsiteY5" fmla="*/ 179622 h 1657695"/>
              <a:gd name="connsiteX6" fmla="*/ 65080 w 1778972"/>
              <a:gd name="connsiteY6" fmla="*/ 140085 h 1657695"/>
              <a:gd name="connsiteX7" fmla="*/ 618317 w 1778972"/>
              <a:gd name="connsiteY7" fmla="*/ 0 h 16576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778972" h="1657695">
                <a:moveTo>
                  <a:pt x="618317" y="0"/>
                </a:moveTo>
                <a:cubicBezTo>
                  <a:pt x="1259329" y="0"/>
                  <a:pt x="1778972" y="519643"/>
                  <a:pt x="1778972" y="1160655"/>
                </a:cubicBezTo>
                <a:cubicBezTo>
                  <a:pt x="1778972" y="1320908"/>
                  <a:pt x="1746495" y="1473576"/>
                  <a:pt x="1687762" y="1612435"/>
                </a:cubicBezTo>
                <a:lnTo>
                  <a:pt x="1663196" y="1657695"/>
                </a:lnTo>
                <a:lnTo>
                  <a:pt x="0" y="1657695"/>
                </a:lnTo>
                <a:lnTo>
                  <a:pt x="0" y="179622"/>
                </a:lnTo>
                <a:lnTo>
                  <a:pt x="65080" y="140085"/>
                </a:lnTo>
                <a:cubicBezTo>
                  <a:pt x="229537" y="50747"/>
                  <a:pt x="418001" y="0"/>
                  <a:pt x="618317" y="0"/>
                </a:cubicBezTo>
                <a:close/>
              </a:path>
            </a:pathLst>
          </a:custGeom>
          <a:solidFill>
            <a:srgbClr val="F461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 sz="1351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B2FE12D4-690A-0F87-A603-8BADEE0A2F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4978" y="1142317"/>
            <a:ext cx="5044671" cy="920750"/>
          </a:xfrm>
        </p:spPr>
        <p:txBody>
          <a:bodyPr anchor="t">
            <a:noAutofit/>
          </a:bodyPr>
          <a:lstStyle>
            <a:lvl1pPr algn="ctr">
              <a:defRPr sz="3600" b="1" spc="-100" baseline="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22D91843-CA13-7080-4F10-850D261F15A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2679700" y="2239906"/>
            <a:ext cx="6832600" cy="951402"/>
          </a:xfrm>
        </p:spPr>
        <p:txBody>
          <a:bodyPr>
            <a:normAutofit/>
          </a:bodyPr>
          <a:lstStyle>
            <a:lvl1pPr marL="0" marR="0" indent="0" algn="ctr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lang="pt-BR" sz="1100" b="0" i="0" u="none" strike="noStrike" cap="none" dirty="0">
                <a:solidFill>
                  <a:schemeClr val="bg1">
                    <a:lumMod val="50000"/>
                  </a:schemeClr>
                </a:solidFill>
                <a:latin typeface="+mn-lt"/>
                <a:ea typeface="Times New Roman" panose="02020603050405020304" pitchFamily="18" charset="0"/>
                <a:cs typeface="Arial"/>
                <a:sym typeface="Arial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Espaço Reservado para Texto 6">
            <a:extLst>
              <a:ext uri="{FF2B5EF4-FFF2-40B4-BE49-F238E27FC236}">
                <a16:creationId xmlns:a16="http://schemas.microsoft.com/office/drawing/2014/main" id="{F65EBF6C-485C-17DD-8EC2-C13A19FCC49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67000" y="773884"/>
            <a:ext cx="5067325" cy="354597"/>
          </a:xfrm>
        </p:spPr>
        <p:txBody>
          <a:bodyPr lIns="108000" anchor="b">
            <a:normAutofit/>
          </a:bodyPr>
          <a:lstStyle>
            <a:lvl1pPr algn="ctr">
              <a:lnSpc>
                <a:spcPct val="100000"/>
              </a:lnSpc>
              <a:defRPr sz="1100" b="0" cap="all" spc="0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pt-BR" err="1"/>
              <a:t>TítulO</a:t>
            </a:r>
            <a:endParaRPr lang="pt-BR"/>
          </a:p>
        </p:txBody>
      </p:sp>
      <p:sp>
        <p:nvSpPr>
          <p:cNvPr id="7" name="Freeform: Shape 26">
            <a:extLst>
              <a:ext uri="{FF2B5EF4-FFF2-40B4-BE49-F238E27FC236}">
                <a16:creationId xmlns:a16="http://schemas.microsoft.com/office/drawing/2014/main" id="{5E95BECC-9D3F-5219-68DD-89416A67263D}"/>
              </a:ext>
            </a:extLst>
          </p:cNvPr>
          <p:cNvSpPr/>
          <p:nvPr userDrawn="1"/>
        </p:nvSpPr>
        <p:spPr>
          <a:xfrm>
            <a:off x="3360987" y="3762124"/>
            <a:ext cx="4638820" cy="3090011"/>
          </a:xfrm>
          <a:custGeom>
            <a:avLst/>
            <a:gdLst>
              <a:gd name="connsiteX0" fmla="*/ 2319410 w 4638820"/>
              <a:gd name="connsiteY0" fmla="*/ 0 h 3090010"/>
              <a:gd name="connsiteX1" fmla="*/ 4638820 w 4638820"/>
              <a:gd name="connsiteY1" fmla="*/ 2319408 h 3090010"/>
              <a:gd name="connsiteX2" fmla="*/ 4534544 w 4638820"/>
              <a:gd name="connsiteY2" fmla="*/ 3009129 h 3090010"/>
              <a:gd name="connsiteX3" fmla="*/ 4504942 w 4638820"/>
              <a:gd name="connsiteY3" fmla="*/ 3090010 h 3090010"/>
              <a:gd name="connsiteX4" fmla="*/ 133879 w 4638820"/>
              <a:gd name="connsiteY4" fmla="*/ 3090010 h 3090010"/>
              <a:gd name="connsiteX5" fmla="*/ 104276 w 4638820"/>
              <a:gd name="connsiteY5" fmla="*/ 3009129 h 3090010"/>
              <a:gd name="connsiteX6" fmla="*/ 0 w 4638820"/>
              <a:gd name="connsiteY6" fmla="*/ 2319408 h 3090010"/>
              <a:gd name="connsiteX7" fmla="*/ 2319410 w 4638820"/>
              <a:gd name="connsiteY7" fmla="*/ 0 h 3090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638820" h="3090010">
                <a:moveTo>
                  <a:pt x="2319410" y="0"/>
                </a:moveTo>
                <a:cubicBezTo>
                  <a:pt x="3600385" y="0"/>
                  <a:pt x="4638820" y="1038434"/>
                  <a:pt x="4638820" y="2319408"/>
                </a:cubicBezTo>
                <a:cubicBezTo>
                  <a:pt x="4638820" y="2559591"/>
                  <a:pt x="4602313" y="2791247"/>
                  <a:pt x="4534544" y="3009129"/>
                </a:cubicBezTo>
                <a:lnTo>
                  <a:pt x="4504942" y="3090010"/>
                </a:lnTo>
                <a:lnTo>
                  <a:pt x="133879" y="3090010"/>
                </a:lnTo>
                <a:lnTo>
                  <a:pt x="104276" y="3009129"/>
                </a:lnTo>
                <a:cubicBezTo>
                  <a:pt x="36508" y="2791247"/>
                  <a:pt x="0" y="2559591"/>
                  <a:pt x="0" y="2319408"/>
                </a:cubicBezTo>
                <a:cubicBezTo>
                  <a:pt x="0" y="1038434"/>
                  <a:pt x="1038435" y="0"/>
                  <a:pt x="2319410" y="0"/>
                </a:cubicBez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 sz="1351"/>
          </a:p>
        </p:txBody>
      </p:sp>
      <p:sp>
        <p:nvSpPr>
          <p:cNvPr id="9" name="Oval 1">
            <a:extLst>
              <a:ext uri="{FF2B5EF4-FFF2-40B4-BE49-F238E27FC236}">
                <a16:creationId xmlns:a16="http://schemas.microsoft.com/office/drawing/2014/main" id="{0B03E640-E3BB-FB17-5537-862E75ABF681}"/>
              </a:ext>
            </a:extLst>
          </p:cNvPr>
          <p:cNvSpPr/>
          <p:nvPr userDrawn="1"/>
        </p:nvSpPr>
        <p:spPr>
          <a:xfrm>
            <a:off x="1409433" y="3372318"/>
            <a:ext cx="2844331" cy="2844332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254000" dist="38100" dir="8100000" algn="tr" rotWithShape="0">
              <a:prstClr val="black">
                <a:alpha val="22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sz="1351"/>
          </a:p>
        </p:txBody>
      </p:sp>
      <p:sp>
        <p:nvSpPr>
          <p:cNvPr id="10" name="Oval 8">
            <a:extLst>
              <a:ext uri="{FF2B5EF4-FFF2-40B4-BE49-F238E27FC236}">
                <a16:creationId xmlns:a16="http://schemas.microsoft.com/office/drawing/2014/main" id="{B9DBEBF6-24A2-17AF-03D7-D3A1A2315E42}"/>
              </a:ext>
            </a:extLst>
          </p:cNvPr>
          <p:cNvSpPr/>
          <p:nvPr userDrawn="1"/>
        </p:nvSpPr>
        <p:spPr>
          <a:xfrm>
            <a:off x="4673835" y="3372318"/>
            <a:ext cx="2844331" cy="2844332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254000" dist="38100" dir="8100000" algn="tr" rotWithShape="0">
              <a:prstClr val="black">
                <a:alpha val="22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sz="1351"/>
          </a:p>
        </p:txBody>
      </p:sp>
      <p:sp>
        <p:nvSpPr>
          <p:cNvPr id="11" name="Oval 9">
            <a:extLst>
              <a:ext uri="{FF2B5EF4-FFF2-40B4-BE49-F238E27FC236}">
                <a16:creationId xmlns:a16="http://schemas.microsoft.com/office/drawing/2014/main" id="{7AFB69F1-EC89-0D88-F743-AB0CCD4E607B}"/>
              </a:ext>
            </a:extLst>
          </p:cNvPr>
          <p:cNvSpPr/>
          <p:nvPr userDrawn="1"/>
        </p:nvSpPr>
        <p:spPr>
          <a:xfrm>
            <a:off x="7998729" y="3372318"/>
            <a:ext cx="2844331" cy="2844332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254000" dist="38100" dir="8100000" algn="tr" rotWithShape="0">
              <a:prstClr val="black">
                <a:alpha val="22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sz="1351"/>
          </a:p>
        </p:txBody>
      </p:sp>
      <p:sp>
        <p:nvSpPr>
          <p:cNvPr id="18" name="Espaço Reservado para Imagem 27">
            <a:extLst>
              <a:ext uri="{FF2B5EF4-FFF2-40B4-BE49-F238E27FC236}">
                <a16:creationId xmlns:a16="http://schemas.microsoft.com/office/drawing/2014/main" id="{6DE3F598-43D3-1E44-57FB-17EFD4D92547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2512131" y="3631564"/>
            <a:ext cx="638934" cy="638934"/>
          </a:xfrm>
        </p:spPr>
        <p:txBody>
          <a:bodyPr>
            <a:normAutofit/>
          </a:bodyPr>
          <a:lstStyle>
            <a:lvl1pPr algn="ctr">
              <a:defRPr sz="1400">
                <a:solidFill>
                  <a:schemeClr val="tx1"/>
                </a:solidFill>
              </a:defRPr>
            </a:lvl1pPr>
          </a:lstStyle>
          <a:p>
            <a:r>
              <a:rPr lang="pt-BR"/>
              <a:t>Ícone</a:t>
            </a:r>
          </a:p>
        </p:txBody>
      </p:sp>
      <p:sp>
        <p:nvSpPr>
          <p:cNvPr id="19" name="Espaço Reservado para Imagem 27">
            <a:extLst>
              <a:ext uri="{FF2B5EF4-FFF2-40B4-BE49-F238E27FC236}">
                <a16:creationId xmlns:a16="http://schemas.microsoft.com/office/drawing/2014/main" id="{E0926438-798E-F72E-EFC9-39EF87CE3634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5796186" y="3631564"/>
            <a:ext cx="638934" cy="638934"/>
          </a:xfrm>
        </p:spPr>
        <p:txBody>
          <a:bodyPr>
            <a:normAutofit/>
          </a:bodyPr>
          <a:lstStyle>
            <a:lvl1pPr algn="ctr">
              <a:defRPr sz="1400">
                <a:solidFill>
                  <a:schemeClr val="tx1"/>
                </a:solidFill>
              </a:defRPr>
            </a:lvl1pPr>
          </a:lstStyle>
          <a:p>
            <a:r>
              <a:rPr lang="pt-BR"/>
              <a:t>Ícone</a:t>
            </a:r>
          </a:p>
        </p:txBody>
      </p:sp>
      <p:sp>
        <p:nvSpPr>
          <p:cNvPr id="20" name="Espaço Reservado para Imagem 27">
            <a:extLst>
              <a:ext uri="{FF2B5EF4-FFF2-40B4-BE49-F238E27FC236}">
                <a16:creationId xmlns:a16="http://schemas.microsoft.com/office/drawing/2014/main" id="{E07D2C1F-D30D-2277-57A7-14955984FC87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9101966" y="3631564"/>
            <a:ext cx="638934" cy="638934"/>
          </a:xfrm>
        </p:spPr>
        <p:txBody>
          <a:bodyPr>
            <a:normAutofit/>
          </a:bodyPr>
          <a:lstStyle>
            <a:lvl1pPr algn="ctr">
              <a:defRPr sz="1400">
                <a:solidFill>
                  <a:schemeClr val="tx1"/>
                </a:solidFill>
              </a:defRPr>
            </a:lvl1pPr>
          </a:lstStyle>
          <a:p>
            <a:r>
              <a:rPr lang="pt-BR"/>
              <a:t>Ícone</a:t>
            </a:r>
          </a:p>
        </p:txBody>
      </p:sp>
      <p:sp>
        <p:nvSpPr>
          <p:cNvPr id="25" name="Espaço Reservado para Texto 23">
            <a:extLst>
              <a:ext uri="{FF2B5EF4-FFF2-40B4-BE49-F238E27FC236}">
                <a16:creationId xmlns:a16="http://schemas.microsoft.com/office/drawing/2014/main" id="{10FAB265-50D2-444E-770C-DF530276BE8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616450" y="4339221"/>
            <a:ext cx="2419408" cy="355592"/>
          </a:xfrm>
        </p:spPr>
        <p:txBody>
          <a:bodyPr>
            <a:normAutofit/>
          </a:bodyPr>
          <a:lstStyle>
            <a:lvl1pPr algn="ctr">
              <a:defRPr sz="1400" b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pt-BR"/>
              <a:t>Título</a:t>
            </a:r>
          </a:p>
        </p:txBody>
      </p:sp>
      <p:sp>
        <p:nvSpPr>
          <p:cNvPr id="27" name="Espaço Reservado para Texto 23">
            <a:extLst>
              <a:ext uri="{FF2B5EF4-FFF2-40B4-BE49-F238E27FC236}">
                <a16:creationId xmlns:a16="http://schemas.microsoft.com/office/drawing/2014/main" id="{A60E8CAA-48D5-61E9-C74D-2CCEB3E3A73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886296" y="4339221"/>
            <a:ext cx="2419408" cy="355592"/>
          </a:xfrm>
        </p:spPr>
        <p:txBody>
          <a:bodyPr>
            <a:normAutofit/>
          </a:bodyPr>
          <a:lstStyle>
            <a:lvl1pPr algn="ctr">
              <a:defRPr sz="1400" b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pt-BR"/>
              <a:t>Título</a:t>
            </a:r>
          </a:p>
        </p:txBody>
      </p:sp>
      <p:sp>
        <p:nvSpPr>
          <p:cNvPr id="29" name="Espaço Reservado para Texto 23">
            <a:extLst>
              <a:ext uri="{FF2B5EF4-FFF2-40B4-BE49-F238E27FC236}">
                <a16:creationId xmlns:a16="http://schemas.microsoft.com/office/drawing/2014/main" id="{73876383-9A46-664A-7697-809108EB46B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211409" y="4339221"/>
            <a:ext cx="2419408" cy="355592"/>
          </a:xfrm>
        </p:spPr>
        <p:txBody>
          <a:bodyPr>
            <a:normAutofit/>
          </a:bodyPr>
          <a:lstStyle>
            <a:lvl1pPr algn="ctr">
              <a:defRPr sz="1400" b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pt-BR"/>
              <a:t>Título</a:t>
            </a:r>
          </a:p>
        </p:txBody>
      </p:sp>
      <p:sp>
        <p:nvSpPr>
          <p:cNvPr id="37" name="Espaço Reservado para Texto 36">
            <a:extLst>
              <a:ext uri="{FF2B5EF4-FFF2-40B4-BE49-F238E27FC236}">
                <a16:creationId xmlns:a16="http://schemas.microsoft.com/office/drawing/2014/main" id="{F5EC3AD8-AE40-5DF3-5734-FF5CE4865868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1610496" y="4704373"/>
            <a:ext cx="2444373" cy="920750"/>
          </a:xfrm>
        </p:spPr>
        <p:txBody>
          <a:bodyPr>
            <a:noAutofit/>
          </a:bodyPr>
          <a:lstStyle>
            <a:lvl1pPr algn="ctr">
              <a:lnSpc>
                <a:spcPct val="150000"/>
              </a:lnSpc>
              <a:defRPr sz="1100" b="0">
                <a:solidFill>
                  <a:schemeClr val="tx2"/>
                </a:solidFill>
              </a:defRPr>
            </a:lvl1pPr>
            <a:lvl2pPr algn="ctr">
              <a:defRPr sz="1100">
                <a:solidFill>
                  <a:schemeClr val="tx2"/>
                </a:solidFill>
              </a:defRPr>
            </a:lvl2pPr>
            <a:lvl3pPr algn="ctr">
              <a:defRPr sz="1100">
                <a:solidFill>
                  <a:schemeClr val="tx2"/>
                </a:solidFill>
              </a:defRPr>
            </a:lvl3pPr>
            <a:lvl4pPr algn="ctr">
              <a:defRPr sz="1100">
                <a:solidFill>
                  <a:schemeClr val="tx2"/>
                </a:solidFill>
              </a:defRPr>
            </a:lvl4pPr>
            <a:lvl5pPr algn="ctr">
              <a:defRPr sz="1100">
                <a:solidFill>
                  <a:schemeClr val="tx2"/>
                </a:solidFill>
              </a:defRPr>
            </a:lvl5pPr>
          </a:lstStyle>
          <a:p>
            <a:pPr lvl="0"/>
            <a:endParaRPr lang="pt-BR"/>
          </a:p>
        </p:txBody>
      </p:sp>
      <p:sp>
        <p:nvSpPr>
          <p:cNvPr id="38" name="Espaço Reservado para Texto 36">
            <a:extLst>
              <a:ext uri="{FF2B5EF4-FFF2-40B4-BE49-F238E27FC236}">
                <a16:creationId xmlns:a16="http://schemas.microsoft.com/office/drawing/2014/main" id="{D2DAA205-1F5B-0E76-2E89-35678D12406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878915" y="4704373"/>
            <a:ext cx="2444373" cy="920750"/>
          </a:xfrm>
        </p:spPr>
        <p:txBody>
          <a:bodyPr>
            <a:noAutofit/>
          </a:bodyPr>
          <a:lstStyle>
            <a:lvl1pPr algn="ctr">
              <a:lnSpc>
                <a:spcPct val="150000"/>
              </a:lnSpc>
              <a:defRPr sz="1100" b="0">
                <a:solidFill>
                  <a:schemeClr val="tx2"/>
                </a:solidFill>
              </a:defRPr>
            </a:lvl1pPr>
            <a:lvl2pPr algn="ctr">
              <a:defRPr sz="1100">
                <a:solidFill>
                  <a:schemeClr val="tx2"/>
                </a:solidFill>
              </a:defRPr>
            </a:lvl2pPr>
            <a:lvl3pPr algn="ctr">
              <a:defRPr sz="1100">
                <a:solidFill>
                  <a:schemeClr val="tx2"/>
                </a:solidFill>
              </a:defRPr>
            </a:lvl3pPr>
            <a:lvl4pPr algn="ctr">
              <a:defRPr sz="1100">
                <a:solidFill>
                  <a:schemeClr val="tx2"/>
                </a:solidFill>
              </a:defRPr>
            </a:lvl4pPr>
            <a:lvl5pPr algn="ctr">
              <a:defRPr sz="1100">
                <a:solidFill>
                  <a:schemeClr val="tx2"/>
                </a:solidFill>
              </a:defRPr>
            </a:lvl5pPr>
          </a:lstStyle>
          <a:p>
            <a:pPr lvl="0"/>
            <a:endParaRPr lang="pt-BR"/>
          </a:p>
        </p:txBody>
      </p:sp>
      <p:sp>
        <p:nvSpPr>
          <p:cNvPr id="39" name="Espaço Reservado para Texto 36">
            <a:extLst>
              <a:ext uri="{FF2B5EF4-FFF2-40B4-BE49-F238E27FC236}">
                <a16:creationId xmlns:a16="http://schemas.microsoft.com/office/drawing/2014/main" id="{EC8C1CAA-95F3-AE44-1F31-7D912F1B8618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8199247" y="4704373"/>
            <a:ext cx="2444373" cy="920750"/>
          </a:xfrm>
        </p:spPr>
        <p:txBody>
          <a:bodyPr>
            <a:noAutofit/>
          </a:bodyPr>
          <a:lstStyle>
            <a:lvl1pPr algn="ctr">
              <a:lnSpc>
                <a:spcPct val="150000"/>
              </a:lnSpc>
              <a:defRPr sz="1100" b="0">
                <a:solidFill>
                  <a:schemeClr val="tx2"/>
                </a:solidFill>
              </a:defRPr>
            </a:lvl1pPr>
            <a:lvl2pPr algn="ctr">
              <a:defRPr sz="1100">
                <a:solidFill>
                  <a:schemeClr val="tx2"/>
                </a:solidFill>
              </a:defRPr>
            </a:lvl2pPr>
            <a:lvl3pPr algn="ctr">
              <a:defRPr sz="1100">
                <a:solidFill>
                  <a:schemeClr val="tx2"/>
                </a:solidFill>
              </a:defRPr>
            </a:lvl3pPr>
            <a:lvl4pPr algn="ctr">
              <a:defRPr sz="1100">
                <a:solidFill>
                  <a:schemeClr val="tx2"/>
                </a:solidFill>
              </a:defRPr>
            </a:lvl4pPr>
            <a:lvl5pPr algn="ctr">
              <a:defRPr sz="1100">
                <a:solidFill>
                  <a:schemeClr val="tx2"/>
                </a:solidFill>
              </a:defRPr>
            </a:lvl5pPr>
          </a:lstStyle>
          <a:p>
            <a:pPr lvl="0"/>
            <a:endParaRPr lang="pt-BR"/>
          </a:p>
        </p:txBody>
      </p:sp>
      <p:pic>
        <p:nvPicPr>
          <p:cNvPr id="3" name="Imagem 2" descr="Logotipo&#10;&#10;Descrição gerada automaticamente">
            <a:extLst>
              <a:ext uri="{FF2B5EF4-FFF2-40B4-BE49-F238E27FC236}">
                <a16:creationId xmlns:a16="http://schemas.microsoft.com/office/drawing/2014/main" id="{A71C9253-C6F2-D64E-370F-3FC0B4D6CE53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877675" y="278512"/>
            <a:ext cx="864013" cy="507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2907770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áfico 3">
            <a:extLst>
              <a:ext uri="{FF2B5EF4-FFF2-40B4-BE49-F238E27FC236}">
                <a16:creationId xmlns:a16="http://schemas.microsoft.com/office/drawing/2014/main" id="{5536CC76-6171-B09D-FDF3-59407A13526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277600" y="-1751088"/>
            <a:ext cx="2647804" cy="3111172"/>
          </a:xfrm>
          <a:prstGeom prst="rect">
            <a:avLst/>
          </a:prstGeom>
        </p:spPr>
      </p:pic>
      <p:pic>
        <p:nvPicPr>
          <p:cNvPr id="5" name="Gráfico 4">
            <a:extLst>
              <a:ext uri="{FF2B5EF4-FFF2-40B4-BE49-F238E27FC236}">
                <a16:creationId xmlns:a16="http://schemas.microsoft.com/office/drawing/2014/main" id="{5C99EB3E-B5D8-9B44-1758-975265A41B45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-1477559" y="3052763"/>
            <a:ext cx="5182891" cy="6089900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BBDA759A-9915-56A7-B65A-20AE4C2B5F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70391" y="1668084"/>
            <a:ext cx="3046009" cy="1281113"/>
          </a:xfrm>
        </p:spPr>
        <p:txBody>
          <a:bodyPr>
            <a:normAutofit/>
          </a:bodyPr>
          <a:lstStyle>
            <a:lvl1pPr>
              <a:defRPr sz="3200">
                <a:solidFill>
                  <a:schemeClr val="accent2"/>
                </a:solidFill>
              </a:defRPr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6">
            <a:extLst>
              <a:ext uri="{FF2B5EF4-FFF2-40B4-BE49-F238E27FC236}">
                <a16:creationId xmlns:a16="http://schemas.microsoft.com/office/drawing/2014/main" id="{5A69258F-54AB-711A-8C68-B0EDF4C7EFE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71669" y="1313487"/>
            <a:ext cx="3044731" cy="354597"/>
          </a:xfrm>
        </p:spPr>
        <p:txBody>
          <a:bodyPr lIns="108000" anchor="b">
            <a:normAutofit/>
          </a:bodyPr>
          <a:lstStyle>
            <a:lvl1pPr algn="l">
              <a:lnSpc>
                <a:spcPct val="100000"/>
              </a:lnSpc>
              <a:defRPr sz="1100" b="0" cap="all" spc="100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pt-BR" err="1"/>
              <a:t>TítulO</a:t>
            </a:r>
            <a:endParaRPr lang="pt-BR"/>
          </a:p>
        </p:txBody>
      </p:sp>
      <p:sp>
        <p:nvSpPr>
          <p:cNvPr id="28" name="Espaço Reservado para Texto 26">
            <a:extLst>
              <a:ext uri="{FF2B5EF4-FFF2-40B4-BE49-F238E27FC236}">
                <a16:creationId xmlns:a16="http://schemas.microsoft.com/office/drawing/2014/main" id="{48FFDDFF-D427-23B0-5392-54A4F7DC0DB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673601" y="1566862"/>
            <a:ext cx="654050" cy="656199"/>
          </a:xfrm>
        </p:spPr>
        <p:txBody>
          <a:bodyPr>
            <a:noAutofit/>
          </a:bodyPr>
          <a:lstStyle>
            <a:lvl1pPr algn="ctr">
              <a:defRPr sz="3600" b="0">
                <a:solidFill>
                  <a:schemeClr val="accent1"/>
                </a:solidFill>
                <a:latin typeface="+mj-lt"/>
              </a:defRPr>
            </a:lvl1pPr>
            <a:lvl2pPr>
              <a:defRPr sz="3600">
                <a:solidFill>
                  <a:schemeClr val="accent1"/>
                </a:solidFill>
                <a:latin typeface="+mj-lt"/>
              </a:defRPr>
            </a:lvl2pPr>
            <a:lvl3pPr>
              <a:defRPr sz="3600">
                <a:solidFill>
                  <a:schemeClr val="accent1"/>
                </a:solidFill>
                <a:latin typeface="+mj-lt"/>
              </a:defRPr>
            </a:lvl3pPr>
            <a:lvl4pPr>
              <a:defRPr sz="3600">
                <a:solidFill>
                  <a:schemeClr val="accent1"/>
                </a:solidFill>
                <a:latin typeface="+mj-lt"/>
              </a:defRPr>
            </a:lvl4pPr>
            <a:lvl5pPr marL="1828800" indent="0">
              <a:buNone/>
              <a:defRPr sz="3600"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pt-BR"/>
              <a:t>#</a:t>
            </a:r>
          </a:p>
        </p:txBody>
      </p:sp>
      <p:sp>
        <p:nvSpPr>
          <p:cNvPr id="35" name="Espaço Reservado para Texto 26">
            <a:extLst>
              <a:ext uri="{FF2B5EF4-FFF2-40B4-BE49-F238E27FC236}">
                <a16:creationId xmlns:a16="http://schemas.microsoft.com/office/drawing/2014/main" id="{434FF1FA-B54B-D941-7236-4AB73CE075C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673601" y="2546240"/>
            <a:ext cx="654050" cy="656199"/>
          </a:xfrm>
        </p:spPr>
        <p:txBody>
          <a:bodyPr>
            <a:noAutofit/>
          </a:bodyPr>
          <a:lstStyle>
            <a:lvl1pPr algn="ctr">
              <a:defRPr sz="3600" b="0">
                <a:solidFill>
                  <a:schemeClr val="accent1"/>
                </a:solidFill>
                <a:latin typeface="+mj-lt"/>
              </a:defRPr>
            </a:lvl1pPr>
            <a:lvl2pPr>
              <a:defRPr sz="3600">
                <a:solidFill>
                  <a:schemeClr val="accent1"/>
                </a:solidFill>
                <a:latin typeface="+mj-lt"/>
              </a:defRPr>
            </a:lvl2pPr>
            <a:lvl3pPr>
              <a:defRPr sz="3600">
                <a:solidFill>
                  <a:schemeClr val="accent1"/>
                </a:solidFill>
                <a:latin typeface="+mj-lt"/>
              </a:defRPr>
            </a:lvl3pPr>
            <a:lvl4pPr>
              <a:defRPr sz="3600">
                <a:solidFill>
                  <a:schemeClr val="accent1"/>
                </a:solidFill>
                <a:latin typeface="+mj-lt"/>
              </a:defRPr>
            </a:lvl4pPr>
            <a:lvl5pPr marL="1828800" indent="0">
              <a:buNone/>
              <a:defRPr sz="3600"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pt-BR"/>
              <a:t>#</a:t>
            </a:r>
          </a:p>
        </p:txBody>
      </p:sp>
      <p:sp>
        <p:nvSpPr>
          <p:cNvPr id="36" name="Espaço Reservado para Texto 26">
            <a:extLst>
              <a:ext uri="{FF2B5EF4-FFF2-40B4-BE49-F238E27FC236}">
                <a16:creationId xmlns:a16="http://schemas.microsoft.com/office/drawing/2014/main" id="{94BBE6CA-1C8D-0C0E-98B1-F0C9675FB20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673601" y="3507581"/>
            <a:ext cx="654050" cy="656199"/>
          </a:xfrm>
        </p:spPr>
        <p:txBody>
          <a:bodyPr>
            <a:noAutofit/>
          </a:bodyPr>
          <a:lstStyle>
            <a:lvl1pPr algn="ctr">
              <a:defRPr sz="3600" b="0">
                <a:solidFill>
                  <a:schemeClr val="accent1"/>
                </a:solidFill>
                <a:latin typeface="+mj-lt"/>
              </a:defRPr>
            </a:lvl1pPr>
            <a:lvl2pPr>
              <a:defRPr sz="3600">
                <a:solidFill>
                  <a:schemeClr val="accent1"/>
                </a:solidFill>
                <a:latin typeface="+mj-lt"/>
              </a:defRPr>
            </a:lvl2pPr>
            <a:lvl3pPr>
              <a:defRPr sz="3600">
                <a:solidFill>
                  <a:schemeClr val="accent1"/>
                </a:solidFill>
                <a:latin typeface="+mj-lt"/>
              </a:defRPr>
            </a:lvl3pPr>
            <a:lvl4pPr>
              <a:defRPr sz="3600">
                <a:solidFill>
                  <a:schemeClr val="accent1"/>
                </a:solidFill>
                <a:latin typeface="+mj-lt"/>
              </a:defRPr>
            </a:lvl4pPr>
            <a:lvl5pPr marL="1828800" indent="0">
              <a:buNone/>
              <a:defRPr sz="3600"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pt-BR"/>
              <a:t>#</a:t>
            </a:r>
          </a:p>
        </p:txBody>
      </p:sp>
      <p:sp>
        <p:nvSpPr>
          <p:cNvPr id="37" name="Espaço Reservado para Texto 26">
            <a:extLst>
              <a:ext uri="{FF2B5EF4-FFF2-40B4-BE49-F238E27FC236}">
                <a16:creationId xmlns:a16="http://schemas.microsoft.com/office/drawing/2014/main" id="{802FF599-8D20-63CA-9E5C-86076C60E43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673601" y="4461884"/>
            <a:ext cx="654050" cy="656199"/>
          </a:xfrm>
        </p:spPr>
        <p:txBody>
          <a:bodyPr>
            <a:noAutofit/>
          </a:bodyPr>
          <a:lstStyle>
            <a:lvl1pPr algn="ctr">
              <a:defRPr sz="3600" b="0">
                <a:solidFill>
                  <a:schemeClr val="accent1"/>
                </a:solidFill>
                <a:latin typeface="+mj-lt"/>
              </a:defRPr>
            </a:lvl1pPr>
            <a:lvl2pPr>
              <a:defRPr sz="3600">
                <a:solidFill>
                  <a:schemeClr val="accent1"/>
                </a:solidFill>
                <a:latin typeface="+mj-lt"/>
              </a:defRPr>
            </a:lvl2pPr>
            <a:lvl3pPr>
              <a:defRPr sz="3600">
                <a:solidFill>
                  <a:schemeClr val="accent1"/>
                </a:solidFill>
                <a:latin typeface="+mj-lt"/>
              </a:defRPr>
            </a:lvl3pPr>
            <a:lvl4pPr>
              <a:defRPr sz="3600">
                <a:solidFill>
                  <a:schemeClr val="accent1"/>
                </a:solidFill>
                <a:latin typeface="+mj-lt"/>
              </a:defRPr>
            </a:lvl4pPr>
            <a:lvl5pPr marL="1828800" indent="0">
              <a:buNone/>
              <a:defRPr sz="3600"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pt-BR"/>
              <a:t>#</a:t>
            </a:r>
          </a:p>
        </p:txBody>
      </p:sp>
      <p:sp>
        <p:nvSpPr>
          <p:cNvPr id="41" name="Espaço Reservado para Texto 26">
            <a:extLst>
              <a:ext uri="{FF2B5EF4-FFF2-40B4-BE49-F238E27FC236}">
                <a16:creationId xmlns:a16="http://schemas.microsoft.com/office/drawing/2014/main" id="{57A346B4-11F9-01EB-210A-4A70946F8E0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197850" y="1566862"/>
            <a:ext cx="654050" cy="656199"/>
          </a:xfrm>
        </p:spPr>
        <p:txBody>
          <a:bodyPr>
            <a:noAutofit/>
          </a:bodyPr>
          <a:lstStyle>
            <a:lvl1pPr algn="ctr">
              <a:defRPr sz="3600" b="0">
                <a:solidFill>
                  <a:schemeClr val="accent1"/>
                </a:solidFill>
                <a:latin typeface="+mj-lt"/>
              </a:defRPr>
            </a:lvl1pPr>
            <a:lvl2pPr>
              <a:defRPr sz="3600">
                <a:solidFill>
                  <a:schemeClr val="accent1"/>
                </a:solidFill>
                <a:latin typeface="+mj-lt"/>
              </a:defRPr>
            </a:lvl2pPr>
            <a:lvl3pPr>
              <a:defRPr sz="3600">
                <a:solidFill>
                  <a:schemeClr val="accent1"/>
                </a:solidFill>
                <a:latin typeface="+mj-lt"/>
              </a:defRPr>
            </a:lvl3pPr>
            <a:lvl4pPr>
              <a:defRPr sz="3600">
                <a:solidFill>
                  <a:schemeClr val="accent1"/>
                </a:solidFill>
                <a:latin typeface="+mj-lt"/>
              </a:defRPr>
            </a:lvl4pPr>
            <a:lvl5pPr marL="1828800" indent="0">
              <a:buNone/>
              <a:defRPr sz="3600"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pt-BR"/>
              <a:t>#</a:t>
            </a:r>
          </a:p>
        </p:txBody>
      </p:sp>
      <p:sp>
        <p:nvSpPr>
          <p:cNvPr id="42" name="Espaço Reservado para Texto 26">
            <a:extLst>
              <a:ext uri="{FF2B5EF4-FFF2-40B4-BE49-F238E27FC236}">
                <a16:creationId xmlns:a16="http://schemas.microsoft.com/office/drawing/2014/main" id="{EC3DE48F-0EBD-2A68-925F-8A0EF020E66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197850" y="2546240"/>
            <a:ext cx="654050" cy="656199"/>
          </a:xfrm>
        </p:spPr>
        <p:txBody>
          <a:bodyPr>
            <a:noAutofit/>
          </a:bodyPr>
          <a:lstStyle>
            <a:lvl1pPr algn="ctr">
              <a:defRPr sz="3600" b="0">
                <a:solidFill>
                  <a:schemeClr val="accent1"/>
                </a:solidFill>
                <a:latin typeface="+mj-lt"/>
              </a:defRPr>
            </a:lvl1pPr>
            <a:lvl2pPr>
              <a:defRPr sz="3600">
                <a:solidFill>
                  <a:schemeClr val="accent1"/>
                </a:solidFill>
                <a:latin typeface="+mj-lt"/>
              </a:defRPr>
            </a:lvl2pPr>
            <a:lvl3pPr>
              <a:defRPr sz="3600">
                <a:solidFill>
                  <a:schemeClr val="accent1"/>
                </a:solidFill>
                <a:latin typeface="+mj-lt"/>
              </a:defRPr>
            </a:lvl3pPr>
            <a:lvl4pPr>
              <a:defRPr sz="3600">
                <a:solidFill>
                  <a:schemeClr val="accent1"/>
                </a:solidFill>
                <a:latin typeface="+mj-lt"/>
              </a:defRPr>
            </a:lvl4pPr>
            <a:lvl5pPr marL="1828800" indent="0">
              <a:buNone/>
              <a:defRPr sz="3600"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pt-BR"/>
              <a:t>#</a:t>
            </a:r>
          </a:p>
        </p:txBody>
      </p:sp>
      <p:sp>
        <p:nvSpPr>
          <p:cNvPr id="43" name="Espaço Reservado para Texto 26">
            <a:extLst>
              <a:ext uri="{FF2B5EF4-FFF2-40B4-BE49-F238E27FC236}">
                <a16:creationId xmlns:a16="http://schemas.microsoft.com/office/drawing/2014/main" id="{FF173AB6-483B-5C2C-0E35-74B8CFC0725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197850" y="3507581"/>
            <a:ext cx="654050" cy="656199"/>
          </a:xfrm>
        </p:spPr>
        <p:txBody>
          <a:bodyPr>
            <a:noAutofit/>
          </a:bodyPr>
          <a:lstStyle>
            <a:lvl1pPr algn="ctr">
              <a:defRPr sz="3600" b="0">
                <a:solidFill>
                  <a:schemeClr val="accent1"/>
                </a:solidFill>
                <a:latin typeface="+mj-lt"/>
              </a:defRPr>
            </a:lvl1pPr>
            <a:lvl2pPr>
              <a:defRPr sz="3600">
                <a:solidFill>
                  <a:schemeClr val="accent1"/>
                </a:solidFill>
                <a:latin typeface="+mj-lt"/>
              </a:defRPr>
            </a:lvl2pPr>
            <a:lvl3pPr>
              <a:defRPr sz="3600">
                <a:solidFill>
                  <a:schemeClr val="accent1"/>
                </a:solidFill>
                <a:latin typeface="+mj-lt"/>
              </a:defRPr>
            </a:lvl3pPr>
            <a:lvl4pPr>
              <a:defRPr sz="3600">
                <a:solidFill>
                  <a:schemeClr val="accent1"/>
                </a:solidFill>
                <a:latin typeface="+mj-lt"/>
              </a:defRPr>
            </a:lvl4pPr>
            <a:lvl5pPr marL="1828800" indent="0">
              <a:buNone/>
              <a:defRPr sz="3600"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pt-BR"/>
              <a:t>#</a:t>
            </a:r>
          </a:p>
        </p:txBody>
      </p:sp>
      <p:sp>
        <p:nvSpPr>
          <p:cNvPr id="44" name="Espaço Reservado para Texto 26">
            <a:extLst>
              <a:ext uri="{FF2B5EF4-FFF2-40B4-BE49-F238E27FC236}">
                <a16:creationId xmlns:a16="http://schemas.microsoft.com/office/drawing/2014/main" id="{67ADE121-C2B0-51E4-A497-3BB512AA416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197850" y="4461884"/>
            <a:ext cx="654050" cy="656199"/>
          </a:xfrm>
        </p:spPr>
        <p:txBody>
          <a:bodyPr>
            <a:noAutofit/>
          </a:bodyPr>
          <a:lstStyle>
            <a:lvl1pPr algn="ctr">
              <a:defRPr sz="3600" b="0">
                <a:solidFill>
                  <a:schemeClr val="accent1"/>
                </a:solidFill>
                <a:latin typeface="+mj-lt"/>
              </a:defRPr>
            </a:lvl1pPr>
            <a:lvl2pPr>
              <a:defRPr sz="3600">
                <a:solidFill>
                  <a:schemeClr val="accent1"/>
                </a:solidFill>
                <a:latin typeface="+mj-lt"/>
              </a:defRPr>
            </a:lvl2pPr>
            <a:lvl3pPr>
              <a:defRPr sz="3600">
                <a:solidFill>
                  <a:schemeClr val="accent1"/>
                </a:solidFill>
                <a:latin typeface="+mj-lt"/>
              </a:defRPr>
            </a:lvl3pPr>
            <a:lvl4pPr>
              <a:defRPr sz="3600">
                <a:solidFill>
                  <a:schemeClr val="accent1"/>
                </a:solidFill>
                <a:latin typeface="+mj-lt"/>
              </a:defRPr>
            </a:lvl4pPr>
            <a:lvl5pPr marL="1828800" indent="0">
              <a:buNone/>
              <a:defRPr sz="3600"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pt-BR"/>
              <a:t>#</a:t>
            </a:r>
          </a:p>
        </p:txBody>
      </p:sp>
      <p:sp>
        <p:nvSpPr>
          <p:cNvPr id="48" name="Espaço Reservado para Texto 45">
            <a:extLst>
              <a:ext uri="{FF2B5EF4-FFF2-40B4-BE49-F238E27FC236}">
                <a16:creationId xmlns:a16="http://schemas.microsoft.com/office/drawing/2014/main" id="{AA0A1508-379C-FE57-7F02-B2F7615EF5CA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230813" y="1607419"/>
            <a:ext cx="2744787" cy="625475"/>
          </a:xfrm>
        </p:spPr>
        <p:txBody>
          <a:bodyPr>
            <a:noAutofit/>
          </a:bodyPr>
          <a:lstStyle>
            <a:lvl1pPr>
              <a:lnSpc>
                <a:spcPct val="130000"/>
              </a:lnSpc>
              <a:defRPr sz="1400" b="0">
                <a:solidFill>
                  <a:schemeClr val="tx2"/>
                </a:solidFill>
              </a:defRPr>
            </a:lvl1pPr>
            <a:lvl2pPr>
              <a:lnSpc>
                <a:spcPct val="130000"/>
              </a:lnSpc>
              <a:defRPr sz="1300">
                <a:solidFill>
                  <a:schemeClr val="tx2"/>
                </a:solidFill>
              </a:defRPr>
            </a:lvl2pPr>
            <a:lvl3pPr>
              <a:lnSpc>
                <a:spcPct val="130000"/>
              </a:lnSpc>
              <a:defRPr sz="1300">
                <a:solidFill>
                  <a:schemeClr val="tx2"/>
                </a:solidFill>
              </a:defRPr>
            </a:lvl3pPr>
            <a:lvl4pPr>
              <a:lnSpc>
                <a:spcPct val="130000"/>
              </a:lnSpc>
              <a:defRPr sz="1300">
                <a:solidFill>
                  <a:schemeClr val="tx2"/>
                </a:solidFill>
              </a:defRPr>
            </a:lvl4pPr>
            <a:lvl5pPr marL="1828800" indent="0">
              <a:lnSpc>
                <a:spcPct val="130000"/>
              </a:lnSpc>
              <a:buNone/>
              <a:defRPr sz="1300">
                <a:solidFill>
                  <a:schemeClr val="tx2"/>
                </a:solidFill>
              </a:defRPr>
            </a:lvl5pPr>
          </a:lstStyle>
          <a:p>
            <a:pPr lvl="0"/>
            <a:endParaRPr lang="pt-BR"/>
          </a:p>
        </p:txBody>
      </p:sp>
      <p:sp>
        <p:nvSpPr>
          <p:cNvPr id="50" name="Espaço Reservado para Texto 45">
            <a:extLst>
              <a:ext uri="{FF2B5EF4-FFF2-40B4-BE49-F238E27FC236}">
                <a16:creationId xmlns:a16="http://schemas.microsoft.com/office/drawing/2014/main" id="{90EFF4E9-FB08-5C1A-9AE1-FC5E00F8336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230813" y="2579309"/>
            <a:ext cx="2744787" cy="625475"/>
          </a:xfrm>
        </p:spPr>
        <p:txBody>
          <a:bodyPr>
            <a:noAutofit/>
          </a:bodyPr>
          <a:lstStyle>
            <a:lvl1pPr>
              <a:lnSpc>
                <a:spcPct val="130000"/>
              </a:lnSpc>
              <a:defRPr sz="1400" b="0">
                <a:solidFill>
                  <a:schemeClr val="tx2"/>
                </a:solidFill>
              </a:defRPr>
            </a:lvl1pPr>
            <a:lvl2pPr>
              <a:lnSpc>
                <a:spcPct val="130000"/>
              </a:lnSpc>
              <a:defRPr sz="1300">
                <a:solidFill>
                  <a:schemeClr val="tx2"/>
                </a:solidFill>
              </a:defRPr>
            </a:lvl2pPr>
            <a:lvl3pPr>
              <a:lnSpc>
                <a:spcPct val="130000"/>
              </a:lnSpc>
              <a:defRPr sz="1300">
                <a:solidFill>
                  <a:schemeClr val="tx2"/>
                </a:solidFill>
              </a:defRPr>
            </a:lvl3pPr>
            <a:lvl4pPr>
              <a:lnSpc>
                <a:spcPct val="130000"/>
              </a:lnSpc>
              <a:defRPr sz="1300">
                <a:solidFill>
                  <a:schemeClr val="tx2"/>
                </a:solidFill>
              </a:defRPr>
            </a:lvl4pPr>
            <a:lvl5pPr marL="1828800" indent="0">
              <a:lnSpc>
                <a:spcPct val="130000"/>
              </a:lnSpc>
              <a:buNone/>
              <a:defRPr sz="1300">
                <a:solidFill>
                  <a:schemeClr val="tx2"/>
                </a:solidFill>
              </a:defRPr>
            </a:lvl5pPr>
          </a:lstStyle>
          <a:p>
            <a:pPr lvl="0"/>
            <a:endParaRPr lang="pt-BR"/>
          </a:p>
        </p:txBody>
      </p:sp>
      <p:sp>
        <p:nvSpPr>
          <p:cNvPr id="56" name="Espaço Reservado para Texto 45">
            <a:extLst>
              <a:ext uri="{FF2B5EF4-FFF2-40B4-BE49-F238E27FC236}">
                <a16:creationId xmlns:a16="http://schemas.microsoft.com/office/drawing/2014/main" id="{69EED1E0-BCD6-F969-095D-CB3F4281C4CC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5230813" y="4500843"/>
            <a:ext cx="2744787" cy="625475"/>
          </a:xfrm>
        </p:spPr>
        <p:txBody>
          <a:bodyPr>
            <a:noAutofit/>
          </a:bodyPr>
          <a:lstStyle>
            <a:lvl1pPr>
              <a:lnSpc>
                <a:spcPct val="130000"/>
              </a:lnSpc>
              <a:defRPr sz="1400" b="0">
                <a:solidFill>
                  <a:schemeClr val="tx2"/>
                </a:solidFill>
              </a:defRPr>
            </a:lvl1pPr>
            <a:lvl2pPr>
              <a:lnSpc>
                <a:spcPct val="130000"/>
              </a:lnSpc>
              <a:defRPr sz="1300">
                <a:solidFill>
                  <a:schemeClr val="tx2"/>
                </a:solidFill>
              </a:defRPr>
            </a:lvl2pPr>
            <a:lvl3pPr>
              <a:lnSpc>
                <a:spcPct val="130000"/>
              </a:lnSpc>
              <a:defRPr sz="1300">
                <a:solidFill>
                  <a:schemeClr val="tx2"/>
                </a:solidFill>
              </a:defRPr>
            </a:lvl3pPr>
            <a:lvl4pPr>
              <a:lnSpc>
                <a:spcPct val="130000"/>
              </a:lnSpc>
              <a:defRPr sz="1300">
                <a:solidFill>
                  <a:schemeClr val="tx2"/>
                </a:solidFill>
              </a:defRPr>
            </a:lvl4pPr>
            <a:lvl5pPr marL="1828800" indent="0">
              <a:lnSpc>
                <a:spcPct val="130000"/>
              </a:lnSpc>
              <a:buNone/>
              <a:defRPr sz="1300">
                <a:solidFill>
                  <a:schemeClr val="tx2"/>
                </a:solidFill>
              </a:defRPr>
            </a:lvl5pPr>
          </a:lstStyle>
          <a:p>
            <a:pPr lvl="0"/>
            <a:endParaRPr lang="pt-BR"/>
          </a:p>
        </p:txBody>
      </p:sp>
      <p:sp>
        <p:nvSpPr>
          <p:cNvPr id="57" name="Espaço Reservado para Texto 45">
            <a:extLst>
              <a:ext uri="{FF2B5EF4-FFF2-40B4-BE49-F238E27FC236}">
                <a16:creationId xmlns:a16="http://schemas.microsoft.com/office/drawing/2014/main" id="{FC661200-4B00-8BE8-EBFB-A1ADFE405EB1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5230813" y="3533705"/>
            <a:ext cx="2744787" cy="625475"/>
          </a:xfrm>
        </p:spPr>
        <p:txBody>
          <a:bodyPr>
            <a:noAutofit/>
          </a:bodyPr>
          <a:lstStyle>
            <a:lvl1pPr>
              <a:lnSpc>
                <a:spcPct val="130000"/>
              </a:lnSpc>
              <a:defRPr sz="1400" b="0">
                <a:solidFill>
                  <a:schemeClr val="tx2"/>
                </a:solidFill>
              </a:defRPr>
            </a:lvl1pPr>
            <a:lvl2pPr>
              <a:lnSpc>
                <a:spcPct val="130000"/>
              </a:lnSpc>
              <a:defRPr sz="1300">
                <a:solidFill>
                  <a:schemeClr val="tx2"/>
                </a:solidFill>
              </a:defRPr>
            </a:lvl2pPr>
            <a:lvl3pPr>
              <a:lnSpc>
                <a:spcPct val="130000"/>
              </a:lnSpc>
              <a:defRPr sz="1300">
                <a:solidFill>
                  <a:schemeClr val="tx2"/>
                </a:solidFill>
              </a:defRPr>
            </a:lvl3pPr>
            <a:lvl4pPr>
              <a:lnSpc>
                <a:spcPct val="130000"/>
              </a:lnSpc>
              <a:defRPr sz="1300">
                <a:solidFill>
                  <a:schemeClr val="tx2"/>
                </a:solidFill>
              </a:defRPr>
            </a:lvl4pPr>
            <a:lvl5pPr marL="1828800" indent="0">
              <a:lnSpc>
                <a:spcPct val="130000"/>
              </a:lnSpc>
              <a:buNone/>
              <a:defRPr sz="1300">
                <a:solidFill>
                  <a:schemeClr val="tx2"/>
                </a:solidFill>
              </a:defRPr>
            </a:lvl5pPr>
          </a:lstStyle>
          <a:p>
            <a:pPr lvl="0"/>
            <a:endParaRPr lang="pt-BR"/>
          </a:p>
        </p:txBody>
      </p:sp>
      <p:sp>
        <p:nvSpPr>
          <p:cNvPr id="58" name="Espaço Reservado para Texto 45">
            <a:extLst>
              <a:ext uri="{FF2B5EF4-FFF2-40B4-BE49-F238E27FC236}">
                <a16:creationId xmlns:a16="http://schemas.microsoft.com/office/drawing/2014/main" id="{345D7696-2F1D-1E51-5609-E3C0EBA299DC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8756650" y="1607419"/>
            <a:ext cx="2516187" cy="625475"/>
          </a:xfrm>
        </p:spPr>
        <p:txBody>
          <a:bodyPr>
            <a:noAutofit/>
          </a:bodyPr>
          <a:lstStyle>
            <a:lvl1pPr>
              <a:lnSpc>
                <a:spcPct val="130000"/>
              </a:lnSpc>
              <a:defRPr sz="1400" b="0">
                <a:solidFill>
                  <a:schemeClr val="tx2"/>
                </a:solidFill>
              </a:defRPr>
            </a:lvl1pPr>
            <a:lvl2pPr>
              <a:lnSpc>
                <a:spcPct val="130000"/>
              </a:lnSpc>
              <a:defRPr sz="1300">
                <a:solidFill>
                  <a:schemeClr val="tx2"/>
                </a:solidFill>
              </a:defRPr>
            </a:lvl2pPr>
            <a:lvl3pPr>
              <a:lnSpc>
                <a:spcPct val="130000"/>
              </a:lnSpc>
              <a:defRPr sz="1300">
                <a:solidFill>
                  <a:schemeClr val="tx2"/>
                </a:solidFill>
              </a:defRPr>
            </a:lvl3pPr>
            <a:lvl4pPr>
              <a:lnSpc>
                <a:spcPct val="130000"/>
              </a:lnSpc>
              <a:defRPr sz="1300">
                <a:solidFill>
                  <a:schemeClr val="tx2"/>
                </a:solidFill>
              </a:defRPr>
            </a:lvl4pPr>
            <a:lvl5pPr marL="1828800" indent="0">
              <a:lnSpc>
                <a:spcPct val="130000"/>
              </a:lnSpc>
              <a:buNone/>
              <a:defRPr sz="1300">
                <a:solidFill>
                  <a:schemeClr val="tx2"/>
                </a:solidFill>
              </a:defRPr>
            </a:lvl5pPr>
          </a:lstStyle>
          <a:p>
            <a:pPr lvl="0"/>
            <a:endParaRPr lang="pt-BR"/>
          </a:p>
        </p:txBody>
      </p:sp>
      <p:sp>
        <p:nvSpPr>
          <p:cNvPr id="59" name="Espaço Reservado para Texto 45">
            <a:extLst>
              <a:ext uri="{FF2B5EF4-FFF2-40B4-BE49-F238E27FC236}">
                <a16:creationId xmlns:a16="http://schemas.microsoft.com/office/drawing/2014/main" id="{22E326E2-1473-4ABD-2CF9-3D37955704CC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8756650" y="2579309"/>
            <a:ext cx="2516187" cy="625475"/>
          </a:xfrm>
        </p:spPr>
        <p:txBody>
          <a:bodyPr>
            <a:noAutofit/>
          </a:bodyPr>
          <a:lstStyle>
            <a:lvl1pPr>
              <a:lnSpc>
                <a:spcPct val="130000"/>
              </a:lnSpc>
              <a:defRPr sz="1400" b="0">
                <a:solidFill>
                  <a:schemeClr val="tx2"/>
                </a:solidFill>
              </a:defRPr>
            </a:lvl1pPr>
            <a:lvl2pPr>
              <a:lnSpc>
                <a:spcPct val="130000"/>
              </a:lnSpc>
              <a:defRPr sz="1300">
                <a:solidFill>
                  <a:schemeClr val="tx2"/>
                </a:solidFill>
              </a:defRPr>
            </a:lvl2pPr>
            <a:lvl3pPr>
              <a:lnSpc>
                <a:spcPct val="130000"/>
              </a:lnSpc>
              <a:defRPr sz="1300">
                <a:solidFill>
                  <a:schemeClr val="tx2"/>
                </a:solidFill>
              </a:defRPr>
            </a:lvl3pPr>
            <a:lvl4pPr>
              <a:lnSpc>
                <a:spcPct val="130000"/>
              </a:lnSpc>
              <a:defRPr sz="1300">
                <a:solidFill>
                  <a:schemeClr val="tx2"/>
                </a:solidFill>
              </a:defRPr>
            </a:lvl4pPr>
            <a:lvl5pPr marL="1828800" indent="0">
              <a:lnSpc>
                <a:spcPct val="130000"/>
              </a:lnSpc>
              <a:buNone/>
              <a:defRPr sz="1300">
                <a:solidFill>
                  <a:schemeClr val="tx2"/>
                </a:solidFill>
              </a:defRPr>
            </a:lvl5pPr>
          </a:lstStyle>
          <a:p>
            <a:pPr lvl="0"/>
            <a:endParaRPr lang="pt-BR"/>
          </a:p>
        </p:txBody>
      </p:sp>
      <p:sp>
        <p:nvSpPr>
          <p:cNvPr id="60" name="Espaço Reservado para Texto 45">
            <a:extLst>
              <a:ext uri="{FF2B5EF4-FFF2-40B4-BE49-F238E27FC236}">
                <a16:creationId xmlns:a16="http://schemas.microsoft.com/office/drawing/2014/main" id="{5A6A8A0A-A9DC-57C3-F49B-D204B25F3ED9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8756650" y="4500843"/>
            <a:ext cx="2516187" cy="625475"/>
          </a:xfrm>
        </p:spPr>
        <p:txBody>
          <a:bodyPr>
            <a:noAutofit/>
          </a:bodyPr>
          <a:lstStyle>
            <a:lvl1pPr>
              <a:lnSpc>
                <a:spcPct val="130000"/>
              </a:lnSpc>
              <a:defRPr sz="1400" b="0">
                <a:solidFill>
                  <a:schemeClr val="tx2"/>
                </a:solidFill>
              </a:defRPr>
            </a:lvl1pPr>
            <a:lvl2pPr>
              <a:lnSpc>
                <a:spcPct val="130000"/>
              </a:lnSpc>
              <a:defRPr sz="1300">
                <a:solidFill>
                  <a:schemeClr val="tx2"/>
                </a:solidFill>
              </a:defRPr>
            </a:lvl2pPr>
            <a:lvl3pPr>
              <a:lnSpc>
                <a:spcPct val="130000"/>
              </a:lnSpc>
              <a:defRPr sz="1300">
                <a:solidFill>
                  <a:schemeClr val="tx2"/>
                </a:solidFill>
              </a:defRPr>
            </a:lvl3pPr>
            <a:lvl4pPr>
              <a:lnSpc>
                <a:spcPct val="130000"/>
              </a:lnSpc>
              <a:defRPr sz="1300">
                <a:solidFill>
                  <a:schemeClr val="tx2"/>
                </a:solidFill>
              </a:defRPr>
            </a:lvl4pPr>
            <a:lvl5pPr marL="1828800" indent="0">
              <a:lnSpc>
                <a:spcPct val="130000"/>
              </a:lnSpc>
              <a:buNone/>
              <a:defRPr sz="1300">
                <a:solidFill>
                  <a:schemeClr val="tx2"/>
                </a:solidFill>
              </a:defRPr>
            </a:lvl5pPr>
          </a:lstStyle>
          <a:p>
            <a:pPr lvl="0"/>
            <a:endParaRPr lang="pt-BR"/>
          </a:p>
        </p:txBody>
      </p:sp>
      <p:sp>
        <p:nvSpPr>
          <p:cNvPr id="61" name="Espaço Reservado para Texto 45">
            <a:extLst>
              <a:ext uri="{FF2B5EF4-FFF2-40B4-BE49-F238E27FC236}">
                <a16:creationId xmlns:a16="http://schemas.microsoft.com/office/drawing/2014/main" id="{D3BE16D6-E390-D1BC-569E-B7C8A4BAC1EF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8756650" y="3533705"/>
            <a:ext cx="2516187" cy="625475"/>
          </a:xfrm>
        </p:spPr>
        <p:txBody>
          <a:bodyPr>
            <a:noAutofit/>
          </a:bodyPr>
          <a:lstStyle>
            <a:lvl1pPr>
              <a:lnSpc>
                <a:spcPct val="130000"/>
              </a:lnSpc>
              <a:defRPr sz="1400" b="0">
                <a:solidFill>
                  <a:schemeClr val="tx2"/>
                </a:solidFill>
              </a:defRPr>
            </a:lvl1pPr>
            <a:lvl2pPr>
              <a:lnSpc>
                <a:spcPct val="130000"/>
              </a:lnSpc>
              <a:defRPr sz="1300">
                <a:solidFill>
                  <a:schemeClr val="tx2"/>
                </a:solidFill>
              </a:defRPr>
            </a:lvl2pPr>
            <a:lvl3pPr>
              <a:lnSpc>
                <a:spcPct val="130000"/>
              </a:lnSpc>
              <a:defRPr sz="1300">
                <a:solidFill>
                  <a:schemeClr val="tx2"/>
                </a:solidFill>
              </a:defRPr>
            </a:lvl3pPr>
            <a:lvl4pPr>
              <a:lnSpc>
                <a:spcPct val="130000"/>
              </a:lnSpc>
              <a:defRPr sz="1300">
                <a:solidFill>
                  <a:schemeClr val="tx2"/>
                </a:solidFill>
              </a:defRPr>
            </a:lvl4pPr>
            <a:lvl5pPr marL="1828800" indent="0">
              <a:lnSpc>
                <a:spcPct val="130000"/>
              </a:lnSpc>
              <a:buNone/>
              <a:defRPr sz="1300">
                <a:solidFill>
                  <a:schemeClr val="tx2"/>
                </a:solidFill>
              </a:defRPr>
            </a:lvl5pPr>
          </a:lstStyle>
          <a:p>
            <a:pPr lvl="0"/>
            <a:endParaRPr lang="pt-BR"/>
          </a:p>
        </p:txBody>
      </p:sp>
      <p:sp>
        <p:nvSpPr>
          <p:cNvPr id="62" name="Espaço Reservado para Texto 3">
            <a:extLst>
              <a:ext uri="{FF2B5EF4-FFF2-40B4-BE49-F238E27FC236}">
                <a16:creationId xmlns:a16="http://schemas.microsoft.com/office/drawing/2014/main" id="{79D8D897-387E-A66E-3D4D-C6E8F6F7055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1170391" y="3235508"/>
            <a:ext cx="3044731" cy="951402"/>
          </a:xfrm>
        </p:spPr>
        <p:txBody>
          <a:bodyPr>
            <a:normAutofit/>
          </a:bodyPr>
          <a:lstStyle>
            <a:lvl1pPr marL="0" marR="0" indent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lang="pt-BR" sz="1100" b="0" i="0" u="none" strike="noStrike" cap="none" dirty="0">
                <a:solidFill>
                  <a:schemeClr val="bg1">
                    <a:lumMod val="50000"/>
                  </a:schemeClr>
                </a:solidFill>
                <a:latin typeface="+mn-lt"/>
                <a:ea typeface="Times New Roman" panose="02020603050405020304" pitchFamily="18" charset="0"/>
                <a:cs typeface="Arial"/>
                <a:sym typeface="Arial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pic>
        <p:nvPicPr>
          <p:cNvPr id="6" name="Imagem 5" descr="Logotipo&#10;&#10;Descrição gerada automaticamente">
            <a:extLst>
              <a:ext uri="{FF2B5EF4-FFF2-40B4-BE49-F238E27FC236}">
                <a16:creationId xmlns:a16="http://schemas.microsoft.com/office/drawing/2014/main" id="{6ABF1A4E-2E86-BEFC-CB5F-DEB96D53FF31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9877675" y="278512"/>
            <a:ext cx="864013" cy="507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9559926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m Branco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áfico 3">
            <a:extLst>
              <a:ext uri="{FF2B5EF4-FFF2-40B4-BE49-F238E27FC236}">
                <a16:creationId xmlns:a16="http://schemas.microsoft.com/office/drawing/2014/main" id="{5536CC76-6171-B09D-FDF3-59407A13526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277600" y="-1751088"/>
            <a:ext cx="2647804" cy="3111172"/>
          </a:xfrm>
          <a:prstGeom prst="rect">
            <a:avLst/>
          </a:prstGeom>
        </p:spPr>
      </p:pic>
      <p:pic>
        <p:nvPicPr>
          <p:cNvPr id="5" name="Gráfico 4">
            <a:extLst>
              <a:ext uri="{FF2B5EF4-FFF2-40B4-BE49-F238E27FC236}">
                <a16:creationId xmlns:a16="http://schemas.microsoft.com/office/drawing/2014/main" id="{5C99EB3E-B5D8-9B44-1758-975265A41B45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-1477559" y="3052763"/>
            <a:ext cx="5182891" cy="6089900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BBDA759A-9915-56A7-B65A-20AE4C2B5F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70391" y="1668084"/>
            <a:ext cx="3046009" cy="1281113"/>
          </a:xfrm>
        </p:spPr>
        <p:txBody>
          <a:bodyPr>
            <a:normAutofit/>
          </a:bodyPr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6">
            <a:extLst>
              <a:ext uri="{FF2B5EF4-FFF2-40B4-BE49-F238E27FC236}">
                <a16:creationId xmlns:a16="http://schemas.microsoft.com/office/drawing/2014/main" id="{5A69258F-54AB-711A-8C68-B0EDF4C7EFE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71669" y="1313487"/>
            <a:ext cx="3044731" cy="354597"/>
          </a:xfrm>
        </p:spPr>
        <p:txBody>
          <a:bodyPr lIns="108000" anchor="b">
            <a:normAutofit/>
          </a:bodyPr>
          <a:lstStyle>
            <a:lvl1pPr algn="l">
              <a:lnSpc>
                <a:spcPct val="100000"/>
              </a:lnSpc>
              <a:defRPr sz="1100" b="0" cap="all" spc="1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BR" err="1"/>
              <a:t>TítulO</a:t>
            </a:r>
            <a:endParaRPr lang="pt-BR"/>
          </a:p>
        </p:txBody>
      </p:sp>
      <p:sp>
        <p:nvSpPr>
          <p:cNvPr id="48" name="Espaço Reservado para Texto 45">
            <a:extLst>
              <a:ext uri="{FF2B5EF4-FFF2-40B4-BE49-F238E27FC236}">
                <a16:creationId xmlns:a16="http://schemas.microsoft.com/office/drawing/2014/main" id="{AA0A1508-379C-FE57-7F02-B2F7615EF5CA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230813" y="1607419"/>
            <a:ext cx="2744787" cy="625475"/>
          </a:xfrm>
        </p:spPr>
        <p:txBody>
          <a:bodyPr>
            <a:noAutofit/>
          </a:bodyPr>
          <a:lstStyle>
            <a:lvl1pPr>
              <a:lnSpc>
                <a:spcPct val="130000"/>
              </a:lnSpc>
              <a:defRPr sz="1400" b="0">
                <a:solidFill>
                  <a:schemeClr val="bg2"/>
                </a:solidFill>
              </a:defRPr>
            </a:lvl1pPr>
            <a:lvl2pPr>
              <a:lnSpc>
                <a:spcPct val="130000"/>
              </a:lnSpc>
              <a:defRPr sz="1300">
                <a:solidFill>
                  <a:schemeClr val="tx2"/>
                </a:solidFill>
              </a:defRPr>
            </a:lvl2pPr>
            <a:lvl3pPr>
              <a:lnSpc>
                <a:spcPct val="130000"/>
              </a:lnSpc>
              <a:defRPr sz="1300">
                <a:solidFill>
                  <a:schemeClr val="tx2"/>
                </a:solidFill>
              </a:defRPr>
            </a:lvl3pPr>
            <a:lvl4pPr>
              <a:lnSpc>
                <a:spcPct val="130000"/>
              </a:lnSpc>
              <a:defRPr sz="1300">
                <a:solidFill>
                  <a:schemeClr val="tx2"/>
                </a:solidFill>
              </a:defRPr>
            </a:lvl4pPr>
            <a:lvl5pPr marL="1828800" indent="0">
              <a:lnSpc>
                <a:spcPct val="130000"/>
              </a:lnSpc>
              <a:buNone/>
              <a:defRPr sz="1300">
                <a:solidFill>
                  <a:schemeClr val="tx2"/>
                </a:solidFill>
              </a:defRPr>
            </a:lvl5pPr>
          </a:lstStyle>
          <a:p>
            <a:pPr lvl="0"/>
            <a:endParaRPr lang="pt-BR"/>
          </a:p>
        </p:txBody>
      </p:sp>
      <p:sp>
        <p:nvSpPr>
          <p:cNvPr id="50" name="Espaço Reservado para Texto 45">
            <a:extLst>
              <a:ext uri="{FF2B5EF4-FFF2-40B4-BE49-F238E27FC236}">
                <a16:creationId xmlns:a16="http://schemas.microsoft.com/office/drawing/2014/main" id="{90EFF4E9-FB08-5C1A-9AE1-FC5E00F8336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230813" y="2579309"/>
            <a:ext cx="2744787" cy="625475"/>
          </a:xfrm>
        </p:spPr>
        <p:txBody>
          <a:bodyPr>
            <a:noAutofit/>
          </a:bodyPr>
          <a:lstStyle>
            <a:lvl1pPr>
              <a:lnSpc>
                <a:spcPct val="130000"/>
              </a:lnSpc>
              <a:defRPr sz="1400" b="0">
                <a:solidFill>
                  <a:schemeClr val="bg2"/>
                </a:solidFill>
              </a:defRPr>
            </a:lvl1pPr>
            <a:lvl2pPr>
              <a:lnSpc>
                <a:spcPct val="130000"/>
              </a:lnSpc>
              <a:defRPr sz="1300">
                <a:solidFill>
                  <a:schemeClr val="tx2"/>
                </a:solidFill>
              </a:defRPr>
            </a:lvl2pPr>
            <a:lvl3pPr>
              <a:lnSpc>
                <a:spcPct val="130000"/>
              </a:lnSpc>
              <a:defRPr sz="1300">
                <a:solidFill>
                  <a:schemeClr val="tx2"/>
                </a:solidFill>
              </a:defRPr>
            </a:lvl3pPr>
            <a:lvl4pPr>
              <a:lnSpc>
                <a:spcPct val="130000"/>
              </a:lnSpc>
              <a:defRPr sz="1300">
                <a:solidFill>
                  <a:schemeClr val="tx2"/>
                </a:solidFill>
              </a:defRPr>
            </a:lvl4pPr>
            <a:lvl5pPr marL="1828800" indent="0">
              <a:lnSpc>
                <a:spcPct val="130000"/>
              </a:lnSpc>
              <a:buNone/>
              <a:defRPr sz="1300">
                <a:solidFill>
                  <a:schemeClr val="tx2"/>
                </a:solidFill>
              </a:defRPr>
            </a:lvl5pPr>
          </a:lstStyle>
          <a:p>
            <a:pPr lvl="0"/>
            <a:endParaRPr lang="pt-BR"/>
          </a:p>
        </p:txBody>
      </p:sp>
      <p:sp>
        <p:nvSpPr>
          <p:cNvPr id="56" name="Espaço Reservado para Texto 45">
            <a:extLst>
              <a:ext uri="{FF2B5EF4-FFF2-40B4-BE49-F238E27FC236}">
                <a16:creationId xmlns:a16="http://schemas.microsoft.com/office/drawing/2014/main" id="{69EED1E0-BCD6-F969-095D-CB3F4281C4CC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5230813" y="4500843"/>
            <a:ext cx="2744787" cy="625475"/>
          </a:xfrm>
        </p:spPr>
        <p:txBody>
          <a:bodyPr>
            <a:noAutofit/>
          </a:bodyPr>
          <a:lstStyle>
            <a:lvl1pPr>
              <a:lnSpc>
                <a:spcPct val="130000"/>
              </a:lnSpc>
              <a:defRPr sz="1400" b="0">
                <a:solidFill>
                  <a:schemeClr val="bg2"/>
                </a:solidFill>
              </a:defRPr>
            </a:lvl1pPr>
            <a:lvl2pPr>
              <a:lnSpc>
                <a:spcPct val="130000"/>
              </a:lnSpc>
              <a:defRPr sz="1300">
                <a:solidFill>
                  <a:schemeClr val="tx2"/>
                </a:solidFill>
              </a:defRPr>
            </a:lvl2pPr>
            <a:lvl3pPr>
              <a:lnSpc>
                <a:spcPct val="130000"/>
              </a:lnSpc>
              <a:defRPr sz="1300">
                <a:solidFill>
                  <a:schemeClr val="tx2"/>
                </a:solidFill>
              </a:defRPr>
            </a:lvl3pPr>
            <a:lvl4pPr>
              <a:lnSpc>
                <a:spcPct val="130000"/>
              </a:lnSpc>
              <a:defRPr sz="1300">
                <a:solidFill>
                  <a:schemeClr val="tx2"/>
                </a:solidFill>
              </a:defRPr>
            </a:lvl4pPr>
            <a:lvl5pPr marL="1828800" indent="0">
              <a:lnSpc>
                <a:spcPct val="130000"/>
              </a:lnSpc>
              <a:buNone/>
              <a:defRPr sz="1300">
                <a:solidFill>
                  <a:schemeClr val="tx2"/>
                </a:solidFill>
              </a:defRPr>
            </a:lvl5pPr>
          </a:lstStyle>
          <a:p>
            <a:pPr lvl="0"/>
            <a:endParaRPr lang="pt-BR"/>
          </a:p>
        </p:txBody>
      </p:sp>
      <p:sp>
        <p:nvSpPr>
          <p:cNvPr id="57" name="Espaço Reservado para Texto 45">
            <a:extLst>
              <a:ext uri="{FF2B5EF4-FFF2-40B4-BE49-F238E27FC236}">
                <a16:creationId xmlns:a16="http://schemas.microsoft.com/office/drawing/2014/main" id="{FC661200-4B00-8BE8-EBFB-A1ADFE405EB1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5230813" y="3533705"/>
            <a:ext cx="2744787" cy="625475"/>
          </a:xfrm>
        </p:spPr>
        <p:txBody>
          <a:bodyPr>
            <a:noAutofit/>
          </a:bodyPr>
          <a:lstStyle>
            <a:lvl1pPr>
              <a:lnSpc>
                <a:spcPct val="130000"/>
              </a:lnSpc>
              <a:defRPr sz="1400" b="0">
                <a:solidFill>
                  <a:schemeClr val="bg2"/>
                </a:solidFill>
              </a:defRPr>
            </a:lvl1pPr>
            <a:lvl2pPr>
              <a:lnSpc>
                <a:spcPct val="130000"/>
              </a:lnSpc>
              <a:defRPr sz="1300">
                <a:solidFill>
                  <a:schemeClr val="tx2"/>
                </a:solidFill>
              </a:defRPr>
            </a:lvl2pPr>
            <a:lvl3pPr>
              <a:lnSpc>
                <a:spcPct val="130000"/>
              </a:lnSpc>
              <a:defRPr sz="1300">
                <a:solidFill>
                  <a:schemeClr val="tx2"/>
                </a:solidFill>
              </a:defRPr>
            </a:lvl3pPr>
            <a:lvl4pPr>
              <a:lnSpc>
                <a:spcPct val="130000"/>
              </a:lnSpc>
              <a:defRPr sz="1300">
                <a:solidFill>
                  <a:schemeClr val="tx2"/>
                </a:solidFill>
              </a:defRPr>
            </a:lvl4pPr>
            <a:lvl5pPr marL="1828800" indent="0">
              <a:lnSpc>
                <a:spcPct val="130000"/>
              </a:lnSpc>
              <a:buNone/>
              <a:defRPr sz="1300">
                <a:solidFill>
                  <a:schemeClr val="tx2"/>
                </a:solidFill>
              </a:defRPr>
            </a:lvl5pPr>
          </a:lstStyle>
          <a:p>
            <a:pPr lvl="0"/>
            <a:endParaRPr lang="pt-BR"/>
          </a:p>
        </p:txBody>
      </p:sp>
      <p:sp>
        <p:nvSpPr>
          <p:cNvPr id="58" name="Espaço Reservado para Texto 45">
            <a:extLst>
              <a:ext uri="{FF2B5EF4-FFF2-40B4-BE49-F238E27FC236}">
                <a16:creationId xmlns:a16="http://schemas.microsoft.com/office/drawing/2014/main" id="{345D7696-2F1D-1E51-5609-E3C0EBA299DC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8756650" y="1607419"/>
            <a:ext cx="2516187" cy="625475"/>
          </a:xfrm>
        </p:spPr>
        <p:txBody>
          <a:bodyPr>
            <a:noAutofit/>
          </a:bodyPr>
          <a:lstStyle>
            <a:lvl1pPr>
              <a:lnSpc>
                <a:spcPct val="130000"/>
              </a:lnSpc>
              <a:defRPr sz="1400" b="0">
                <a:solidFill>
                  <a:schemeClr val="bg2"/>
                </a:solidFill>
              </a:defRPr>
            </a:lvl1pPr>
            <a:lvl2pPr>
              <a:lnSpc>
                <a:spcPct val="130000"/>
              </a:lnSpc>
              <a:defRPr sz="1300">
                <a:solidFill>
                  <a:schemeClr val="tx2"/>
                </a:solidFill>
              </a:defRPr>
            </a:lvl2pPr>
            <a:lvl3pPr>
              <a:lnSpc>
                <a:spcPct val="130000"/>
              </a:lnSpc>
              <a:defRPr sz="1300">
                <a:solidFill>
                  <a:schemeClr val="tx2"/>
                </a:solidFill>
              </a:defRPr>
            </a:lvl3pPr>
            <a:lvl4pPr>
              <a:lnSpc>
                <a:spcPct val="130000"/>
              </a:lnSpc>
              <a:defRPr sz="1300">
                <a:solidFill>
                  <a:schemeClr val="tx2"/>
                </a:solidFill>
              </a:defRPr>
            </a:lvl4pPr>
            <a:lvl5pPr marL="1828800" indent="0">
              <a:lnSpc>
                <a:spcPct val="130000"/>
              </a:lnSpc>
              <a:buNone/>
              <a:defRPr sz="1300">
                <a:solidFill>
                  <a:schemeClr val="tx2"/>
                </a:solidFill>
              </a:defRPr>
            </a:lvl5pPr>
          </a:lstStyle>
          <a:p>
            <a:pPr lvl="0"/>
            <a:endParaRPr lang="pt-BR"/>
          </a:p>
        </p:txBody>
      </p:sp>
      <p:sp>
        <p:nvSpPr>
          <p:cNvPr id="59" name="Espaço Reservado para Texto 45">
            <a:extLst>
              <a:ext uri="{FF2B5EF4-FFF2-40B4-BE49-F238E27FC236}">
                <a16:creationId xmlns:a16="http://schemas.microsoft.com/office/drawing/2014/main" id="{22E326E2-1473-4ABD-2CF9-3D37955704CC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8756650" y="2579309"/>
            <a:ext cx="2516187" cy="625475"/>
          </a:xfrm>
        </p:spPr>
        <p:txBody>
          <a:bodyPr>
            <a:noAutofit/>
          </a:bodyPr>
          <a:lstStyle>
            <a:lvl1pPr>
              <a:lnSpc>
                <a:spcPct val="130000"/>
              </a:lnSpc>
              <a:defRPr sz="1400" b="0">
                <a:solidFill>
                  <a:schemeClr val="bg2"/>
                </a:solidFill>
              </a:defRPr>
            </a:lvl1pPr>
            <a:lvl2pPr>
              <a:lnSpc>
                <a:spcPct val="130000"/>
              </a:lnSpc>
              <a:defRPr sz="1300">
                <a:solidFill>
                  <a:schemeClr val="tx2"/>
                </a:solidFill>
              </a:defRPr>
            </a:lvl2pPr>
            <a:lvl3pPr>
              <a:lnSpc>
                <a:spcPct val="130000"/>
              </a:lnSpc>
              <a:defRPr sz="1300">
                <a:solidFill>
                  <a:schemeClr val="tx2"/>
                </a:solidFill>
              </a:defRPr>
            </a:lvl3pPr>
            <a:lvl4pPr>
              <a:lnSpc>
                <a:spcPct val="130000"/>
              </a:lnSpc>
              <a:defRPr sz="1300">
                <a:solidFill>
                  <a:schemeClr val="tx2"/>
                </a:solidFill>
              </a:defRPr>
            </a:lvl4pPr>
            <a:lvl5pPr marL="1828800" indent="0">
              <a:lnSpc>
                <a:spcPct val="130000"/>
              </a:lnSpc>
              <a:buNone/>
              <a:defRPr sz="1300">
                <a:solidFill>
                  <a:schemeClr val="tx2"/>
                </a:solidFill>
              </a:defRPr>
            </a:lvl5pPr>
          </a:lstStyle>
          <a:p>
            <a:pPr lvl="0"/>
            <a:endParaRPr lang="pt-BR"/>
          </a:p>
        </p:txBody>
      </p:sp>
      <p:sp>
        <p:nvSpPr>
          <p:cNvPr id="60" name="Espaço Reservado para Texto 45">
            <a:extLst>
              <a:ext uri="{FF2B5EF4-FFF2-40B4-BE49-F238E27FC236}">
                <a16:creationId xmlns:a16="http://schemas.microsoft.com/office/drawing/2014/main" id="{5A6A8A0A-A9DC-57C3-F49B-D204B25F3ED9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8756650" y="4500843"/>
            <a:ext cx="2516187" cy="625475"/>
          </a:xfrm>
        </p:spPr>
        <p:txBody>
          <a:bodyPr>
            <a:noAutofit/>
          </a:bodyPr>
          <a:lstStyle>
            <a:lvl1pPr>
              <a:lnSpc>
                <a:spcPct val="130000"/>
              </a:lnSpc>
              <a:defRPr sz="1400" b="0">
                <a:solidFill>
                  <a:schemeClr val="bg2"/>
                </a:solidFill>
              </a:defRPr>
            </a:lvl1pPr>
            <a:lvl2pPr>
              <a:lnSpc>
                <a:spcPct val="130000"/>
              </a:lnSpc>
              <a:defRPr sz="1300">
                <a:solidFill>
                  <a:schemeClr val="tx2"/>
                </a:solidFill>
              </a:defRPr>
            </a:lvl2pPr>
            <a:lvl3pPr>
              <a:lnSpc>
                <a:spcPct val="130000"/>
              </a:lnSpc>
              <a:defRPr sz="1300">
                <a:solidFill>
                  <a:schemeClr val="tx2"/>
                </a:solidFill>
              </a:defRPr>
            </a:lvl3pPr>
            <a:lvl4pPr>
              <a:lnSpc>
                <a:spcPct val="130000"/>
              </a:lnSpc>
              <a:defRPr sz="1300">
                <a:solidFill>
                  <a:schemeClr val="tx2"/>
                </a:solidFill>
              </a:defRPr>
            </a:lvl4pPr>
            <a:lvl5pPr marL="1828800" indent="0">
              <a:lnSpc>
                <a:spcPct val="130000"/>
              </a:lnSpc>
              <a:buNone/>
              <a:defRPr sz="1300">
                <a:solidFill>
                  <a:schemeClr val="tx2"/>
                </a:solidFill>
              </a:defRPr>
            </a:lvl5pPr>
          </a:lstStyle>
          <a:p>
            <a:pPr lvl="0"/>
            <a:endParaRPr lang="pt-BR"/>
          </a:p>
        </p:txBody>
      </p:sp>
      <p:sp>
        <p:nvSpPr>
          <p:cNvPr id="61" name="Espaço Reservado para Texto 45">
            <a:extLst>
              <a:ext uri="{FF2B5EF4-FFF2-40B4-BE49-F238E27FC236}">
                <a16:creationId xmlns:a16="http://schemas.microsoft.com/office/drawing/2014/main" id="{D3BE16D6-E390-D1BC-569E-B7C8A4BAC1EF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8756650" y="3533705"/>
            <a:ext cx="2516187" cy="625475"/>
          </a:xfrm>
        </p:spPr>
        <p:txBody>
          <a:bodyPr>
            <a:noAutofit/>
          </a:bodyPr>
          <a:lstStyle>
            <a:lvl1pPr>
              <a:lnSpc>
                <a:spcPct val="130000"/>
              </a:lnSpc>
              <a:defRPr sz="1400" b="0">
                <a:solidFill>
                  <a:schemeClr val="bg2"/>
                </a:solidFill>
              </a:defRPr>
            </a:lvl1pPr>
            <a:lvl2pPr>
              <a:lnSpc>
                <a:spcPct val="130000"/>
              </a:lnSpc>
              <a:defRPr sz="1300">
                <a:solidFill>
                  <a:schemeClr val="tx2"/>
                </a:solidFill>
              </a:defRPr>
            </a:lvl2pPr>
            <a:lvl3pPr>
              <a:lnSpc>
                <a:spcPct val="130000"/>
              </a:lnSpc>
              <a:defRPr sz="1300">
                <a:solidFill>
                  <a:schemeClr val="tx2"/>
                </a:solidFill>
              </a:defRPr>
            </a:lvl3pPr>
            <a:lvl4pPr>
              <a:lnSpc>
                <a:spcPct val="130000"/>
              </a:lnSpc>
              <a:defRPr sz="1300">
                <a:solidFill>
                  <a:schemeClr val="tx2"/>
                </a:solidFill>
              </a:defRPr>
            </a:lvl4pPr>
            <a:lvl5pPr marL="1828800" indent="0">
              <a:lnSpc>
                <a:spcPct val="130000"/>
              </a:lnSpc>
              <a:buNone/>
              <a:defRPr sz="1300">
                <a:solidFill>
                  <a:schemeClr val="tx2"/>
                </a:solidFill>
              </a:defRPr>
            </a:lvl5pPr>
          </a:lstStyle>
          <a:p>
            <a:pPr lvl="0"/>
            <a:endParaRPr lang="pt-BR"/>
          </a:p>
        </p:txBody>
      </p:sp>
      <p:sp>
        <p:nvSpPr>
          <p:cNvPr id="7" name="Espaço Reservado para Imagem 6">
            <a:extLst>
              <a:ext uri="{FF2B5EF4-FFF2-40B4-BE49-F238E27FC236}">
                <a16:creationId xmlns:a16="http://schemas.microsoft.com/office/drawing/2014/main" id="{9F790EC3-C462-56AD-2B08-F7FF72508A8C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4576763" y="1571153"/>
            <a:ext cx="654050" cy="65405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endParaRPr lang="pt-BR"/>
          </a:p>
        </p:txBody>
      </p:sp>
      <p:sp>
        <p:nvSpPr>
          <p:cNvPr id="9" name="Espaço Reservado para Imagem 6">
            <a:extLst>
              <a:ext uri="{FF2B5EF4-FFF2-40B4-BE49-F238E27FC236}">
                <a16:creationId xmlns:a16="http://schemas.microsoft.com/office/drawing/2014/main" id="{117F00D3-8A9D-BA5C-B4D6-56F53DABE081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4576763" y="4468922"/>
            <a:ext cx="654050" cy="654050"/>
          </a:xfrm>
          <a:prstGeom prst="ellipse">
            <a:avLst/>
          </a:prstGeom>
        </p:spPr>
        <p:txBody>
          <a:bodyPr/>
          <a:lstStyle/>
          <a:p>
            <a:endParaRPr lang="pt-BR"/>
          </a:p>
        </p:txBody>
      </p:sp>
      <p:sp>
        <p:nvSpPr>
          <p:cNvPr id="11" name="Espaço Reservado para Imagem 6">
            <a:extLst>
              <a:ext uri="{FF2B5EF4-FFF2-40B4-BE49-F238E27FC236}">
                <a16:creationId xmlns:a16="http://schemas.microsoft.com/office/drawing/2014/main" id="{C63AF8FD-7A31-97C0-140D-F6C27992E08A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4576763" y="3507444"/>
            <a:ext cx="654050" cy="654050"/>
          </a:xfrm>
          <a:prstGeom prst="ellipse">
            <a:avLst/>
          </a:prstGeom>
        </p:spPr>
        <p:txBody>
          <a:bodyPr/>
          <a:lstStyle/>
          <a:p>
            <a:endParaRPr lang="pt-BR"/>
          </a:p>
        </p:txBody>
      </p:sp>
      <p:sp>
        <p:nvSpPr>
          <p:cNvPr id="13" name="Espaço Reservado para Imagem 6">
            <a:extLst>
              <a:ext uri="{FF2B5EF4-FFF2-40B4-BE49-F238E27FC236}">
                <a16:creationId xmlns:a16="http://schemas.microsoft.com/office/drawing/2014/main" id="{F1E03703-2380-F3EB-4FA7-CE7A98BD8A46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4576763" y="2545093"/>
            <a:ext cx="654050" cy="654050"/>
          </a:xfrm>
          <a:prstGeom prst="ellipse">
            <a:avLst/>
          </a:prstGeom>
        </p:spPr>
        <p:txBody>
          <a:bodyPr/>
          <a:lstStyle/>
          <a:p>
            <a:endParaRPr lang="pt-BR"/>
          </a:p>
        </p:txBody>
      </p:sp>
      <p:sp>
        <p:nvSpPr>
          <p:cNvPr id="18" name="Espaço Reservado para Imagem 6">
            <a:extLst>
              <a:ext uri="{FF2B5EF4-FFF2-40B4-BE49-F238E27FC236}">
                <a16:creationId xmlns:a16="http://schemas.microsoft.com/office/drawing/2014/main" id="{F2561D0A-B2DA-2E1A-6F9F-4F820557716D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8102600" y="1571153"/>
            <a:ext cx="654050" cy="654050"/>
          </a:xfrm>
          <a:prstGeom prst="ellipse">
            <a:avLst/>
          </a:prstGeom>
        </p:spPr>
        <p:txBody>
          <a:bodyPr/>
          <a:lstStyle/>
          <a:p>
            <a:endParaRPr lang="pt-BR"/>
          </a:p>
        </p:txBody>
      </p:sp>
      <p:sp>
        <p:nvSpPr>
          <p:cNvPr id="19" name="Espaço Reservado para Imagem 6">
            <a:extLst>
              <a:ext uri="{FF2B5EF4-FFF2-40B4-BE49-F238E27FC236}">
                <a16:creationId xmlns:a16="http://schemas.microsoft.com/office/drawing/2014/main" id="{5FF9A836-CC47-5A5F-1F9F-77925A1F4580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8102600" y="4468922"/>
            <a:ext cx="654050" cy="654050"/>
          </a:xfrm>
          <a:prstGeom prst="ellipse">
            <a:avLst/>
          </a:prstGeom>
        </p:spPr>
        <p:txBody>
          <a:bodyPr/>
          <a:lstStyle/>
          <a:p>
            <a:endParaRPr lang="pt-BR"/>
          </a:p>
        </p:txBody>
      </p:sp>
      <p:sp>
        <p:nvSpPr>
          <p:cNvPr id="20" name="Espaço Reservado para Imagem 6">
            <a:extLst>
              <a:ext uri="{FF2B5EF4-FFF2-40B4-BE49-F238E27FC236}">
                <a16:creationId xmlns:a16="http://schemas.microsoft.com/office/drawing/2014/main" id="{6B2CA7E3-B922-EC4D-43CF-64B5C722AF49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8102600" y="3507444"/>
            <a:ext cx="654050" cy="654050"/>
          </a:xfrm>
          <a:prstGeom prst="ellipse">
            <a:avLst/>
          </a:prstGeom>
        </p:spPr>
        <p:txBody>
          <a:bodyPr/>
          <a:lstStyle/>
          <a:p>
            <a:endParaRPr lang="pt-BR"/>
          </a:p>
        </p:txBody>
      </p:sp>
      <p:sp>
        <p:nvSpPr>
          <p:cNvPr id="21" name="Espaço Reservado para Imagem 6">
            <a:extLst>
              <a:ext uri="{FF2B5EF4-FFF2-40B4-BE49-F238E27FC236}">
                <a16:creationId xmlns:a16="http://schemas.microsoft.com/office/drawing/2014/main" id="{59009F60-9F6B-1234-55D4-BBD6C8FA18BA}"/>
              </a:ext>
            </a:extLst>
          </p:cNvPr>
          <p:cNvSpPr>
            <a:spLocks noGrp="1"/>
          </p:cNvSpPr>
          <p:nvPr>
            <p:ph type="pic" sz="quarter" idx="39"/>
          </p:nvPr>
        </p:nvSpPr>
        <p:spPr>
          <a:xfrm>
            <a:off x="8102600" y="2545093"/>
            <a:ext cx="654050" cy="654050"/>
          </a:xfrm>
          <a:prstGeom prst="ellipse">
            <a:avLst/>
          </a:prstGeom>
        </p:spPr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744726627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35668664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CE8555A5-CA9C-44C0-D421-B213BA42057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299623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3" imgW="532" imgH="530" progId="TCLayout.ActiveDocument.1">
                  <p:embed/>
                </p:oleObj>
              </mc:Choice>
              <mc:Fallback>
                <p:oleObj name="Slide do think-cell" r:id="rId3" imgW="532" imgH="530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E8555A5-CA9C-44C0-D421-B213BA4205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1" y="1663560"/>
            <a:ext cx="9144000" cy="1846403"/>
          </a:xfrm>
        </p:spPr>
        <p:txBody>
          <a:bodyPr vert="horz" anchor="b"/>
          <a:lstStyle>
            <a:lvl1pPr algn="ctr" rtl="0">
              <a:defRPr sz="5999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1" y="3602039"/>
            <a:ext cx="9144000" cy="369332"/>
          </a:xfrm>
        </p:spPr>
        <p:txBody>
          <a:bodyPr/>
          <a:lstStyle>
            <a:lvl1pPr marL="0" indent="0" algn="ctr" rtl="0">
              <a:buNone/>
              <a:defRPr sz="2400"/>
            </a:lvl1pPr>
            <a:lvl2pPr marL="457108" indent="0" algn="ctr">
              <a:buNone/>
              <a:defRPr sz="2000"/>
            </a:lvl2pPr>
            <a:lvl3pPr marL="914214" indent="0" algn="ctr">
              <a:buNone/>
              <a:defRPr sz="1800"/>
            </a:lvl3pPr>
            <a:lvl4pPr marL="1371322" indent="0" algn="ctr">
              <a:buNone/>
              <a:defRPr sz="1600"/>
            </a:lvl4pPr>
            <a:lvl5pPr marL="1828429" indent="0" algn="ctr">
              <a:buNone/>
              <a:defRPr sz="1600"/>
            </a:lvl5pPr>
            <a:lvl6pPr marL="2285536" indent="0" algn="ctr">
              <a:buNone/>
              <a:defRPr sz="1600"/>
            </a:lvl6pPr>
            <a:lvl7pPr marL="2742643" indent="0" algn="ctr">
              <a:buNone/>
              <a:defRPr sz="1600"/>
            </a:lvl7pPr>
            <a:lvl8pPr marL="3199751" indent="0" algn="ctr">
              <a:buNone/>
              <a:defRPr sz="1600"/>
            </a:lvl8pPr>
            <a:lvl9pPr marL="3656858" indent="0" algn="ctr">
              <a:buNone/>
              <a:defRPr sz="1600"/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C47DBC13-1C4E-4C0D-A7E5-1B3DFF9BDB77}" type="datetimeFigureOut">
              <a:rPr lang="pt-BR" smtClean="0"/>
              <a:pPr/>
              <a:t>16/01/2026</a:t>
            </a:fld>
            <a:endParaRPr lang="pt-B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pt-B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975CA566-0B28-4957-BC96-83CEC6D5E960}" type="slidenum">
              <a:rPr lang="pt-BR" smtClean="0"/>
              <a:pPr/>
              <a:t>‹nº›</a:t>
            </a:fld>
            <a:endParaRPr lang="pt-BR"/>
          </a:p>
        </p:txBody>
      </p:sp>
      <p:pic>
        <p:nvPicPr>
          <p:cNvPr id="7" name="Imagem 6" descr="Forma&#10;&#10;Descrição gerada automaticamente com confiança média">
            <a:extLst>
              <a:ext uri="{FF2B5EF4-FFF2-40B4-BE49-F238E27FC236}">
                <a16:creationId xmlns:a16="http://schemas.microsoft.com/office/drawing/2014/main" id="{6C42CBA3-3FF3-3B97-6246-534609936BA6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64425" y="0"/>
            <a:ext cx="12364833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3732945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7D29E531-7017-455B-9C64-E00A163309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951704-927B-4A22-8579-F84376718AE5}" type="slidenum">
              <a:rPr lang="pt-BR" smtClean="0"/>
              <a:t>‹nº›</a:t>
            </a:fld>
            <a:endParaRPr lang="pt-BR"/>
          </a:p>
        </p:txBody>
      </p:sp>
      <p:sp>
        <p:nvSpPr>
          <p:cNvPr id="5" name="Título 1">
            <a:extLst>
              <a:ext uri="{FF2B5EF4-FFF2-40B4-BE49-F238E27FC236}">
                <a16:creationId xmlns:a16="http://schemas.microsoft.com/office/drawing/2014/main" id="{87CAF1C9-139D-4B51-B566-CD1D5C14F67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687321" y="351897"/>
            <a:ext cx="9144000" cy="621770"/>
          </a:xfrm>
          <a:prstGeom prst="rect">
            <a:avLst/>
          </a:prstGeom>
        </p:spPr>
        <p:txBody>
          <a:bodyPr anchor="t"/>
          <a:lstStyle>
            <a:lvl1pPr algn="r">
              <a:defRPr sz="2800"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2" name="Marcador de pie de página 1">
            <a:extLst>
              <a:ext uri="{FF2B5EF4-FFF2-40B4-BE49-F238E27FC236}">
                <a16:creationId xmlns:a16="http://schemas.microsoft.com/office/drawing/2014/main" id="{A87F4EAB-A51A-4A28-BF4C-B68106B505F1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15985763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+Tabe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5586580-0C6D-43CF-AD2C-25ADE4B5388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687321" y="351897"/>
            <a:ext cx="9144000" cy="621770"/>
          </a:xfrm>
          <a:prstGeom prst="rect">
            <a:avLst/>
          </a:prstGeom>
        </p:spPr>
        <p:txBody>
          <a:bodyPr anchor="t"/>
          <a:lstStyle>
            <a:lvl1pPr algn="r">
              <a:defRPr sz="2800">
                <a:solidFill>
                  <a:schemeClr val="accent3">
                    <a:lumMod val="75000"/>
                  </a:schemeClr>
                </a:solidFill>
                <a:latin typeface="+mj-lt"/>
                <a:cs typeface="Calibri" panose="020F0502020204030204" pitchFamily="34" charset="0"/>
              </a:defRPr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4AE4E1D4-AB1A-48D1-9A59-F20EE335B9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168742" y="6444615"/>
            <a:ext cx="772886" cy="318134"/>
          </a:xfrm>
          <a:prstGeom prst="rect">
            <a:avLst/>
          </a:prstGeom>
        </p:spPr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99951704-927B-4A22-8579-F84376718AE5}" type="slidenum">
              <a:rPr lang="pt-BR" smtClean="0"/>
              <a:pPr/>
              <a:t>‹nº›</a:t>
            </a:fld>
            <a:endParaRPr lang="pt-BR"/>
          </a:p>
        </p:txBody>
      </p:sp>
      <p:sp>
        <p:nvSpPr>
          <p:cNvPr id="13" name="Espaço Reservado para Texto 2">
            <a:extLst>
              <a:ext uri="{FF2B5EF4-FFF2-40B4-BE49-F238E27FC236}">
                <a16:creationId xmlns:a16="http://schemas.microsoft.com/office/drawing/2014/main" id="{B66346A9-9466-407E-A0B6-D5718A5A7DD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60363" y="1701800"/>
            <a:ext cx="4525963" cy="4346575"/>
          </a:xfrm>
          <a:prstGeom prst="rect">
            <a:avLst/>
          </a:prstGeom>
        </p:spPr>
        <p:txBody>
          <a:bodyPr anchor="t"/>
          <a:lstStyle>
            <a:lvl1pPr marL="0" indent="0" algn="just">
              <a:buNone/>
              <a:defRPr sz="1600">
                <a:solidFill>
                  <a:srgbClr val="7F7F7F"/>
                </a:solidFill>
                <a:latin typeface="+mn-lt"/>
                <a:cs typeface="Calibri" panose="020F0502020204030204" pitchFamily="34" charset="0"/>
              </a:defRPr>
            </a:lvl1pPr>
            <a:lvl2pPr marL="457086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172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25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3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42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51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6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9" name="Espaço Reservado para Texto 2">
            <a:extLst>
              <a:ext uri="{FF2B5EF4-FFF2-40B4-BE49-F238E27FC236}">
                <a16:creationId xmlns:a16="http://schemas.microsoft.com/office/drawing/2014/main" id="{84216B22-24C4-4F2C-BD2F-46A234CB2D68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360362" y="1168240"/>
            <a:ext cx="11470959" cy="415026"/>
          </a:xfrm>
          <a:prstGeom prst="rect">
            <a:avLst/>
          </a:prstGeom>
        </p:spPr>
        <p:txBody>
          <a:bodyPr anchor="t"/>
          <a:lstStyle>
            <a:lvl1pPr marL="0" indent="0" algn="l">
              <a:buNone/>
              <a:defRPr sz="2400">
                <a:solidFill>
                  <a:schemeClr val="accent2"/>
                </a:solidFill>
                <a:latin typeface="+mj-lt"/>
                <a:cs typeface="Calibri" panose="020F0502020204030204" pitchFamily="34" charset="0"/>
              </a:defRPr>
            </a:lvl1pPr>
            <a:lvl2pPr marL="457086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172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25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3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42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51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6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Clique para editar o texto</a:t>
            </a:r>
          </a:p>
        </p:txBody>
      </p:sp>
      <p:sp>
        <p:nvSpPr>
          <p:cNvPr id="4" name="Espaço Reservado para Tabela 3">
            <a:extLst>
              <a:ext uri="{FF2B5EF4-FFF2-40B4-BE49-F238E27FC236}">
                <a16:creationId xmlns:a16="http://schemas.microsoft.com/office/drawing/2014/main" id="{47C59625-73A2-486F-A6CE-FC9D84F1135D}"/>
              </a:ext>
            </a:extLst>
          </p:cNvPr>
          <p:cNvSpPr>
            <a:spLocks noGrp="1"/>
          </p:cNvSpPr>
          <p:nvPr>
            <p:ph type="tbl" sz="quarter" idx="15"/>
          </p:nvPr>
        </p:nvSpPr>
        <p:spPr>
          <a:xfrm>
            <a:off x="5124451" y="2313677"/>
            <a:ext cx="6706871" cy="334433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endParaRPr lang="pt-BR"/>
          </a:p>
        </p:txBody>
      </p:sp>
      <p:sp>
        <p:nvSpPr>
          <p:cNvPr id="3" name="Marcador de pie de página 2">
            <a:extLst>
              <a:ext uri="{FF2B5EF4-FFF2-40B4-BE49-F238E27FC236}">
                <a16:creationId xmlns:a16="http://schemas.microsoft.com/office/drawing/2014/main" id="{E27F2044-D146-4E7F-A726-CAE4551C5D1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250372" y="6421121"/>
            <a:ext cx="41148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2185613089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+3Gráfic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5586580-0C6D-43CF-AD2C-25ADE4B5388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687321" y="351897"/>
            <a:ext cx="9144000" cy="621770"/>
          </a:xfrm>
          <a:prstGeom prst="rect">
            <a:avLst/>
          </a:prstGeom>
        </p:spPr>
        <p:txBody>
          <a:bodyPr anchor="t"/>
          <a:lstStyle>
            <a:lvl1pPr algn="r">
              <a:defRPr sz="2800"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4AE4E1D4-AB1A-48D1-9A59-F20EE335B9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168742" y="6444615"/>
            <a:ext cx="772886" cy="318134"/>
          </a:xfrm>
          <a:prstGeom prst="rect">
            <a:avLst/>
          </a:prstGeom>
        </p:spPr>
        <p:txBody>
          <a:bodyPr/>
          <a:lstStyle/>
          <a:p>
            <a:fld id="{99951704-927B-4A22-8579-F84376718AE5}" type="slidenum">
              <a:rPr lang="pt-BR" smtClean="0"/>
              <a:t>‹nº›</a:t>
            </a:fld>
            <a:endParaRPr lang="pt-BR"/>
          </a:p>
        </p:txBody>
      </p:sp>
      <p:sp>
        <p:nvSpPr>
          <p:cNvPr id="9" name="Espaço Reservado para Texto 2">
            <a:extLst>
              <a:ext uri="{FF2B5EF4-FFF2-40B4-BE49-F238E27FC236}">
                <a16:creationId xmlns:a16="http://schemas.microsoft.com/office/drawing/2014/main" id="{84216B22-24C4-4F2C-BD2F-46A234CB2D68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361951" y="1168240"/>
            <a:ext cx="11469371" cy="415026"/>
          </a:xfrm>
          <a:prstGeom prst="rect">
            <a:avLst/>
          </a:prstGeom>
        </p:spPr>
        <p:txBody>
          <a:bodyPr anchor="t"/>
          <a:lstStyle>
            <a:lvl1pPr marL="0" indent="0" algn="l">
              <a:buNone/>
              <a:defRPr sz="2400">
                <a:solidFill>
                  <a:schemeClr val="accent2"/>
                </a:solidFill>
                <a:latin typeface="+mj-lt"/>
              </a:defRPr>
            </a:lvl1pPr>
            <a:lvl2pPr marL="457086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172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25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3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42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51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6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Clique para editar o texto</a:t>
            </a:r>
          </a:p>
        </p:txBody>
      </p:sp>
      <p:sp>
        <p:nvSpPr>
          <p:cNvPr id="14" name="Espaço Reservado para Texto 2">
            <a:extLst>
              <a:ext uri="{FF2B5EF4-FFF2-40B4-BE49-F238E27FC236}">
                <a16:creationId xmlns:a16="http://schemas.microsoft.com/office/drawing/2014/main" id="{62509E98-4BD6-4A16-B0BF-F4B4E2476614}"/>
              </a:ext>
            </a:extLst>
          </p:cNvPr>
          <p:cNvSpPr>
            <a:spLocks noGrp="1"/>
          </p:cNvSpPr>
          <p:nvPr>
            <p:ph type="body" idx="16"/>
          </p:nvPr>
        </p:nvSpPr>
        <p:spPr>
          <a:xfrm>
            <a:off x="361951" y="5999641"/>
            <a:ext cx="11469371" cy="270771"/>
          </a:xfrm>
          <a:prstGeom prst="rect">
            <a:avLst/>
          </a:prstGeom>
        </p:spPr>
        <p:txBody>
          <a:bodyPr anchor="t"/>
          <a:lstStyle>
            <a:lvl1pPr marL="0" indent="0" algn="just">
              <a:buNone/>
              <a:defRPr sz="1000">
                <a:solidFill>
                  <a:srgbClr val="7F7F7F"/>
                </a:solidFill>
              </a:defRPr>
            </a:lvl1pPr>
            <a:lvl2pPr marL="457086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172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25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3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42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51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6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7" name="Espaço Reservado para Gráfico 6">
            <a:extLst>
              <a:ext uri="{FF2B5EF4-FFF2-40B4-BE49-F238E27FC236}">
                <a16:creationId xmlns:a16="http://schemas.microsoft.com/office/drawing/2014/main" id="{AF81EC95-7FE1-4430-9F79-3BBD52635D90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361950" y="2761989"/>
            <a:ext cx="3543300" cy="31028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</a:lstStyle>
          <a:p>
            <a:endParaRPr lang="pt-BR"/>
          </a:p>
        </p:txBody>
      </p:sp>
      <p:sp>
        <p:nvSpPr>
          <p:cNvPr id="15" name="Espaço Reservado para Gráfico 6">
            <a:extLst>
              <a:ext uri="{FF2B5EF4-FFF2-40B4-BE49-F238E27FC236}">
                <a16:creationId xmlns:a16="http://schemas.microsoft.com/office/drawing/2014/main" id="{96782689-F0DD-45AC-83D4-A3B3D71D6991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4324351" y="2761989"/>
            <a:ext cx="3543300" cy="31028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</a:lstStyle>
          <a:p>
            <a:endParaRPr lang="pt-BR"/>
          </a:p>
        </p:txBody>
      </p:sp>
      <p:sp>
        <p:nvSpPr>
          <p:cNvPr id="16" name="Espaço Reservado para Gráfico 6">
            <a:extLst>
              <a:ext uri="{FF2B5EF4-FFF2-40B4-BE49-F238E27FC236}">
                <a16:creationId xmlns:a16="http://schemas.microsoft.com/office/drawing/2014/main" id="{9C47BF1B-F307-4381-8A26-465B43977E4C}"/>
              </a:ext>
            </a:extLst>
          </p:cNvPr>
          <p:cNvSpPr>
            <a:spLocks noGrp="1"/>
          </p:cNvSpPr>
          <p:nvPr>
            <p:ph type="chart" sz="quarter" idx="19"/>
          </p:nvPr>
        </p:nvSpPr>
        <p:spPr>
          <a:xfrm>
            <a:off x="8286750" y="2761989"/>
            <a:ext cx="3543300" cy="31028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</a:lstStyle>
          <a:p>
            <a:endParaRPr lang="pt-BR"/>
          </a:p>
        </p:txBody>
      </p:sp>
      <p:sp>
        <p:nvSpPr>
          <p:cNvPr id="17" name="Espaço Reservado para Texto 2">
            <a:extLst>
              <a:ext uri="{FF2B5EF4-FFF2-40B4-BE49-F238E27FC236}">
                <a16:creationId xmlns:a16="http://schemas.microsoft.com/office/drawing/2014/main" id="{E83232B9-1B44-4B96-8921-9D54279E0E7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61951" y="1701801"/>
            <a:ext cx="11468100" cy="925353"/>
          </a:xfrm>
          <a:prstGeom prst="rect">
            <a:avLst/>
          </a:prstGeom>
        </p:spPr>
        <p:txBody>
          <a:bodyPr anchor="t"/>
          <a:lstStyle>
            <a:lvl1pPr marL="0" indent="0" algn="just">
              <a:buNone/>
              <a:defRPr sz="1600">
                <a:solidFill>
                  <a:srgbClr val="7F7F7F"/>
                </a:solidFill>
              </a:defRPr>
            </a:lvl1pPr>
            <a:lvl2pPr marL="457086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172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25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3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42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51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6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3" name="Marcador de pie de página 2">
            <a:extLst>
              <a:ext uri="{FF2B5EF4-FFF2-40B4-BE49-F238E27FC236}">
                <a16:creationId xmlns:a16="http://schemas.microsoft.com/office/drawing/2014/main" id="{4C008CA8-BC72-4734-879F-0EA5E93E7B89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>
          <a:xfrm>
            <a:off x="250372" y="6421121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3448202537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+4Gráfic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ítulo 1">
            <a:extLst>
              <a:ext uri="{FF2B5EF4-FFF2-40B4-BE49-F238E27FC236}">
                <a16:creationId xmlns:a16="http://schemas.microsoft.com/office/drawing/2014/main" id="{1DCCD3BB-FA21-4B11-AFF6-61AE1D27188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687321" y="351897"/>
            <a:ext cx="9144000" cy="621770"/>
          </a:xfrm>
          <a:prstGeom prst="rect">
            <a:avLst/>
          </a:prstGeom>
        </p:spPr>
        <p:txBody>
          <a:bodyPr anchor="t"/>
          <a:lstStyle>
            <a:lvl1pPr algn="r">
              <a:defRPr sz="2800"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13" name="Espaço Reservado para Número de Slide 5">
            <a:extLst>
              <a:ext uri="{FF2B5EF4-FFF2-40B4-BE49-F238E27FC236}">
                <a16:creationId xmlns:a16="http://schemas.microsoft.com/office/drawing/2014/main" id="{41A2E64A-F015-4BFE-B829-B117F1B2EA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58435" y="6405246"/>
            <a:ext cx="772886" cy="318134"/>
          </a:xfrm>
          <a:prstGeom prst="rect">
            <a:avLst/>
          </a:prstGeom>
        </p:spPr>
        <p:txBody>
          <a:bodyPr/>
          <a:lstStyle/>
          <a:p>
            <a:fld id="{99951704-927B-4A22-8579-F84376718AE5}" type="slidenum">
              <a:rPr lang="pt-BR" smtClean="0"/>
              <a:t>‹nº›</a:t>
            </a:fld>
            <a:endParaRPr lang="pt-BR"/>
          </a:p>
        </p:txBody>
      </p:sp>
      <p:sp>
        <p:nvSpPr>
          <p:cNvPr id="18" name="Espaço Reservado para Texto 2">
            <a:extLst>
              <a:ext uri="{FF2B5EF4-FFF2-40B4-BE49-F238E27FC236}">
                <a16:creationId xmlns:a16="http://schemas.microsoft.com/office/drawing/2014/main" id="{02E7469A-30CE-4E01-B02B-947687B9A64F}"/>
              </a:ext>
            </a:extLst>
          </p:cNvPr>
          <p:cNvSpPr>
            <a:spLocks noGrp="1"/>
          </p:cNvSpPr>
          <p:nvPr>
            <p:ph type="body" idx="16"/>
          </p:nvPr>
        </p:nvSpPr>
        <p:spPr>
          <a:xfrm>
            <a:off x="361951" y="5999641"/>
            <a:ext cx="11469371" cy="270771"/>
          </a:xfrm>
          <a:prstGeom prst="rect">
            <a:avLst/>
          </a:prstGeom>
        </p:spPr>
        <p:txBody>
          <a:bodyPr anchor="t"/>
          <a:lstStyle>
            <a:lvl1pPr marL="0" indent="0" algn="just">
              <a:buNone/>
              <a:defRPr sz="1000">
                <a:solidFill>
                  <a:srgbClr val="7F7F7F"/>
                </a:solidFill>
              </a:defRPr>
            </a:lvl1pPr>
            <a:lvl2pPr marL="457086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172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25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3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42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51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6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19" name="Espaço Reservado para Gráfico 6">
            <a:extLst>
              <a:ext uri="{FF2B5EF4-FFF2-40B4-BE49-F238E27FC236}">
                <a16:creationId xmlns:a16="http://schemas.microsoft.com/office/drawing/2014/main" id="{C66E46EE-0D83-44ED-AD76-7AC85B5349D2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361949" y="1167979"/>
            <a:ext cx="5495925" cy="226102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</a:lstStyle>
          <a:p>
            <a:endParaRPr lang="pt-BR"/>
          </a:p>
        </p:txBody>
      </p:sp>
      <p:sp>
        <p:nvSpPr>
          <p:cNvPr id="20" name="Espaço Reservado para Gráfico 6">
            <a:extLst>
              <a:ext uri="{FF2B5EF4-FFF2-40B4-BE49-F238E27FC236}">
                <a16:creationId xmlns:a16="http://schemas.microsoft.com/office/drawing/2014/main" id="{8B1B5F17-98BE-4E46-A6F1-7B9AF35DFEBD}"/>
              </a:ext>
            </a:extLst>
          </p:cNvPr>
          <p:cNvSpPr>
            <a:spLocks noGrp="1"/>
          </p:cNvSpPr>
          <p:nvPr>
            <p:ph type="chart" sz="quarter" idx="19"/>
          </p:nvPr>
        </p:nvSpPr>
        <p:spPr>
          <a:xfrm>
            <a:off x="361949" y="3603783"/>
            <a:ext cx="5495925" cy="226102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</a:lstStyle>
          <a:p>
            <a:endParaRPr lang="pt-BR"/>
          </a:p>
        </p:txBody>
      </p:sp>
      <p:sp>
        <p:nvSpPr>
          <p:cNvPr id="21" name="Espaço Reservado para Gráfico 6">
            <a:extLst>
              <a:ext uri="{FF2B5EF4-FFF2-40B4-BE49-F238E27FC236}">
                <a16:creationId xmlns:a16="http://schemas.microsoft.com/office/drawing/2014/main" id="{F67E19CF-55C8-45D1-A613-AB78744994C5}"/>
              </a:ext>
            </a:extLst>
          </p:cNvPr>
          <p:cNvSpPr>
            <a:spLocks noGrp="1"/>
          </p:cNvSpPr>
          <p:nvPr>
            <p:ph type="chart" sz="quarter" idx="20"/>
          </p:nvPr>
        </p:nvSpPr>
        <p:spPr>
          <a:xfrm>
            <a:off x="6334127" y="1167979"/>
            <a:ext cx="5495925" cy="226102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</a:lstStyle>
          <a:p>
            <a:endParaRPr lang="pt-BR"/>
          </a:p>
        </p:txBody>
      </p:sp>
      <p:sp>
        <p:nvSpPr>
          <p:cNvPr id="22" name="Espaço Reservado para Gráfico 6">
            <a:extLst>
              <a:ext uri="{FF2B5EF4-FFF2-40B4-BE49-F238E27FC236}">
                <a16:creationId xmlns:a16="http://schemas.microsoft.com/office/drawing/2014/main" id="{76DEC8A3-A4DC-4812-829E-727A1CF09493}"/>
              </a:ext>
            </a:extLst>
          </p:cNvPr>
          <p:cNvSpPr>
            <a:spLocks noGrp="1"/>
          </p:cNvSpPr>
          <p:nvPr>
            <p:ph type="chart" sz="quarter" idx="21"/>
          </p:nvPr>
        </p:nvSpPr>
        <p:spPr>
          <a:xfrm>
            <a:off x="6334127" y="3603783"/>
            <a:ext cx="5495925" cy="226102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</a:lstStyle>
          <a:p>
            <a:endParaRPr lang="pt-BR"/>
          </a:p>
        </p:txBody>
      </p:sp>
      <p:sp>
        <p:nvSpPr>
          <p:cNvPr id="2" name="Marcador de pie de página 1">
            <a:extLst>
              <a:ext uri="{FF2B5EF4-FFF2-40B4-BE49-F238E27FC236}">
                <a16:creationId xmlns:a16="http://schemas.microsoft.com/office/drawing/2014/main" id="{6AFBEF74-A782-43D6-B196-F820C89864C9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>
          <a:xfrm>
            <a:off x="250372" y="6421121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2610994640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o+Tabela-Inf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7D29E531-7017-455B-9C64-E00A163309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168742" y="6444615"/>
            <a:ext cx="772886" cy="318134"/>
          </a:xfrm>
          <a:prstGeom prst="rect">
            <a:avLst/>
          </a:prstGeom>
        </p:spPr>
        <p:txBody>
          <a:bodyPr/>
          <a:lstStyle/>
          <a:p>
            <a:fld id="{99951704-927B-4A22-8579-F84376718AE5}" type="slidenum">
              <a:rPr lang="pt-BR" smtClean="0"/>
              <a:t>‹nº›</a:t>
            </a:fld>
            <a:endParaRPr lang="pt-BR"/>
          </a:p>
        </p:txBody>
      </p:sp>
      <p:sp>
        <p:nvSpPr>
          <p:cNvPr id="5" name="Título 1">
            <a:extLst>
              <a:ext uri="{FF2B5EF4-FFF2-40B4-BE49-F238E27FC236}">
                <a16:creationId xmlns:a16="http://schemas.microsoft.com/office/drawing/2014/main" id="{87CAF1C9-139D-4B51-B566-CD1D5C14F67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687321" y="351897"/>
            <a:ext cx="9144000" cy="621770"/>
          </a:xfrm>
          <a:prstGeom prst="rect">
            <a:avLst/>
          </a:prstGeom>
        </p:spPr>
        <p:txBody>
          <a:bodyPr anchor="t"/>
          <a:lstStyle>
            <a:lvl1pPr algn="r">
              <a:defRPr sz="2800"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6" name="Espaço Reservado para Texto 2">
            <a:extLst>
              <a:ext uri="{FF2B5EF4-FFF2-40B4-BE49-F238E27FC236}">
                <a16:creationId xmlns:a16="http://schemas.microsoft.com/office/drawing/2014/main" id="{AB1CE02F-B209-4354-A85F-9BB2B791A1FD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361951" y="1168240"/>
            <a:ext cx="8240038" cy="415026"/>
          </a:xfrm>
          <a:prstGeom prst="rect">
            <a:avLst/>
          </a:prstGeom>
        </p:spPr>
        <p:txBody>
          <a:bodyPr anchor="t"/>
          <a:lstStyle>
            <a:lvl1pPr marL="0" indent="0" algn="l">
              <a:buNone/>
              <a:defRPr sz="2400">
                <a:solidFill>
                  <a:schemeClr val="accent2"/>
                </a:solidFill>
                <a:latin typeface="+mj-lt"/>
              </a:defRPr>
            </a:lvl1pPr>
            <a:lvl2pPr marL="457086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172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25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3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42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51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6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Clique para editar o texto</a:t>
            </a:r>
          </a:p>
        </p:txBody>
      </p:sp>
      <p:sp>
        <p:nvSpPr>
          <p:cNvPr id="7" name="Espaço Reservado para Texto 2">
            <a:extLst>
              <a:ext uri="{FF2B5EF4-FFF2-40B4-BE49-F238E27FC236}">
                <a16:creationId xmlns:a16="http://schemas.microsoft.com/office/drawing/2014/main" id="{039BEF46-F433-4C5A-B28B-CE5234E33DF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61951" y="5360460"/>
            <a:ext cx="8239125" cy="897863"/>
          </a:xfrm>
          <a:prstGeom prst="rect">
            <a:avLst/>
          </a:prstGeom>
        </p:spPr>
        <p:txBody>
          <a:bodyPr anchor="t"/>
          <a:lstStyle>
            <a:lvl1pPr marL="0" indent="0" algn="just">
              <a:buNone/>
              <a:defRPr sz="1600">
                <a:solidFill>
                  <a:srgbClr val="7F7F7F"/>
                </a:solidFill>
              </a:defRPr>
            </a:lvl1pPr>
            <a:lvl2pPr marL="457086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172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25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3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42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51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6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8" name="Espaço Reservado para Tabela 7">
            <a:extLst>
              <a:ext uri="{FF2B5EF4-FFF2-40B4-BE49-F238E27FC236}">
                <a16:creationId xmlns:a16="http://schemas.microsoft.com/office/drawing/2014/main" id="{D9F9EDB0-2819-41D8-B9FE-331C05818477}"/>
              </a:ext>
            </a:extLst>
          </p:cNvPr>
          <p:cNvSpPr>
            <a:spLocks noGrp="1"/>
          </p:cNvSpPr>
          <p:nvPr>
            <p:ph type="tbl" sz="quarter" idx="15"/>
          </p:nvPr>
        </p:nvSpPr>
        <p:spPr>
          <a:xfrm>
            <a:off x="361951" y="1685926"/>
            <a:ext cx="8239125" cy="35718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</a:lstStyle>
          <a:p>
            <a:endParaRPr lang="pt-BR"/>
          </a:p>
        </p:txBody>
      </p:sp>
      <p:sp>
        <p:nvSpPr>
          <p:cNvPr id="9" name="Espaço Reservado para Rodapé 4">
            <a:extLst>
              <a:ext uri="{FF2B5EF4-FFF2-40B4-BE49-F238E27FC236}">
                <a16:creationId xmlns:a16="http://schemas.microsoft.com/office/drawing/2014/main" id="{46027ECD-5CB1-4DE1-8A74-7CF7A9400E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78860" y="6414770"/>
            <a:ext cx="948267" cy="309880"/>
          </a:xfrm>
          <a:prstGeom prst="rect">
            <a:avLst/>
          </a:prstGeom>
        </p:spPr>
        <p:txBody>
          <a:bodyPr anchor="ctr"/>
          <a:lstStyle>
            <a:lvl1pPr algn="r">
              <a:defRPr sz="1000" b="1">
                <a:solidFill>
                  <a:schemeClr val="accent3"/>
                </a:solidFill>
              </a:defRPr>
            </a:lvl1pPr>
          </a:lstStyle>
          <a:p>
            <a:endParaRPr lang="pt-BR"/>
          </a:p>
        </p:txBody>
      </p:sp>
      <p:sp>
        <p:nvSpPr>
          <p:cNvPr id="3" name="Espaço Reservado para Imagem 2">
            <a:extLst>
              <a:ext uri="{FF2B5EF4-FFF2-40B4-BE49-F238E27FC236}">
                <a16:creationId xmlns:a16="http://schemas.microsoft.com/office/drawing/2014/main" id="{38F00A95-1D14-4306-97B4-D74DE7A1AA5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753476" y="1168401"/>
            <a:ext cx="3076575" cy="16033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/>
            </a:lvl1pPr>
          </a:lstStyle>
          <a:p>
            <a:endParaRPr lang="pt-BR"/>
          </a:p>
        </p:txBody>
      </p:sp>
      <p:sp>
        <p:nvSpPr>
          <p:cNvPr id="10" name="Espaço Reservado para Imagem 2">
            <a:extLst>
              <a:ext uri="{FF2B5EF4-FFF2-40B4-BE49-F238E27FC236}">
                <a16:creationId xmlns:a16="http://schemas.microsoft.com/office/drawing/2014/main" id="{C370A8EA-789E-4600-8390-1668ED0363EB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753476" y="2925074"/>
            <a:ext cx="3076575" cy="16033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/>
            </a:lvl1pPr>
          </a:lstStyle>
          <a:p>
            <a:endParaRPr lang="pt-BR"/>
          </a:p>
        </p:txBody>
      </p:sp>
      <p:sp>
        <p:nvSpPr>
          <p:cNvPr id="11" name="Espaço Reservado para Imagem 2">
            <a:extLst>
              <a:ext uri="{FF2B5EF4-FFF2-40B4-BE49-F238E27FC236}">
                <a16:creationId xmlns:a16="http://schemas.microsoft.com/office/drawing/2014/main" id="{017F1FD6-1424-4941-AE88-B1D62046E8A7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53476" y="4654948"/>
            <a:ext cx="3076575" cy="16033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/>
            </a:lvl1pPr>
          </a:lstStyle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22578547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ço Reservado para Texto 6">
            <a:extLst>
              <a:ext uri="{FF2B5EF4-FFF2-40B4-BE49-F238E27FC236}">
                <a16:creationId xmlns:a16="http://schemas.microsoft.com/office/drawing/2014/main" id="{D6F85BE3-183D-1F4D-9986-5566BC05916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429125" y="602332"/>
            <a:ext cx="6832600" cy="447675"/>
          </a:xfrm>
        </p:spPr>
        <p:txBody>
          <a:bodyPr lIns="126000">
            <a:normAutofit/>
          </a:bodyPr>
          <a:lstStyle>
            <a:lvl1pPr>
              <a:lnSpc>
                <a:spcPct val="100000"/>
              </a:lnSpc>
              <a:defRPr sz="1100" b="0" cap="all" spc="100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endParaRPr lang="pt-BR"/>
          </a:p>
        </p:txBody>
      </p:sp>
      <p:sp>
        <p:nvSpPr>
          <p:cNvPr id="8" name="Título 7">
            <a:extLst>
              <a:ext uri="{FF2B5EF4-FFF2-40B4-BE49-F238E27FC236}">
                <a16:creationId xmlns:a16="http://schemas.microsoft.com/office/drawing/2014/main" id="{850B399A-346B-51E3-1A92-253CADB724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45000" y="865524"/>
            <a:ext cx="6832600" cy="447676"/>
          </a:xfrm>
        </p:spPr>
        <p:txBody>
          <a:bodyPr anchor="t">
            <a:noAutofit/>
          </a:bodyPr>
          <a:lstStyle>
            <a:lvl1pPr>
              <a:defRPr sz="3600" b="1" spc="-100" baseline="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10" name="Espaço Reservado para Texto 9">
            <a:extLst>
              <a:ext uri="{FF2B5EF4-FFF2-40B4-BE49-F238E27FC236}">
                <a16:creationId xmlns:a16="http://schemas.microsoft.com/office/drawing/2014/main" id="{A4BD41B5-820C-FB18-CD31-121F93FBE6B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445000" y="2090738"/>
            <a:ext cx="6832600" cy="4132846"/>
          </a:xfrm>
        </p:spPr>
        <p:txBody>
          <a:bodyPr>
            <a:noAutofit/>
          </a:bodyPr>
          <a:lstStyle>
            <a:lvl1pPr marL="0" indent="0">
              <a:lnSpc>
                <a:spcPct val="110000"/>
              </a:lnSpc>
              <a:spcBef>
                <a:spcPts val="2000"/>
              </a:spcBef>
              <a:spcAft>
                <a:spcPts val="500"/>
              </a:spcAft>
              <a:buFont typeface="Arial" panose="020B0604020202020204" pitchFamily="34" charset="0"/>
              <a:buNone/>
              <a:defRPr sz="1600" b="1" u="none">
                <a:solidFill>
                  <a:schemeClr val="accent2"/>
                </a:solidFill>
              </a:defRPr>
            </a:lvl1pPr>
            <a:lvl2pPr marL="0" indent="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None/>
              <a:defRPr sz="1400"/>
            </a:lvl2pPr>
            <a:lvl3pPr marL="792000" indent="-288000">
              <a:lnSpc>
                <a:spcPct val="110000"/>
              </a:lnSpc>
              <a:spcBef>
                <a:spcPts val="500"/>
              </a:spcBef>
              <a:spcAft>
                <a:spcPts val="0"/>
              </a:spcAft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400">
                <a:solidFill>
                  <a:schemeClr val="tx2"/>
                </a:solidFill>
              </a:defRPr>
            </a:lvl3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endParaRPr lang="pt-BR"/>
          </a:p>
        </p:txBody>
      </p:sp>
      <p:pic>
        <p:nvPicPr>
          <p:cNvPr id="3" name="Gráfico 2">
            <a:extLst>
              <a:ext uri="{FF2B5EF4-FFF2-40B4-BE49-F238E27FC236}">
                <a16:creationId xmlns:a16="http://schemas.microsoft.com/office/drawing/2014/main" id="{35E7C3AD-E15C-80F2-4FED-5155F41E38C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-1092580" y="650458"/>
            <a:ext cx="4716432" cy="5541795"/>
          </a:xfrm>
          <a:prstGeom prst="rect">
            <a:avLst/>
          </a:prstGeom>
        </p:spPr>
      </p:pic>
      <p:pic>
        <p:nvPicPr>
          <p:cNvPr id="4" name="Gráfico 3">
            <a:extLst>
              <a:ext uri="{FF2B5EF4-FFF2-40B4-BE49-F238E27FC236}">
                <a16:creationId xmlns:a16="http://schemas.microsoft.com/office/drawing/2014/main" id="{4EBD6769-77D4-163B-AC96-F0F1CB1F703E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828972" y="-1239748"/>
            <a:ext cx="2726056" cy="2726056"/>
          </a:xfrm>
          <a:prstGeom prst="rect">
            <a:avLst/>
          </a:prstGeom>
        </p:spPr>
      </p:pic>
      <p:pic>
        <p:nvPicPr>
          <p:cNvPr id="5" name="Gráfico 4">
            <a:extLst>
              <a:ext uri="{FF2B5EF4-FFF2-40B4-BE49-F238E27FC236}">
                <a16:creationId xmlns:a16="http://schemas.microsoft.com/office/drawing/2014/main" id="{D64BC587-E1BC-D84B-13E1-280D52F92BC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680864" y="6346864"/>
            <a:ext cx="1022272" cy="10222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472068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n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tângulo 6">
            <a:extLst>
              <a:ext uri="{FF2B5EF4-FFF2-40B4-BE49-F238E27FC236}">
                <a16:creationId xmlns:a16="http://schemas.microsoft.com/office/drawing/2014/main" id="{85132E8A-12A0-405B-9358-78F5E6FF1926}"/>
              </a:ext>
            </a:extLst>
          </p:cNvPr>
          <p:cNvSpPr/>
          <p:nvPr userDrawn="1"/>
        </p:nvSpPr>
        <p:spPr>
          <a:xfrm>
            <a:off x="0" y="1"/>
            <a:ext cx="12192000" cy="68579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pt-BR" sz="3599"/>
          </a:p>
        </p:txBody>
      </p:sp>
      <p:pic>
        <p:nvPicPr>
          <p:cNvPr id="8" name="Gráfico 7">
            <a:extLst>
              <a:ext uri="{FF2B5EF4-FFF2-40B4-BE49-F238E27FC236}">
                <a16:creationId xmlns:a16="http://schemas.microsoft.com/office/drawing/2014/main" id="{4E81C9B4-7A70-4354-87CB-34B038FD265D}"/>
              </a:ext>
            </a:extLst>
          </p:cNvPr>
          <p:cNvPicPr/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b="52125"/>
          <a:stretch>
            <a:fillRect/>
          </a:stretch>
        </p:blipFill>
        <p:spPr>
          <a:xfrm rot="11465643">
            <a:off x="10156430" y="-193021"/>
            <a:ext cx="1670532" cy="3456767"/>
          </a:xfrm>
          <a:custGeom>
            <a:avLst/>
            <a:gdLst>
              <a:gd name="connsiteX0" fmla="*/ 1670532 w 1670532"/>
              <a:gd name="connsiteY0" fmla="*/ 3129202 h 3456767"/>
              <a:gd name="connsiteX1" fmla="*/ 0 w 1670532"/>
              <a:gd name="connsiteY1" fmla="*/ 3456767 h 3456767"/>
              <a:gd name="connsiteX2" fmla="*/ 0 w 1670532"/>
              <a:gd name="connsiteY2" fmla="*/ 0 h 3456767"/>
              <a:gd name="connsiteX3" fmla="*/ 1670532 w 1670532"/>
              <a:gd name="connsiteY3" fmla="*/ 0 h 34567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670532" h="3456767">
                <a:moveTo>
                  <a:pt x="1670532" y="3129202"/>
                </a:moveTo>
                <a:lnTo>
                  <a:pt x="0" y="3456767"/>
                </a:lnTo>
                <a:lnTo>
                  <a:pt x="0" y="0"/>
                </a:lnTo>
                <a:lnTo>
                  <a:pt x="1670532" y="0"/>
                </a:lnTo>
                <a:close/>
              </a:path>
            </a:pathLst>
          </a:custGeom>
        </p:spPr>
      </p:pic>
      <p:pic>
        <p:nvPicPr>
          <p:cNvPr id="9" name="Gráfico 276">
            <a:extLst>
              <a:ext uri="{FF2B5EF4-FFF2-40B4-BE49-F238E27FC236}">
                <a16:creationId xmlns:a16="http://schemas.microsoft.com/office/drawing/2014/main" id="{4C94F872-6ACE-40EF-8D8B-A47A9C33ABFC}"/>
              </a:ext>
            </a:extLst>
          </p:cNvPr>
          <p:cNvPicPr/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764269" y="2277546"/>
            <a:ext cx="2999105" cy="1759842"/>
          </a:xfrm>
          <a:prstGeom prst="rect">
            <a:avLst/>
          </a:prstGeom>
        </p:spPr>
      </p:pic>
      <p:pic>
        <p:nvPicPr>
          <p:cNvPr id="10" name="Gráfico 275">
            <a:extLst>
              <a:ext uri="{FF2B5EF4-FFF2-40B4-BE49-F238E27FC236}">
                <a16:creationId xmlns:a16="http://schemas.microsoft.com/office/drawing/2014/main" id="{97E863F8-B987-4F2D-9AC5-F0B78F68C525}"/>
              </a:ext>
            </a:extLst>
          </p:cNvPr>
          <p:cNvPicPr/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16200000">
            <a:off x="6150036" y="818030"/>
            <a:ext cx="1915463" cy="10168468"/>
          </a:xfrm>
          <a:prstGeom prst="rect">
            <a:avLst/>
          </a:prstGeom>
        </p:spPr>
      </p:pic>
      <p:sp>
        <p:nvSpPr>
          <p:cNvPr id="13" name="Retângulo 12">
            <a:extLst>
              <a:ext uri="{FF2B5EF4-FFF2-40B4-BE49-F238E27FC236}">
                <a16:creationId xmlns:a16="http://schemas.microsoft.com/office/drawing/2014/main" id="{30E247F3-918F-42E7-93B3-3BD141EB1FF3}"/>
              </a:ext>
            </a:extLst>
          </p:cNvPr>
          <p:cNvSpPr/>
          <p:nvPr userDrawn="1"/>
        </p:nvSpPr>
        <p:spPr>
          <a:xfrm>
            <a:off x="-600" y="1"/>
            <a:ext cx="12193200" cy="7175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pt-BR" sz="3599"/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0F1E7FB4-FF53-4331-B85A-28B64DB8D61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28627" y="3021685"/>
            <a:ext cx="5345359" cy="1762125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2800">
                <a:solidFill>
                  <a:schemeClr val="accent3">
                    <a:lumMod val="75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pt-BR"/>
              <a:t>Clique para editar os estilos de texto Mestres</a:t>
            </a:r>
          </a:p>
        </p:txBody>
      </p:sp>
    </p:spTree>
    <p:extLst>
      <p:ext uri="{BB962C8B-B14F-4D97-AF65-F5344CB8AC3E}">
        <p14:creationId xmlns:p14="http://schemas.microsoft.com/office/powerpoint/2010/main" val="2890914688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Fin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tângulo 6">
            <a:extLst>
              <a:ext uri="{FF2B5EF4-FFF2-40B4-BE49-F238E27FC236}">
                <a16:creationId xmlns:a16="http://schemas.microsoft.com/office/drawing/2014/main" id="{85132E8A-12A0-405B-9358-78F5E6FF1926}"/>
              </a:ext>
            </a:extLst>
          </p:cNvPr>
          <p:cNvSpPr/>
          <p:nvPr userDrawn="1"/>
        </p:nvSpPr>
        <p:spPr>
          <a:xfrm>
            <a:off x="0" y="1"/>
            <a:ext cx="12192000" cy="6857999"/>
          </a:xfrm>
          <a:prstGeom prst="rect">
            <a:avLst/>
          </a:prstGeom>
          <a:solidFill>
            <a:srgbClr val="3C478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pt-BR" sz="3599"/>
          </a:p>
        </p:txBody>
      </p:sp>
      <p:pic>
        <p:nvPicPr>
          <p:cNvPr id="8" name="Gráfico 7">
            <a:extLst>
              <a:ext uri="{FF2B5EF4-FFF2-40B4-BE49-F238E27FC236}">
                <a16:creationId xmlns:a16="http://schemas.microsoft.com/office/drawing/2014/main" id="{4E81C9B4-7A70-4354-87CB-34B038FD265D}"/>
              </a:ext>
            </a:extLst>
          </p:cNvPr>
          <p:cNvPicPr/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b="52125"/>
          <a:stretch>
            <a:fillRect/>
          </a:stretch>
        </p:blipFill>
        <p:spPr>
          <a:xfrm rot="11465643">
            <a:off x="10728079" y="-269222"/>
            <a:ext cx="1670532" cy="3456767"/>
          </a:xfrm>
          <a:custGeom>
            <a:avLst/>
            <a:gdLst>
              <a:gd name="connsiteX0" fmla="*/ 1670532 w 1670532"/>
              <a:gd name="connsiteY0" fmla="*/ 3129202 h 3456767"/>
              <a:gd name="connsiteX1" fmla="*/ 0 w 1670532"/>
              <a:gd name="connsiteY1" fmla="*/ 3456767 h 3456767"/>
              <a:gd name="connsiteX2" fmla="*/ 0 w 1670532"/>
              <a:gd name="connsiteY2" fmla="*/ 0 h 3456767"/>
              <a:gd name="connsiteX3" fmla="*/ 1670532 w 1670532"/>
              <a:gd name="connsiteY3" fmla="*/ 0 h 34567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670532" h="3456767">
                <a:moveTo>
                  <a:pt x="1670532" y="3129202"/>
                </a:moveTo>
                <a:lnTo>
                  <a:pt x="0" y="3456767"/>
                </a:lnTo>
                <a:lnTo>
                  <a:pt x="0" y="0"/>
                </a:lnTo>
                <a:lnTo>
                  <a:pt x="1670532" y="0"/>
                </a:lnTo>
                <a:close/>
              </a:path>
            </a:pathLst>
          </a:custGeom>
        </p:spPr>
      </p:pic>
      <p:pic>
        <p:nvPicPr>
          <p:cNvPr id="9" name="Gráfico 276">
            <a:extLst>
              <a:ext uri="{FF2B5EF4-FFF2-40B4-BE49-F238E27FC236}">
                <a16:creationId xmlns:a16="http://schemas.microsoft.com/office/drawing/2014/main" id="{4C94F872-6ACE-40EF-8D8B-A47A9C33ABFC}"/>
              </a:ext>
            </a:extLst>
          </p:cNvPr>
          <p:cNvPicPr/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764269" y="2277546"/>
            <a:ext cx="2999105" cy="1759842"/>
          </a:xfrm>
          <a:prstGeom prst="rect">
            <a:avLst/>
          </a:prstGeom>
        </p:spPr>
      </p:pic>
      <p:pic>
        <p:nvPicPr>
          <p:cNvPr id="10" name="Gráfico 275">
            <a:extLst>
              <a:ext uri="{FF2B5EF4-FFF2-40B4-BE49-F238E27FC236}">
                <a16:creationId xmlns:a16="http://schemas.microsoft.com/office/drawing/2014/main" id="{97E863F8-B987-4F2D-9AC5-F0B78F68C525}"/>
              </a:ext>
            </a:extLst>
          </p:cNvPr>
          <p:cNvPicPr/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 rot="16200000">
            <a:off x="6483498" y="816034"/>
            <a:ext cx="1915463" cy="10168468"/>
          </a:xfrm>
          <a:prstGeom prst="rect">
            <a:avLst/>
          </a:prstGeom>
        </p:spPr>
      </p:pic>
      <p:sp>
        <p:nvSpPr>
          <p:cNvPr id="11" name="Espaço Reservado para Texto 2">
            <a:extLst>
              <a:ext uri="{FF2B5EF4-FFF2-40B4-BE49-F238E27FC236}">
                <a16:creationId xmlns:a16="http://schemas.microsoft.com/office/drawing/2014/main" id="{12F6AD0A-6457-4EE9-9B2B-EB7B1BB9ED6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28627" y="3021685"/>
            <a:ext cx="5345359" cy="1762125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 sz="1800">
                <a:solidFill>
                  <a:schemeClr val="bg1"/>
                </a:solidFill>
                <a:latin typeface="Benton Sans Book"/>
              </a:defRPr>
            </a:lvl1pPr>
          </a:lstStyle>
          <a:p>
            <a:pPr lvl="0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586071720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Fin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tângulo 6">
            <a:extLst>
              <a:ext uri="{FF2B5EF4-FFF2-40B4-BE49-F238E27FC236}">
                <a16:creationId xmlns:a16="http://schemas.microsoft.com/office/drawing/2014/main" id="{85132E8A-12A0-405B-9358-78F5E6FF1926}"/>
              </a:ext>
            </a:extLst>
          </p:cNvPr>
          <p:cNvSpPr/>
          <p:nvPr userDrawn="1"/>
        </p:nvSpPr>
        <p:spPr>
          <a:xfrm>
            <a:off x="0" y="1"/>
            <a:ext cx="12192000" cy="6857999"/>
          </a:xfrm>
          <a:prstGeom prst="rect">
            <a:avLst/>
          </a:prstGeom>
          <a:solidFill>
            <a:srgbClr val="3C478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pt-BR" sz="3599"/>
          </a:p>
        </p:txBody>
      </p:sp>
      <p:pic>
        <p:nvPicPr>
          <p:cNvPr id="8" name="Gráfico 7">
            <a:extLst>
              <a:ext uri="{FF2B5EF4-FFF2-40B4-BE49-F238E27FC236}">
                <a16:creationId xmlns:a16="http://schemas.microsoft.com/office/drawing/2014/main" id="{4E81C9B4-7A70-4354-87CB-34B038FD265D}"/>
              </a:ext>
            </a:extLst>
          </p:cNvPr>
          <p:cNvPicPr/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b="52125"/>
          <a:stretch>
            <a:fillRect/>
          </a:stretch>
        </p:blipFill>
        <p:spPr>
          <a:xfrm rot="11465643">
            <a:off x="10728079" y="-269222"/>
            <a:ext cx="1670532" cy="3456767"/>
          </a:xfrm>
          <a:custGeom>
            <a:avLst/>
            <a:gdLst>
              <a:gd name="connsiteX0" fmla="*/ 1670532 w 1670532"/>
              <a:gd name="connsiteY0" fmla="*/ 3129202 h 3456767"/>
              <a:gd name="connsiteX1" fmla="*/ 0 w 1670532"/>
              <a:gd name="connsiteY1" fmla="*/ 3456767 h 3456767"/>
              <a:gd name="connsiteX2" fmla="*/ 0 w 1670532"/>
              <a:gd name="connsiteY2" fmla="*/ 0 h 3456767"/>
              <a:gd name="connsiteX3" fmla="*/ 1670532 w 1670532"/>
              <a:gd name="connsiteY3" fmla="*/ 0 h 34567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670532" h="3456767">
                <a:moveTo>
                  <a:pt x="1670532" y="3129202"/>
                </a:moveTo>
                <a:lnTo>
                  <a:pt x="0" y="3456767"/>
                </a:lnTo>
                <a:lnTo>
                  <a:pt x="0" y="0"/>
                </a:lnTo>
                <a:lnTo>
                  <a:pt x="1670532" y="0"/>
                </a:lnTo>
                <a:close/>
              </a:path>
            </a:pathLst>
          </a:custGeom>
        </p:spPr>
      </p:pic>
      <p:pic>
        <p:nvPicPr>
          <p:cNvPr id="10" name="Gráfico 275">
            <a:extLst>
              <a:ext uri="{FF2B5EF4-FFF2-40B4-BE49-F238E27FC236}">
                <a16:creationId xmlns:a16="http://schemas.microsoft.com/office/drawing/2014/main" id="{97E863F8-B987-4F2D-9AC5-F0B78F68C525}"/>
              </a:ext>
            </a:extLst>
          </p:cNvPr>
          <p:cNvPicPr/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16200000">
            <a:off x="5281182" y="-491085"/>
            <a:ext cx="1915463" cy="12782706"/>
          </a:xfrm>
          <a:prstGeom prst="rect">
            <a:avLst/>
          </a:prstGeom>
        </p:spPr>
      </p:pic>
      <p:sp>
        <p:nvSpPr>
          <p:cNvPr id="11" name="Espaço Reservado para Texto 2">
            <a:extLst>
              <a:ext uri="{FF2B5EF4-FFF2-40B4-BE49-F238E27FC236}">
                <a16:creationId xmlns:a16="http://schemas.microsoft.com/office/drawing/2014/main" id="{12F6AD0A-6457-4EE9-9B2B-EB7B1BB9ED6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28627" y="3021685"/>
            <a:ext cx="5345359" cy="1762125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 sz="1800">
                <a:solidFill>
                  <a:schemeClr val="bg1"/>
                </a:solidFill>
                <a:latin typeface="Benton Sans Book"/>
              </a:defRPr>
            </a:lvl1pPr>
          </a:lstStyle>
          <a:p>
            <a:pPr lvl="0"/>
            <a:endParaRPr lang="pt-BR"/>
          </a:p>
        </p:txBody>
      </p:sp>
      <p:pic>
        <p:nvPicPr>
          <p:cNvPr id="12" name="Picture 5">
            <a:extLst>
              <a:ext uri="{FF2B5EF4-FFF2-40B4-BE49-F238E27FC236}">
                <a16:creationId xmlns:a16="http://schemas.microsoft.com/office/drawing/2014/main" id="{A0B45A3B-F5C4-419D-A6CD-853207017885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28469" y="288972"/>
            <a:ext cx="1467411" cy="861061"/>
          </a:xfrm>
          <a:prstGeom prst="rect">
            <a:avLst/>
          </a:prstGeom>
        </p:spPr>
      </p:pic>
      <p:sp>
        <p:nvSpPr>
          <p:cNvPr id="9" name="Retângulo 8">
            <a:extLst>
              <a:ext uri="{FF2B5EF4-FFF2-40B4-BE49-F238E27FC236}">
                <a16:creationId xmlns:a16="http://schemas.microsoft.com/office/drawing/2014/main" id="{FB83016E-12A2-46D9-AAD4-7508AA6B95FD}"/>
              </a:ext>
            </a:extLst>
          </p:cNvPr>
          <p:cNvSpPr/>
          <p:nvPr userDrawn="1"/>
        </p:nvSpPr>
        <p:spPr>
          <a:xfrm>
            <a:off x="-600" y="1"/>
            <a:ext cx="12193200" cy="4695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pt-BR" sz="3599"/>
          </a:p>
        </p:txBody>
      </p:sp>
    </p:spTree>
    <p:extLst>
      <p:ext uri="{BB962C8B-B14F-4D97-AF65-F5344CB8AC3E}">
        <p14:creationId xmlns:p14="http://schemas.microsoft.com/office/powerpoint/2010/main" val="3529567882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in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tângulo 6">
            <a:extLst>
              <a:ext uri="{FF2B5EF4-FFF2-40B4-BE49-F238E27FC236}">
                <a16:creationId xmlns:a16="http://schemas.microsoft.com/office/drawing/2014/main" id="{85132E8A-12A0-405B-9358-78F5E6FF1926}"/>
              </a:ext>
            </a:extLst>
          </p:cNvPr>
          <p:cNvSpPr/>
          <p:nvPr userDrawn="1"/>
        </p:nvSpPr>
        <p:spPr>
          <a:xfrm>
            <a:off x="0" y="1"/>
            <a:ext cx="12192000" cy="68579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pt-BR" sz="3599"/>
          </a:p>
        </p:txBody>
      </p:sp>
      <p:pic>
        <p:nvPicPr>
          <p:cNvPr id="8" name="Gráfico 7">
            <a:extLst>
              <a:ext uri="{FF2B5EF4-FFF2-40B4-BE49-F238E27FC236}">
                <a16:creationId xmlns:a16="http://schemas.microsoft.com/office/drawing/2014/main" id="{4E81C9B4-7A70-4354-87CB-34B038FD265D}"/>
              </a:ext>
            </a:extLst>
          </p:cNvPr>
          <p:cNvPicPr/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b="52125"/>
          <a:stretch>
            <a:fillRect/>
          </a:stretch>
        </p:blipFill>
        <p:spPr>
          <a:xfrm rot="11465643">
            <a:off x="10156430" y="-193021"/>
            <a:ext cx="1670532" cy="3456767"/>
          </a:xfrm>
          <a:custGeom>
            <a:avLst/>
            <a:gdLst>
              <a:gd name="connsiteX0" fmla="*/ 1670532 w 1670532"/>
              <a:gd name="connsiteY0" fmla="*/ 3129202 h 3456767"/>
              <a:gd name="connsiteX1" fmla="*/ 0 w 1670532"/>
              <a:gd name="connsiteY1" fmla="*/ 3456767 h 3456767"/>
              <a:gd name="connsiteX2" fmla="*/ 0 w 1670532"/>
              <a:gd name="connsiteY2" fmla="*/ 0 h 3456767"/>
              <a:gd name="connsiteX3" fmla="*/ 1670532 w 1670532"/>
              <a:gd name="connsiteY3" fmla="*/ 0 h 34567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670532" h="3456767">
                <a:moveTo>
                  <a:pt x="1670532" y="3129202"/>
                </a:moveTo>
                <a:lnTo>
                  <a:pt x="0" y="3456767"/>
                </a:lnTo>
                <a:lnTo>
                  <a:pt x="0" y="0"/>
                </a:lnTo>
                <a:lnTo>
                  <a:pt x="1670532" y="0"/>
                </a:lnTo>
                <a:close/>
              </a:path>
            </a:pathLst>
          </a:custGeom>
        </p:spPr>
      </p:pic>
      <p:pic>
        <p:nvPicPr>
          <p:cNvPr id="9" name="Gráfico 276">
            <a:extLst>
              <a:ext uri="{FF2B5EF4-FFF2-40B4-BE49-F238E27FC236}">
                <a16:creationId xmlns:a16="http://schemas.microsoft.com/office/drawing/2014/main" id="{4C94F872-6ACE-40EF-8D8B-A47A9C33ABFC}"/>
              </a:ext>
            </a:extLst>
          </p:cNvPr>
          <p:cNvPicPr/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794766" y="199765"/>
            <a:ext cx="1196140" cy="701882"/>
          </a:xfrm>
          <a:prstGeom prst="rect">
            <a:avLst/>
          </a:prstGeom>
        </p:spPr>
      </p:pic>
      <p:pic>
        <p:nvPicPr>
          <p:cNvPr id="10" name="Gráfico 275">
            <a:extLst>
              <a:ext uri="{FF2B5EF4-FFF2-40B4-BE49-F238E27FC236}">
                <a16:creationId xmlns:a16="http://schemas.microsoft.com/office/drawing/2014/main" id="{97E863F8-B987-4F2D-9AC5-F0B78F68C525}"/>
              </a:ext>
            </a:extLst>
          </p:cNvPr>
          <p:cNvPicPr/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16200000">
            <a:off x="6150036" y="818030"/>
            <a:ext cx="1915463" cy="10168468"/>
          </a:xfrm>
          <a:prstGeom prst="rect">
            <a:avLst/>
          </a:prstGeom>
        </p:spPr>
      </p:pic>
      <p:sp>
        <p:nvSpPr>
          <p:cNvPr id="13" name="Retângulo 12">
            <a:extLst>
              <a:ext uri="{FF2B5EF4-FFF2-40B4-BE49-F238E27FC236}">
                <a16:creationId xmlns:a16="http://schemas.microsoft.com/office/drawing/2014/main" id="{30E247F3-918F-42E7-93B3-3BD141EB1FF3}"/>
              </a:ext>
            </a:extLst>
          </p:cNvPr>
          <p:cNvSpPr/>
          <p:nvPr userDrawn="1"/>
        </p:nvSpPr>
        <p:spPr>
          <a:xfrm>
            <a:off x="-600" y="1"/>
            <a:ext cx="12193200" cy="7175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pt-BR" sz="3599"/>
          </a:p>
        </p:txBody>
      </p:sp>
    </p:spTree>
    <p:extLst>
      <p:ext uri="{BB962C8B-B14F-4D97-AF65-F5344CB8AC3E}">
        <p14:creationId xmlns:p14="http://schemas.microsoft.com/office/powerpoint/2010/main" val="52389774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B401405-5E82-4529-9B27-92B31CD15C3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87135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3" imgW="395" imgH="394" progId="TCLayout.ActiveDocument.1">
                  <p:embed/>
                </p:oleObj>
              </mc:Choice>
              <mc:Fallback>
                <p:oleObj name="Slide do think-cell" r:id="rId3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B401405-5E82-4529-9B27-92B31CD15C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tângulo 1">
            <a:extLst>
              <a:ext uri="{FF2B5EF4-FFF2-40B4-BE49-F238E27FC236}">
                <a16:creationId xmlns:a16="http://schemas.microsoft.com/office/drawing/2014/main" id="{E34D2AD8-2621-4736-82D0-3C077BACE79D}"/>
              </a:ext>
            </a:extLst>
          </p:cNvPr>
          <p:cNvSpPr/>
          <p:nvPr userDrawn="1"/>
        </p:nvSpPr>
        <p:spPr>
          <a:xfrm>
            <a:off x="0" y="2"/>
            <a:ext cx="12192000" cy="68579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3598"/>
          </a:p>
        </p:txBody>
      </p:sp>
      <p:pic>
        <p:nvPicPr>
          <p:cNvPr id="10" name="Gráfico 9">
            <a:extLst>
              <a:ext uri="{FF2B5EF4-FFF2-40B4-BE49-F238E27FC236}">
                <a16:creationId xmlns:a16="http://schemas.microsoft.com/office/drawing/2014/main" id="{903E9D59-1D91-4853-AEFA-51E5C533728F}"/>
              </a:ext>
            </a:extLst>
          </p:cNvPr>
          <p:cNvPicPr/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 b="52125"/>
          <a:stretch>
            <a:fillRect/>
          </a:stretch>
        </p:blipFill>
        <p:spPr>
          <a:xfrm rot="11465643">
            <a:off x="10156430" y="-193021"/>
            <a:ext cx="1670532" cy="3456767"/>
          </a:xfrm>
          <a:custGeom>
            <a:avLst/>
            <a:gdLst>
              <a:gd name="connsiteX0" fmla="*/ 1670532 w 1670532"/>
              <a:gd name="connsiteY0" fmla="*/ 3129202 h 3456767"/>
              <a:gd name="connsiteX1" fmla="*/ 0 w 1670532"/>
              <a:gd name="connsiteY1" fmla="*/ 3456767 h 3456767"/>
              <a:gd name="connsiteX2" fmla="*/ 0 w 1670532"/>
              <a:gd name="connsiteY2" fmla="*/ 0 h 3456767"/>
              <a:gd name="connsiteX3" fmla="*/ 1670532 w 1670532"/>
              <a:gd name="connsiteY3" fmla="*/ 0 h 34567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670532" h="3456767">
                <a:moveTo>
                  <a:pt x="1670532" y="3129202"/>
                </a:moveTo>
                <a:lnTo>
                  <a:pt x="0" y="3456767"/>
                </a:lnTo>
                <a:lnTo>
                  <a:pt x="0" y="0"/>
                </a:lnTo>
                <a:lnTo>
                  <a:pt x="1670532" y="0"/>
                </a:lnTo>
                <a:close/>
              </a:path>
            </a:pathLst>
          </a:custGeom>
        </p:spPr>
      </p:pic>
      <p:pic>
        <p:nvPicPr>
          <p:cNvPr id="15" name="Gráfico 275">
            <a:extLst>
              <a:ext uri="{FF2B5EF4-FFF2-40B4-BE49-F238E27FC236}">
                <a16:creationId xmlns:a16="http://schemas.microsoft.com/office/drawing/2014/main" id="{EBEC2931-1AE1-4512-9CE0-BB5FCF4F91CA}"/>
              </a:ext>
            </a:extLst>
          </p:cNvPr>
          <p:cNvPicPr/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 rot="16200000">
            <a:off x="6150036" y="818030"/>
            <a:ext cx="1915463" cy="10168468"/>
          </a:xfrm>
          <a:prstGeom prst="rect">
            <a:avLst/>
          </a:prstGeom>
        </p:spPr>
      </p:pic>
      <p:sp>
        <p:nvSpPr>
          <p:cNvPr id="26" name="Retângulo 25">
            <a:extLst>
              <a:ext uri="{FF2B5EF4-FFF2-40B4-BE49-F238E27FC236}">
                <a16:creationId xmlns:a16="http://schemas.microsoft.com/office/drawing/2014/main" id="{FAAA61C8-8436-4718-A904-7DD3CFD370B1}"/>
              </a:ext>
            </a:extLst>
          </p:cNvPr>
          <p:cNvSpPr/>
          <p:nvPr userDrawn="1"/>
        </p:nvSpPr>
        <p:spPr>
          <a:xfrm>
            <a:off x="-600" y="2"/>
            <a:ext cx="12193200" cy="7175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392" tIns="45696" rIns="91392" bIns="4569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pt-BR" sz="3598"/>
          </a:p>
        </p:txBody>
      </p:sp>
      <p:pic>
        <p:nvPicPr>
          <p:cNvPr id="4" name="Imagem 3">
            <a:extLst>
              <a:ext uri="{FF2B5EF4-FFF2-40B4-BE49-F238E27FC236}">
                <a16:creationId xmlns:a16="http://schemas.microsoft.com/office/drawing/2014/main" id="{4B929F35-C2B3-4325-9C0C-91F0D1E44AB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600" y="71755"/>
            <a:ext cx="7474260" cy="67862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5178220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8A969E51-8551-6374-C99C-A7E2D874B4E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965912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3" imgW="306" imgH="308" progId="TCLayout.ActiveDocument.1">
                  <p:embed/>
                </p:oleObj>
              </mc:Choice>
              <mc:Fallback>
                <p:oleObj name="Slide do think-cell" r:id="rId3" imgW="306" imgH="308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A969E51-8551-6374-C99C-A7E2D874B4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ítulo 12">
            <a:extLst>
              <a:ext uri="{FF2B5EF4-FFF2-40B4-BE49-F238E27FC236}">
                <a16:creationId xmlns:a16="http://schemas.microsoft.com/office/drawing/2014/main" id="{ADF69FDE-B23B-9656-AB0E-FA565B8CC7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5750" y="501126"/>
            <a:ext cx="7160897" cy="470424"/>
          </a:xfrm>
        </p:spPr>
        <p:txBody>
          <a:bodyPr vert="horz">
            <a:noAutofit/>
          </a:bodyPr>
          <a:lstStyle>
            <a:lvl1pPr>
              <a:defRPr sz="3000"/>
            </a:lvl1pPr>
          </a:lstStyle>
          <a:p>
            <a:r>
              <a:rPr lang="pt-BR"/>
              <a:t>Clique para editar o título Mestre</a:t>
            </a:r>
          </a:p>
        </p:txBody>
      </p:sp>
      <p:pic>
        <p:nvPicPr>
          <p:cNvPr id="5" name="Gráfico 4">
            <a:extLst>
              <a:ext uri="{FF2B5EF4-FFF2-40B4-BE49-F238E27FC236}">
                <a16:creationId xmlns:a16="http://schemas.microsoft.com/office/drawing/2014/main" id="{A55B6DD7-EF35-1A47-0682-FB0263AE46F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828972" y="-1239748"/>
            <a:ext cx="2726056" cy="2726056"/>
          </a:xfrm>
          <a:prstGeom prst="rect">
            <a:avLst/>
          </a:prstGeom>
        </p:spPr>
      </p:pic>
      <p:pic>
        <p:nvPicPr>
          <p:cNvPr id="6" name="Gráfico 5">
            <a:extLst>
              <a:ext uri="{FF2B5EF4-FFF2-40B4-BE49-F238E27FC236}">
                <a16:creationId xmlns:a16="http://schemas.microsoft.com/office/drawing/2014/main" id="{6BB7C3AF-C957-8BE3-AA41-01756EF205A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1680864" y="6346864"/>
            <a:ext cx="1022272" cy="1022272"/>
          </a:xfrm>
          <a:prstGeom prst="rect">
            <a:avLst/>
          </a:prstGeom>
        </p:spPr>
      </p:pic>
      <p:sp>
        <p:nvSpPr>
          <p:cNvPr id="4" name="Espaço Reservado para Texto 11">
            <a:extLst>
              <a:ext uri="{FF2B5EF4-FFF2-40B4-BE49-F238E27FC236}">
                <a16:creationId xmlns:a16="http://schemas.microsoft.com/office/drawing/2014/main" id="{E95E1AA2-3BEE-3B80-AD69-8FC5BD80D74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85750" y="257174"/>
            <a:ext cx="6832600" cy="243951"/>
          </a:xfrm>
        </p:spPr>
        <p:txBody>
          <a:bodyPr lIns="144000" anchor="t">
            <a:noAutofit/>
          </a:bodyPr>
          <a:lstStyle>
            <a:lvl1pPr marL="0" marR="0" indent="0" algn="l" defTabSz="914400" rtl="0" eaLnBrk="1" latinLnBrk="0" hangingPunct="1">
              <a:lnSpc>
                <a:spcPct val="100000"/>
              </a:lnSpc>
              <a:spcBef>
                <a:spcPts val="2000"/>
              </a:spcBef>
              <a:spcAft>
                <a:spcPts val="500"/>
              </a:spcAft>
              <a:buClrTx/>
              <a:buFont typeface="Arial" panose="020B0604020202020204" pitchFamily="34" charset="0"/>
              <a:buNone/>
              <a:defRPr lang="pt-BR" sz="1100" b="0" i="0" u="none" strike="noStrike" kern="1200" cap="all" spc="100" baseline="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Arial"/>
              </a:defRPr>
            </a:lvl1pPr>
          </a:lstStyle>
          <a:p>
            <a:pPr lvl="0"/>
            <a:r>
              <a:rPr lang="pt-BR"/>
              <a:t>Clique para editar os estilos de texto Mestres</a:t>
            </a:r>
          </a:p>
        </p:txBody>
      </p:sp>
      <p:pic>
        <p:nvPicPr>
          <p:cNvPr id="2" name="Imagem 1" descr="Logotipo&#10;&#10;Descrição gerada automaticamente">
            <a:extLst>
              <a:ext uri="{FF2B5EF4-FFF2-40B4-BE49-F238E27FC236}">
                <a16:creationId xmlns:a16="http://schemas.microsoft.com/office/drawing/2014/main" id="{FBEC30A2-C429-D4CA-31D1-66D3B7C50C0D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9877675" y="278512"/>
            <a:ext cx="864013" cy="507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5730448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Layout Personalizado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>
            <a:extLst>
              <a:ext uri="{FF2B5EF4-FFF2-40B4-BE49-F238E27FC236}">
                <a16:creationId xmlns:a16="http://schemas.microsoft.com/office/drawing/2014/main" id="{7E784451-CC4E-93D5-53EF-156F58A6E8B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0178354"/>
              </p:ext>
            </p:extLst>
          </p:nvPr>
        </p:nvGraphicFramePr>
        <p:xfrm>
          <a:off x="801" y="794"/>
          <a:ext cx="801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3" imgW="425" imgH="426" progId="TCLayout.ActiveDocument.1">
                  <p:embed/>
                </p:oleObj>
              </mc:Choice>
              <mc:Fallback>
                <p:oleObj name="Slide do think-cell" r:id="rId3" imgW="425" imgH="426" progId="TCLayout.ActiveDocument.1">
                  <p:embed/>
                  <p:pic>
                    <p:nvPicPr>
                      <p:cNvPr id="3" name="Objeto 2" hidden="1">
                        <a:extLst>
                          <a:ext uri="{FF2B5EF4-FFF2-40B4-BE49-F238E27FC236}">
                            <a16:creationId xmlns:a16="http://schemas.microsoft.com/office/drawing/2014/main" id="{7E784451-CC4E-93D5-53EF-156F58A6E8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801" y="794"/>
                        <a:ext cx="801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object 2">
            <a:extLst>
              <a:ext uri="{FF2B5EF4-FFF2-40B4-BE49-F238E27FC236}">
                <a16:creationId xmlns:a16="http://schemas.microsoft.com/office/drawing/2014/main" id="{7E253372-8C30-6088-C34D-5A12FD6B829E}"/>
              </a:ext>
            </a:extLst>
          </p:cNvPr>
          <p:cNvSpPr/>
          <p:nvPr userDrawn="1"/>
        </p:nvSpPr>
        <p:spPr>
          <a:xfrm>
            <a:off x="7190090" y="2821"/>
            <a:ext cx="1567052" cy="1004719"/>
          </a:xfrm>
          <a:custGeom>
            <a:avLst/>
            <a:gdLst/>
            <a:ahLst/>
            <a:cxnLst/>
            <a:rect l="l" t="t" r="r" b="b"/>
            <a:pathLst>
              <a:path w="2239009" h="1447800">
                <a:moveTo>
                  <a:pt x="421759" y="0"/>
                </a:moveTo>
                <a:lnTo>
                  <a:pt x="48729" y="0"/>
                </a:lnTo>
                <a:lnTo>
                  <a:pt x="48540" y="577"/>
                </a:lnTo>
                <a:lnTo>
                  <a:pt x="35894" y="45334"/>
                </a:lnTo>
                <a:lnTo>
                  <a:pt x="25078" y="90829"/>
                </a:lnTo>
                <a:lnTo>
                  <a:pt x="16134" y="137021"/>
                </a:lnTo>
                <a:lnTo>
                  <a:pt x="9105" y="183867"/>
                </a:lnTo>
                <a:lnTo>
                  <a:pt x="4031" y="231354"/>
                </a:lnTo>
                <a:lnTo>
                  <a:pt x="966" y="279235"/>
                </a:lnTo>
                <a:lnTo>
                  <a:pt x="0" y="324357"/>
                </a:lnTo>
                <a:lnTo>
                  <a:pt x="27" y="332739"/>
                </a:lnTo>
                <a:lnTo>
                  <a:pt x="958" y="376462"/>
                </a:lnTo>
                <a:lnTo>
                  <a:pt x="4032" y="424482"/>
                </a:lnTo>
                <a:lnTo>
                  <a:pt x="9105" y="471934"/>
                </a:lnTo>
                <a:lnTo>
                  <a:pt x="16134" y="518773"/>
                </a:lnTo>
                <a:lnTo>
                  <a:pt x="25078" y="564959"/>
                </a:lnTo>
                <a:lnTo>
                  <a:pt x="35927" y="610567"/>
                </a:lnTo>
                <a:lnTo>
                  <a:pt x="48540" y="655202"/>
                </a:lnTo>
                <a:lnTo>
                  <a:pt x="62974" y="699175"/>
                </a:lnTo>
                <a:lnTo>
                  <a:pt x="79155" y="742327"/>
                </a:lnTo>
                <a:lnTo>
                  <a:pt x="97040" y="784614"/>
                </a:lnTo>
                <a:lnTo>
                  <a:pt x="116588" y="825995"/>
                </a:lnTo>
                <a:lnTo>
                  <a:pt x="137756" y="866429"/>
                </a:lnTo>
                <a:lnTo>
                  <a:pt x="160502" y="905873"/>
                </a:lnTo>
                <a:lnTo>
                  <a:pt x="184785" y="944285"/>
                </a:lnTo>
                <a:lnTo>
                  <a:pt x="210562" y="981622"/>
                </a:lnTo>
                <a:lnTo>
                  <a:pt x="237791" y="1017844"/>
                </a:lnTo>
                <a:lnTo>
                  <a:pt x="266431" y="1052908"/>
                </a:lnTo>
                <a:lnTo>
                  <a:pt x="296440" y="1086772"/>
                </a:lnTo>
                <a:lnTo>
                  <a:pt x="327774" y="1119393"/>
                </a:lnTo>
                <a:lnTo>
                  <a:pt x="360393" y="1150730"/>
                </a:lnTo>
                <a:lnTo>
                  <a:pt x="394255" y="1180742"/>
                </a:lnTo>
                <a:lnTo>
                  <a:pt x="429317" y="1209385"/>
                </a:lnTo>
                <a:lnTo>
                  <a:pt x="465538" y="1236617"/>
                </a:lnTo>
                <a:lnTo>
                  <a:pt x="502874" y="1262398"/>
                </a:lnTo>
                <a:lnTo>
                  <a:pt x="541286" y="1286684"/>
                </a:lnTo>
                <a:lnTo>
                  <a:pt x="580730" y="1309433"/>
                </a:lnTo>
                <a:lnTo>
                  <a:pt x="621164" y="1330605"/>
                </a:lnTo>
                <a:lnTo>
                  <a:pt x="662547" y="1350155"/>
                </a:lnTo>
                <a:lnTo>
                  <a:pt x="704836" y="1368044"/>
                </a:lnTo>
                <a:lnTo>
                  <a:pt x="747990" y="1384228"/>
                </a:lnTo>
                <a:lnTo>
                  <a:pt x="791966" y="1398665"/>
                </a:lnTo>
                <a:lnTo>
                  <a:pt x="836723" y="1411313"/>
                </a:lnTo>
                <a:lnTo>
                  <a:pt x="882218" y="1422132"/>
                </a:lnTo>
                <a:lnTo>
                  <a:pt x="928410" y="1431077"/>
                </a:lnTo>
                <a:lnTo>
                  <a:pt x="975256" y="1438108"/>
                </a:lnTo>
                <a:lnTo>
                  <a:pt x="1022715" y="1443182"/>
                </a:lnTo>
                <a:lnTo>
                  <a:pt x="1070744" y="1446257"/>
                </a:lnTo>
                <a:lnTo>
                  <a:pt x="1119302" y="1447291"/>
                </a:lnTo>
                <a:lnTo>
                  <a:pt x="1122731" y="1447291"/>
                </a:lnTo>
                <a:lnTo>
                  <a:pt x="1171285" y="1446098"/>
                </a:lnTo>
                <a:lnTo>
                  <a:pt x="1219305" y="1442866"/>
                </a:lnTo>
                <a:lnTo>
                  <a:pt x="1266749" y="1437639"/>
                </a:lnTo>
                <a:lnTo>
                  <a:pt x="1313574" y="1430457"/>
                </a:lnTo>
                <a:lnTo>
                  <a:pt x="1359738" y="1421364"/>
                </a:lnTo>
                <a:lnTo>
                  <a:pt x="1405200" y="1410401"/>
                </a:lnTo>
                <a:lnTo>
                  <a:pt x="1449919" y="1397610"/>
                </a:lnTo>
                <a:lnTo>
                  <a:pt x="1493851" y="1383035"/>
                </a:lnTo>
                <a:lnTo>
                  <a:pt x="1536955" y="1366715"/>
                </a:lnTo>
                <a:lnTo>
                  <a:pt x="1579190" y="1348695"/>
                </a:lnTo>
                <a:lnTo>
                  <a:pt x="1620513" y="1329015"/>
                </a:lnTo>
                <a:lnTo>
                  <a:pt x="1660883" y="1307718"/>
                </a:lnTo>
                <a:lnTo>
                  <a:pt x="1700257" y="1284847"/>
                </a:lnTo>
                <a:lnTo>
                  <a:pt x="1738595" y="1260442"/>
                </a:lnTo>
                <a:lnTo>
                  <a:pt x="1775853" y="1234547"/>
                </a:lnTo>
                <a:lnTo>
                  <a:pt x="1811990" y="1207203"/>
                </a:lnTo>
                <a:lnTo>
                  <a:pt x="1846965" y="1178453"/>
                </a:lnTo>
                <a:lnTo>
                  <a:pt x="1880735" y="1148338"/>
                </a:lnTo>
                <a:lnTo>
                  <a:pt x="1913258" y="1116901"/>
                </a:lnTo>
                <a:lnTo>
                  <a:pt x="1931869" y="1097406"/>
                </a:lnTo>
                <a:lnTo>
                  <a:pt x="1122731" y="1097406"/>
                </a:lnTo>
                <a:lnTo>
                  <a:pt x="1074061" y="1096198"/>
                </a:lnTo>
                <a:lnTo>
                  <a:pt x="1026177" y="1092018"/>
                </a:lnTo>
                <a:lnTo>
                  <a:pt x="979168" y="1084955"/>
                </a:lnTo>
                <a:lnTo>
                  <a:pt x="933126" y="1075099"/>
                </a:lnTo>
                <a:lnTo>
                  <a:pt x="888141" y="1062540"/>
                </a:lnTo>
                <a:lnTo>
                  <a:pt x="844304" y="1047367"/>
                </a:lnTo>
                <a:lnTo>
                  <a:pt x="801705" y="1029668"/>
                </a:lnTo>
                <a:lnTo>
                  <a:pt x="760436" y="1009535"/>
                </a:lnTo>
                <a:lnTo>
                  <a:pt x="720586" y="987056"/>
                </a:lnTo>
                <a:lnTo>
                  <a:pt x="682248" y="962321"/>
                </a:lnTo>
                <a:lnTo>
                  <a:pt x="645510" y="935419"/>
                </a:lnTo>
                <a:lnTo>
                  <a:pt x="610465" y="906440"/>
                </a:lnTo>
                <a:lnTo>
                  <a:pt x="577202" y="875474"/>
                </a:lnTo>
                <a:lnTo>
                  <a:pt x="545813" y="842609"/>
                </a:lnTo>
                <a:lnTo>
                  <a:pt x="516388" y="807935"/>
                </a:lnTo>
                <a:lnTo>
                  <a:pt x="489018" y="771542"/>
                </a:lnTo>
                <a:lnTo>
                  <a:pt x="463793" y="733519"/>
                </a:lnTo>
                <a:lnTo>
                  <a:pt x="440805" y="693956"/>
                </a:lnTo>
                <a:lnTo>
                  <a:pt x="420143" y="652943"/>
                </a:lnTo>
                <a:lnTo>
                  <a:pt x="401857" y="610450"/>
                </a:lnTo>
                <a:lnTo>
                  <a:pt x="386164" y="566920"/>
                </a:lnTo>
                <a:lnTo>
                  <a:pt x="373027" y="522091"/>
                </a:lnTo>
                <a:lnTo>
                  <a:pt x="362580" y="476169"/>
                </a:lnTo>
                <a:lnTo>
                  <a:pt x="354914" y="429243"/>
                </a:lnTo>
                <a:lnTo>
                  <a:pt x="350118" y="381403"/>
                </a:lnTo>
                <a:lnTo>
                  <a:pt x="348285" y="332739"/>
                </a:lnTo>
                <a:lnTo>
                  <a:pt x="349493" y="284070"/>
                </a:lnTo>
                <a:lnTo>
                  <a:pt x="353675" y="236185"/>
                </a:lnTo>
                <a:lnTo>
                  <a:pt x="360740" y="189177"/>
                </a:lnTo>
                <a:lnTo>
                  <a:pt x="370599" y="143135"/>
                </a:lnTo>
                <a:lnTo>
                  <a:pt x="383162" y="98150"/>
                </a:lnTo>
                <a:lnTo>
                  <a:pt x="398340" y="54312"/>
                </a:lnTo>
                <a:lnTo>
                  <a:pt x="416043" y="11714"/>
                </a:lnTo>
                <a:lnTo>
                  <a:pt x="421759" y="0"/>
                </a:lnTo>
                <a:close/>
              </a:path>
              <a:path w="2239009" h="1447800">
                <a:moveTo>
                  <a:pt x="2189813" y="0"/>
                </a:moveTo>
                <a:lnTo>
                  <a:pt x="1815079" y="0"/>
                </a:lnTo>
                <a:lnTo>
                  <a:pt x="1818559" y="7069"/>
                </a:lnTo>
                <a:lnTo>
                  <a:pt x="1836408" y="49609"/>
                </a:lnTo>
                <a:lnTo>
                  <a:pt x="1851736" y="93398"/>
                </a:lnTo>
                <a:lnTo>
                  <a:pt x="1864451" y="138345"/>
                </a:lnTo>
                <a:lnTo>
                  <a:pt x="1874465" y="184361"/>
                </a:lnTo>
                <a:lnTo>
                  <a:pt x="1881688" y="231354"/>
                </a:lnTo>
                <a:lnTo>
                  <a:pt x="1886032" y="279355"/>
                </a:lnTo>
                <a:lnTo>
                  <a:pt x="1887398" y="327913"/>
                </a:lnTo>
                <a:lnTo>
                  <a:pt x="1885887" y="376462"/>
                </a:lnTo>
                <a:lnTo>
                  <a:pt x="1881454" y="424011"/>
                </a:lnTo>
                <a:lnTo>
                  <a:pt x="1874157" y="470782"/>
                </a:lnTo>
                <a:lnTo>
                  <a:pt x="1864095" y="516580"/>
                </a:lnTo>
                <a:lnTo>
                  <a:pt x="1851357" y="561318"/>
                </a:lnTo>
                <a:lnTo>
                  <a:pt x="1836031" y="604906"/>
                </a:lnTo>
                <a:lnTo>
                  <a:pt x="1818207" y="647254"/>
                </a:lnTo>
                <a:lnTo>
                  <a:pt x="1797972" y="688272"/>
                </a:lnTo>
                <a:lnTo>
                  <a:pt x="1775416" y="727872"/>
                </a:lnTo>
                <a:lnTo>
                  <a:pt x="1750627" y="765964"/>
                </a:lnTo>
                <a:lnTo>
                  <a:pt x="1723694" y="802459"/>
                </a:lnTo>
                <a:lnTo>
                  <a:pt x="1694706" y="837267"/>
                </a:lnTo>
                <a:lnTo>
                  <a:pt x="1663751" y="870299"/>
                </a:lnTo>
                <a:lnTo>
                  <a:pt x="1630918" y="901465"/>
                </a:lnTo>
                <a:lnTo>
                  <a:pt x="1596296" y="930676"/>
                </a:lnTo>
                <a:lnTo>
                  <a:pt x="1559973" y="957843"/>
                </a:lnTo>
                <a:lnTo>
                  <a:pt x="1522038" y="982876"/>
                </a:lnTo>
                <a:lnTo>
                  <a:pt x="1482581" y="1005686"/>
                </a:lnTo>
                <a:lnTo>
                  <a:pt x="1441689" y="1026184"/>
                </a:lnTo>
                <a:lnTo>
                  <a:pt x="1399451" y="1044279"/>
                </a:lnTo>
                <a:lnTo>
                  <a:pt x="1355956" y="1059884"/>
                </a:lnTo>
                <a:lnTo>
                  <a:pt x="1311293" y="1072907"/>
                </a:lnTo>
                <a:lnTo>
                  <a:pt x="1265550" y="1083261"/>
                </a:lnTo>
                <a:lnTo>
                  <a:pt x="1218816" y="1090855"/>
                </a:lnTo>
                <a:lnTo>
                  <a:pt x="1171180" y="1095600"/>
                </a:lnTo>
                <a:lnTo>
                  <a:pt x="1122731" y="1097406"/>
                </a:lnTo>
                <a:lnTo>
                  <a:pt x="1931869" y="1097406"/>
                </a:lnTo>
                <a:lnTo>
                  <a:pt x="1974398" y="1050228"/>
                </a:lnTo>
                <a:lnTo>
                  <a:pt x="2002931" y="1015077"/>
                </a:lnTo>
                <a:lnTo>
                  <a:pt x="2030049" y="978771"/>
                </a:lnTo>
                <a:lnTo>
                  <a:pt x="2055712" y="941354"/>
                </a:lnTo>
                <a:lnTo>
                  <a:pt x="2079877" y="902868"/>
                </a:lnTo>
                <a:lnTo>
                  <a:pt x="2102503" y="863353"/>
                </a:lnTo>
                <a:lnTo>
                  <a:pt x="2123547" y="822854"/>
                </a:lnTo>
                <a:lnTo>
                  <a:pt x="2142967" y="781410"/>
                </a:lnTo>
                <a:lnTo>
                  <a:pt x="2160723" y="739066"/>
                </a:lnTo>
                <a:lnTo>
                  <a:pt x="2176771" y="695862"/>
                </a:lnTo>
                <a:lnTo>
                  <a:pt x="2191071" y="651842"/>
                </a:lnTo>
                <a:lnTo>
                  <a:pt x="2203579" y="607046"/>
                </a:lnTo>
                <a:lnTo>
                  <a:pt x="2214293" y="561318"/>
                </a:lnTo>
                <a:lnTo>
                  <a:pt x="2223057" y="515299"/>
                </a:lnTo>
                <a:lnTo>
                  <a:pt x="2229942" y="468431"/>
                </a:lnTo>
                <a:lnTo>
                  <a:pt x="2234869" y="420957"/>
                </a:lnTo>
                <a:lnTo>
                  <a:pt x="2237795" y="372918"/>
                </a:lnTo>
                <a:lnTo>
                  <a:pt x="2238680" y="324357"/>
                </a:lnTo>
                <a:lnTo>
                  <a:pt x="2237491" y="275911"/>
                </a:lnTo>
                <a:lnTo>
                  <a:pt x="2234272" y="227997"/>
                </a:lnTo>
                <a:lnTo>
                  <a:pt x="2229066" y="180655"/>
                </a:lnTo>
                <a:lnTo>
                  <a:pt x="2221914" y="133928"/>
                </a:lnTo>
                <a:lnTo>
                  <a:pt x="2212858" y="87858"/>
                </a:lnTo>
                <a:lnTo>
                  <a:pt x="2201939" y="42485"/>
                </a:lnTo>
                <a:lnTo>
                  <a:pt x="2189813" y="0"/>
                </a:lnTo>
                <a:close/>
              </a:path>
            </a:pathLst>
          </a:custGeom>
          <a:solidFill>
            <a:srgbClr val="F1F1F1"/>
          </a:solidFill>
        </p:spPr>
        <p:txBody>
          <a:bodyPr wrap="square" lIns="0" tIns="0" rIns="0" bIns="0" rtlCol="0"/>
          <a:lstStyle/>
          <a:p>
            <a:pPr defTabSz="634548"/>
            <a:endParaRPr sz="1249">
              <a:solidFill>
                <a:prstClr val="black"/>
              </a:solidFill>
              <a:latin typeface="Calibri"/>
            </a:endParaRPr>
          </a:p>
        </p:txBody>
      </p:sp>
      <p:sp>
        <p:nvSpPr>
          <p:cNvPr id="5" name="object 3">
            <a:extLst>
              <a:ext uri="{FF2B5EF4-FFF2-40B4-BE49-F238E27FC236}">
                <a16:creationId xmlns:a16="http://schemas.microsoft.com/office/drawing/2014/main" id="{DE04FEEE-904B-F42F-8CBB-DEA43F468C2C}"/>
              </a:ext>
            </a:extLst>
          </p:cNvPr>
          <p:cNvSpPr/>
          <p:nvPr userDrawn="1"/>
        </p:nvSpPr>
        <p:spPr>
          <a:xfrm>
            <a:off x="6491487" y="383556"/>
            <a:ext cx="563534" cy="558765"/>
          </a:xfrm>
          <a:custGeom>
            <a:avLst/>
            <a:gdLst/>
            <a:ahLst/>
            <a:cxnLst/>
            <a:rect l="l" t="t" r="r" b="b"/>
            <a:pathLst>
              <a:path w="805179" h="805180">
                <a:moveTo>
                  <a:pt x="402335" y="0"/>
                </a:moveTo>
                <a:lnTo>
                  <a:pt x="355406" y="2706"/>
                </a:lnTo>
                <a:lnTo>
                  <a:pt x="310069" y="10623"/>
                </a:lnTo>
                <a:lnTo>
                  <a:pt x="266626" y="23450"/>
                </a:lnTo>
                <a:lnTo>
                  <a:pt x="225378" y="40885"/>
                </a:lnTo>
                <a:lnTo>
                  <a:pt x="186628" y="62627"/>
                </a:lnTo>
                <a:lnTo>
                  <a:pt x="150676" y="88374"/>
                </a:lnTo>
                <a:lnTo>
                  <a:pt x="117824" y="117824"/>
                </a:lnTo>
                <a:lnTo>
                  <a:pt x="88374" y="150676"/>
                </a:lnTo>
                <a:lnTo>
                  <a:pt x="62627" y="186628"/>
                </a:lnTo>
                <a:lnTo>
                  <a:pt x="40885" y="225378"/>
                </a:lnTo>
                <a:lnTo>
                  <a:pt x="23450" y="266626"/>
                </a:lnTo>
                <a:lnTo>
                  <a:pt x="10623" y="310069"/>
                </a:lnTo>
                <a:lnTo>
                  <a:pt x="2706" y="355406"/>
                </a:lnTo>
                <a:lnTo>
                  <a:pt x="0" y="402335"/>
                </a:lnTo>
                <a:lnTo>
                  <a:pt x="2706" y="449265"/>
                </a:lnTo>
                <a:lnTo>
                  <a:pt x="10623" y="494602"/>
                </a:lnTo>
                <a:lnTo>
                  <a:pt x="23450" y="538045"/>
                </a:lnTo>
                <a:lnTo>
                  <a:pt x="40885" y="579293"/>
                </a:lnTo>
                <a:lnTo>
                  <a:pt x="62627" y="618043"/>
                </a:lnTo>
                <a:lnTo>
                  <a:pt x="88374" y="653995"/>
                </a:lnTo>
                <a:lnTo>
                  <a:pt x="117824" y="686847"/>
                </a:lnTo>
                <a:lnTo>
                  <a:pt x="150676" y="716297"/>
                </a:lnTo>
                <a:lnTo>
                  <a:pt x="186628" y="742044"/>
                </a:lnTo>
                <a:lnTo>
                  <a:pt x="225378" y="763786"/>
                </a:lnTo>
                <a:lnTo>
                  <a:pt x="266626" y="781221"/>
                </a:lnTo>
                <a:lnTo>
                  <a:pt x="310069" y="794048"/>
                </a:lnTo>
                <a:lnTo>
                  <a:pt x="355406" y="801965"/>
                </a:lnTo>
                <a:lnTo>
                  <a:pt x="402335" y="804672"/>
                </a:lnTo>
                <a:lnTo>
                  <a:pt x="449265" y="801965"/>
                </a:lnTo>
                <a:lnTo>
                  <a:pt x="494602" y="794048"/>
                </a:lnTo>
                <a:lnTo>
                  <a:pt x="538045" y="781221"/>
                </a:lnTo>
                <a:lnTo>
                  <a:pt x="579293" y="763786"/>
                </a:lnTo>
                <a:lnTo>
                  <a:pt x="618043" y="742044"/>
                </a:lnTo>
                <a:lnTo>
                  <a:pt x="653995" y="716297"/>
                </a:lnTo>
                <a:lnTo>
                  <a:pt x="686847" y="686847"/>
                </a:lnTo>
                <a:lnTo>
                  <a:pt x="716297" y="653995"/>
                </a:lnTo>
                <a:lnTo>
                  <a:pt x="742044" y="618043"/>
                </a:lnTo>
                <a:lnTo>
                  <a:pt x="763786" y="579293"/>
                </a:lnTo>
                <a:lnTo>
                  <a:pt x="781221" y="538045"/>
                </a:lnTo>
                <a:lnTo>
                  <a:pt x="794048" y="494602"/>
                </a:lnTo>
                <a:lnTo>
                  <a:pt x="801965" y="449265"/>
                </a:lnTo>
                <a:lnTo>
                  <a:pt x="804671" y="402335"/>
                </a:lnTo>
                <a:lnTo>
                  <a:pt x="801965" y="355406"/>
                </a:lnTo>
                <a:lnTo>
                  <a:pt x="794048" y="310069"/>
                </a:lnTo>
                <a:lnTo>
                  <a:pt x="781221" y="266626"/>
                </a:lnTo>
                <a:lnTo>
                  <a:pt x="763786" y="225378"/>
                </a:lnTo>
                <a:lnTo>
                  <a:pt x="742044" y="186628"/>
                </a:lnTo>
                <a:lnTo>
                  <a:pt x="716297" y="150676"/>
                </a:lnTo>
                <a:lnTo>
                  <a:pt x="686847" y="117824"/>
                </a:lnTo>
                <a:lnTo>
                  <a:pt x="653995" y="88374"/>
                </a:lnTo>
                <a:lnTo>
                  <a:pt x="618043" y="62627"/>
                </a:lnTo>
                <a:lnTo>
                  <a:pt x="579293" y="40885"/>
                </a:lnTo>
                <a:lnTo>
                  <a:pt x="538045" y="23450"/>
                </a:lnTo>
                <a:lnTo>
                  <a:pt x="494602" y="10623"/>
                </a:lnTo>
                <a:lnTo>
                  <a:pt x="449265" y="2706"/>
                </a:lnTo>
                <a:lnTo>
                  <a:pt x="402335" y="0"/>
                </a:lnTo>
                <a:close/>
              </a:path>
            </a:pathLst>
          </a:custGeom>
          <a:solidFill>
            <a:srgbClr val="F1F1F1"/>
          </a:solidFill>
        </p:spPr>
        <p:txBody>
          <a:bodyPr wrap="square" lIns="0" tIns="0" rIns="0" bIns="0" rtlCol="0"/>
          <a:lstStyle/>
          <a:p>
            <a:pPr defTabSz="634548"/>
            <a:endParaRPr sz="1249">
              <a:solidFill>
                <a:prstClr val="black"/>
              </a:solidFill>
              <a:latin typeface="Calibri"/>
            </a:endParaRPr>
          </a:p>
        </p:txBody>
      </p:sp>
      <p:pic>
        <p:nvPicPr>
          <p:cNvPr id="6" name="Imagem 5" descr="Logotipo&#10;&#10;Descrição gerada automaticamente">
            <a:extLst>
              <a:ext uri="{FF2B5EF4-FFF2-40B4-BE49-F238E27FC236}">
                <a16:creationId xmlns:a16="http://schemas.microsoft.com/office/drawing/2014/main" id="{A033AB7A-5BA9-AA55-9B3E-FFC871CAAC9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18982" y="204766"/>
            <a:ext cx="1106883" cy="644178"/>
          </a:xfrm>
          <a:prstGeom prst="rect">
            <a:avLst/>
          </a:prstGeom>
        </p:spPr>
      </p:pic>
      <p:sp>
        <p:nvSpPr>
          <p:cNvPr id="8" name="Espaço Reservado para Título 17">
            <a:extLst>
              <a:ext uri="{FF2B5EF4-FFF2-40B4-BE49-F238E27FC236}">
                <a16:creationId xmlns:a16="http://schemas.microsoft.com/office/drawing/2014/main" id="{18851D86-05BF-BF2F-BCB3-CDA789FECBA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2006" y="427757"/>
            <a:ext cx="6111248" cy="514564"/>
          </a:xfrm>
          <a:prstGeom prst="rect">
            <a:avLst/>
          </a:prstGeom>
          <a:ln w="3175">
            <a:noFill/>
          </a:ln>
        </p:spPr>
        <p:txBody>
          <a:bodyPr vert="horz" lIns="91440" tIns="45720" rIns="91440" bIns="45720" rtlCol="0" anchor="ctr">
            <a:normAutofit/>
          </a:bodyPr>
          <a:lstStyle>
            <a:lvl1pPr>
              <a:defRPr sz="2700">
                <a:solidFill>
                  <a:srgbClr val="F1653E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pt-BR"/>
              <a:t>Clique para editar título Mestre</a:t>
            </a:r>
          </a:p>
        </p:txBody>
      </p:sp>
    </p:spTree>
    <p:extLst>
      <p:ext uri="{BB962C8B-B14F-4D97-AF65-F5344CB8AC3E}">
        <p14:creationId xmlns:p14="http://schemas.microsoft.com/office/powerpoint/2010/main" val="72827353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ço Reservado para Texto 6">
            <a:extLst>
              <a:ext uri="{FF2B5EF4-FFF2-40B4-BE49-F238E27FC236}">
                <a16:creationId xmlns:a16="http://schemas.microsoft.com/office/drawing/2014/main" id="{D6F85BE3-183D-1F4D-9986-5566BC05916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811338" y="602332"/>
            <a:ext cx="5919787" cy="447675"/>
          </a:xfrm>
        </p:spPr>
        <p:txBody>
          <a:bodyPr lIns="126000">
            <a:normAutofit/>
          </a:bodyPr>
          <a:lstStyle>
            <a:lvl1pPr>
              <a:lnSpc>
                <a:spcPct val="100000"/>
              </a:lnSpc>
              <a:defRPr sz="1100" b="0" cap="all" spc="100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endParaRPr lang="pt-BR"/>
          </a:p>
        </p:txBody>
      </p:sp>
      <p:sp>
        <p:nvSpPr>
          <p:cNvPr id="8" name="Título 7">
            <a:extLst>
              <a:ext uri="{FF2B5EF4-FFF2-40B4-BE49-F238E27FC236}">
                <a16:creationId xmlns:a16="http://schemas.microsoft.com/office/drawing/2014/main" id="{850B399A-346B-51E3-1A92-253CADB724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27213" y="865524"/>
            <a:ext cx="5919787" cy="447676"/>
          </a:xfrm>
        </p:spPr>
        <p:txBody>
          <a:bodyPr anchor="t">
            <a:noAutofit/>
          </a:bodyPr>
          <a:lstStyle>
            <a:lvl1pPr>
              <a:defRPr sz="3600" b="1" spc="-100" baseline="0"/>
            </a:lvl1pPr>
          </a:lstStyle>
          <a:p>
            <a:r>
              <a:rPr lang="pt-BR"/>
              <a:t>Clique para editar o título Mestre</a:t>
            </a:r>
          </a:p>
        </p:txBody>
      </p:sp>
      <p:pic>
        <p:nvPicPr>
          <p:cNvPr id="3" name="Gráfico 2">
            <a:extLst>
              <a:ext uri="{FF2B5EF4-FFF2-40B4-BE49-F238E27FC236}">
                <a16:creationId xmlns:a16="http://schemas.microsoft.com/office/drawing/2014/main" id="{35E7C3AD-E15C-80F2-4FED-5155F41E38C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-2526167" y="650458"/>
            <a:ext cx="4716432" cy="5541795"/>
          </a:xfrm>
          <a:prstGeom prst="rect">
            <a:avLst/>
          </a:prstGeom>
        </p:spPr>
      </p:pic>
      <p:pic>
        <p:nvPicPr>
          <p:cNvPr id="4" name="Gráfico 3">
            <a:extLst>
              <a:ext uri="{FF2B5EF4-FFF2-40B4-BE49-F238E27FC236}">
                <a16:creationId xmlns:a16="http://schemas.microsoft.com/office/drawing/2014/main" id="{4EBD6769-77D4-163B-AC96-F0F1CB1F703E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828972" y="-1239748"/>
            <a:ext cx="2726056" cy="2726056"/>
          </a:xfrm>
          <a:prstGeom prst="rect">
            <a:avLst/>
          </a:prstGeom>
        </p:spPr>
      </p:pic>
      <p:pic>
        <p:nvPicPr>
          <p:cNvPr id="5" name="Gráfico 4">
            <a:extLst>
              <a:ext uri="{FF2B5EF4-FFF2-40B4-BE49-F238E27FC236}">
                <a16:creationId xmlns:a16="http://schemas.microsoft.com/office/drawing/2014/main" id="{D64BC587-E1BC-D84B-13E1-280D52F92BC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680864" y="6346864"/>
            <a:ext cx="1022272" cy="1022272"/>
          </a:xfrm>
          <a:prstGeom prst="rect">
            <a:avLst/>
          </a:prstGeom>
        </p:spPr>
      </p:pic>
      <p:sp>
        <p:nvSpPr>
          <p:cNvPr id="11" name="Retângulo 10">
            <a:extLst>
              <a:ext uri="{FF2B5EF4-FFF2-40B4-BE49-F238E27FC236}">
                <a16:creationId xmlns:a16="http://schemas.microsoft.com/office/drawing/2014/main" id="{842E5A5A-7704-2F48-8702-A3E6101A002E}"/>
              </a:ext>
            </a:extLst>
          </p:cNvPr>
          <p:cNvSpPr/>
          <p:nvPr userDrawn="1"/>
        </p:nvSpPr>
        <p:spPr>
          <a:xfrm>
            <a:off x="1828046" y="2954787"/>
            <a:ext cx="2952000" cy="3600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8" name="Espaço Reservado para Texto 3">
            <a:extLst>
              <a:ext uri="{FF2B5EF4-FFF2-40B4-BE49-F238E27FC236}">
                <a16:creationId xmlns:a16="http://schemas.microsoft.com/office/drawing/2014/main" id="{CDF90CEE-BDF2-3D8C-A60C-9E9609E82BDF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1825882" y="1920603"/>
            <a:ext cx="5922962" cy="727075"/>
          </a:xfrm>
        </p:spPr>
        <p:txBody>
          <a:bodyPr>
            <a:normAutofit/>
          </a:bodyPr>
          <a:lstStyle>
            <a:lvl1pPr marR="0" algn="l" rtl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pt-BR" sz="1200" b="0" i="0" u="none" strike="noStrike" cap="none" dirty="0" smtClean="0">
                <a:solidFill>
                  <a:schemeClr val="tx2"/>
                </a:solidFill>
                <a:latin typeface="+mn-lt"/>
                <a:ea typeface="Times New Roman" panose="02020603050405020304" pitchFamily="18" charset="0"/>
                <a:cs typeface="Arial"/>
                <a:sym typeface="Arial"/>
              </a:defRPr>
            </a:lvl1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6" name="Espaço Reservado para Texto 5">
            <a:extLst>
              <a:ext uri="{FF2B5EF4-FFF2-40B4-BE49-F238E27FC236}">
                <a16:creationId xmlns:a16="http://schemas.microsoft.com/office/drawing/2014/main" id="{99F7F299-B9F4-BC9F-95FF-5ED073B643B1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1824038" y="3315150"/>
            <a:ext cx="2952000" cy="2901500"/>
          </a:xfrm>
          <a:solidFill>
            <a:srgbClr val="2D3D70">
              <a:alpha val="90000"/>
              <a:tint val="40000"/>
              <a:hueOff val="0"/>
              <a:satOff val="0"/>
              <a:lumOff val="0"/>
              <a:alphaOff val="0"/>
            </a:srgbClr>
          </a:solidFill>
          <a:ln w="12700" cap="flat" cmpd="sng" algn="ctr">
            <a:solidFill>
              <a:srgbClr val="2D3D70">
                <a:alpha val="90000"/>
                <a:tint val="40000"/>
                <a:hueOff val="0"/>
                <a:satOff val="0"/>
                <a:lumOff val="0"/>
                <a:alphaOff val="0"/>
              </a:srgbClr>
            </a:solidFill>
            <a:prstDash val="solid"/>
            <a:miter lim="800000"/>
          </a:ln>
          <a:effectLst/>
        </p:spPr>
        <p:txBody>
          <a:bodyPr spcFirstLastPara="0" vert="horz" wrap="square" lIns="180000" tIns="261366" rIns="180000" bIns="392049" numCol="1" spcCol="1270" anchor="t" anchorCtr="0">
            <a:noAutofit/>
          </a:bodyPr>
          <a:lstStyle>
            <a:lvl1pPr marR="0" algn="l" rtl="0">
              <a:lnSpc>
                <a:spcPct val="13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Font typeface="Arial"/>
              <a:defRPr lang="pt-BR" sz="1300" b="0" i="0" u="none" strike="noStrike" cap="none" dirty="0">
                <a:solidFill>
                  <a:schemeClr val="tx1"/>
                </a:solidFill>
                <a:latin typeface="+mn-lt"/>
                <a:ea typeface="Arial"/>
                <a:cs typeface="Arial"/>
                <a:sym typeface="Arial"/>
              </a:defRPr>
            </a:lvl1pPr>
          </a:lstStyle>
          <a:p>
            <a:pPr marR="0" lv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</a:pPr>
            <a:r>
              <a:rPr lang="pt-BR"/>
              <a:t>Clique para editar os estilos de texto Mestres</a:t>
            </a:r>
          </a:p>
        </p:txBody>
      </p:sp>
      <p:sp>
        <p:nvSpPr>
          <p:cNvPr id="10" name="Espaço Reservado para Texto 5">
            <a:extLst>
              <a:ext uri="{FF2B5EF4-FFF2-40B4-BE49-F238E27FC236}">
                <a16:creationId xmlns:a16="http://schemas.microsoft.com/office/drawing/2014/main" id="{79E14420-1845-E853-61FD-FA2963FDC8F4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5099050" y="3315150"/>
            <a:ext cx="2952000" cy="2901500"/>
          </a:xfrm>
          <a:solidFill>
            <a:srgbClr val="2D3D70">
              <a:alpha val="90000"/>
              <a:tint val="40000"/>
              <a:hueOff val="0"/>
              <a:satOff val="0"/>
              <a:lumOff val="0"/>
              <a:alphaOff val="0"/>
            </a:srgbClr>
          </a:solidFill>
          <a:ln w="12700" cap="flat" cmpd="sng" algn="ctr">
            <a:solidFill>
              <a:srgbClr val="2D3D70">
                <a:alpha val="90000"/>
                <a:tint val="40000"/>
                <a:hueOff val="0"/>
                <a:satOff val="0"/>
                <a:lumOff val="0"/>
                <a:alphaOff val="0"/>
              </a:srgbClr>
            </a:solidFill>
            <a:prstDash val="solid"/>
            <a:miter lim="800000"/>
          </a:ln>
          <a:effectLst/>
        </p:spPr>
        <p:txBody>
          <a:bodyPr spcFirstLastPara="0" vert="horz" wrap="square" lIns="180000" tIns="261366" rIns="180000" bIns="392049" numCol="1" spcCol="1270" rtlCol="0" anchor="t" anchorCtr="0">
            <a:noAutofit/>
          </a:bodyPr>
          <a:lstStyle>
            <a:lvl1pPr>
              <a:defRPr lang="pt-BR" sz="1300" b="0" i="0" u="none" strike="noStrike" cap="none" dirty="0">
                <a:solidFill>
                  <a:schemeClr val="tx1"/>
                </a:solidFill>
                <a:ea typeface="Arial"/>
                <a:cs typeface="Arial"/>
              </a:defRPr>
            </a:lvl1pPr>
          </a:lstStyle>
          <a:p>
            <a:pPr marR="0" lv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</a:pPr>
            <a:r>
              <a:rPr lang="pt-BR"/>
              <a:t>Clique para editar os estilos de texto Mestres</a:t>
            </a:r>
          </a:p>
        </p:txBody>
      </p:sp>
      <p:sp>
        <p:nvSpPr>
          <p:cNvPr id="12" name="Espaço Reservado para Texto 5">
            <a:extLst>
              <a:ext uri="{FF2B5EF4-FFF2-40B4-BE49-F238E27FC236}">
                <a16:creationId xmlns:a16="http://schemas.microsoft.com/office/drawing/2014/main" id="{913B9138-B8EB-3199-7F11-1E6E66F0F896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8325600" y="3315150"/>
            <a:ext cx="2952000" cy="2901500"/>
          </a:xfrm>
          <a:solidFill>
            <a:srgbClr val="2D3D70">
              <a:alpha val="90000"/>
              <a:tint val="40000"/>
              <a:hueOff val="0"/>
              <a:satOff val="0"/>
              <a:lumOff val="0"/>
              <a:alphaOff val="0"/>
            </a:srgbClr>
          </a:solidFill>
          <a:ln w="12700" cap="flat" cmpd="sng" algn="ctr">
            <a:solidFill>
              <a:srgbClr val="2D3D70">
                <a:alpha val="90000"/>
                <a:tint val="40000"/>
                <a:hueOff val="0"/>
                <a:satOff val="0"/>
                <a:lumOff val="0"/>
                <a:alphaOff val="0"/>
              </a:srgbClr>
            </a:solidFill>
            <a:prstDash val="solid"/>
            <a:miter lim="800000"/>
          </a:ln>
          <a:effectLst/>
        </p:spPr>
        <p:txBody>
          <a:bodyPr spcFirstLastPara="0" vert="horz" wrap="square" lIns="180000" tIns="261366" rIns="180000" bIns="392049" numCol="1" spcCol="1270" rtlCol="0" anchor="t" anchorCtr="0">
            <a:noAutofit/>
          </a:bodyPr>
          <a:lstStyle>
            <a:lvl1pPr>
              <a:defRPr lang="pt-BR" sz="1300" b="0" i="0" u="none" strike="noStrike" cap="none" dirty="0">
                <a:solidFill>
                  <a:schemeClr val="tx1"/>
                </a:solidFill>
                <a:ea typeface="Arial"/>
                <a:cs typeface="Arial"/>
              </a:defRPr>
            </a:lvl1pPr>
          </a:lstStyle>
          <a:p>
            <a:pPr marR="0" lv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</a:pPr>
            <a:r>
              <a:rPr lang="pt-BR"/>
              <a:t>Clique para editar os estilos de texto Mestres</a:t>
            </a:r>
          </a:p>
        </p:txBody>
      </p:sp>
      <p:sp>
        <p:nvSpPr>
          <p:cNvPr id="13" name="Espaço Reservado para Texto 5">
            <a:extLst>
              <a:ext uri="{FF2B5EF4-FFF2-40B4-BE49-F238E27FC236}">
                <a16:creationId xmlns:a16="http://schemas.microsoft.com/office/drawing/2014/main" id="{B8F1D9A9-B7F4-BE71-F7ED-0A07DA24A98C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1824038" y="2961188"/>
            <a:ext cx="2952000" cy="353377"/>
          </a:xfrm>
          <a:solidFill>
            <a:schemeClr val="accent1">
              <a:alpha val="9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spcFirstLastPara="0" vert="horz" wrap="square" lIns="180000" tIns="180000" rIns="180000" bIns="392049" numCol="1" spcCol="1270" rtlCol="0" anchor="t" anchorCtr="0">
            <a:noAutofit/>
          </a:bodyPr>
          <a:lstStyle>
            <a:lvl1pPr>
              <a:defRPr lang="pt-BR" sz="1300" b="0" i="0" u="none" strike="noStrike" cap="none" spc="-40" baseline="0" dirty="0">
                <a:solidFill>
                  <a:schemeClr val="bg1"/>
                </a:solidFill>
                <a:ea typeface="Arial"/>
                <a:cs typeface="Arial"/>
              </a:defRPr>
            </a:lvl1pPr>
          </a:lstStyle>
          <a:p>
            <a:pPr marR="0" lv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</a:pPr>
            <a:r>
              <a:rPr lang="pt-BR"/>
              <a:t>Clique para editar os estilos</a:t>
            </a:r>
          </a:p>
        </p:txBody>
      </p:sp>
      <p:sp>
        <p:nvSpPr>
          <p:cNvPr id="19" name="Espaço Reservado para Texto 5">
            <a:extLst>
              <a:ext uri="{FF2B5EF4-FFF2-40B4-BE49-F238E27FC236}">
                <a16:creationId xmlns:a16="http://schemas.microsoft.com/office/drawing/2014/main" id="{980425ED-7FEC-0C8E-25E6-739799A40669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5099050" y="2961188"/>
            <a:ext cx="2952000" cy="353377"/>
          </a:xfrm>
          <a:solidFill>
            <a:schemeClr val="accent1">
              <a:alpha val="9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spcFirstLastPara="0" vert="horz" wrap="square" lIns="180000" tIns="180000" rIns="180000" bIns="392049" numCol="1" spcCol="1270" rtlCol="0" anchor="t" anchorCtr="0">
            <a:noAutofit/>
          </a:bodyPr>
          <a:lstStyle>
            <a:lvl1pPr>
              <a:defRPr lang="pt-BR" sz="1300" b="0" i="0" u="none" strike="noStrike" cap="none" spc="-40" baseline="0" dirty="0">
                <a:solidFill>
                  <a:schemeClr val="bg1"/>
                </a:solidFill>
                <a:ea typeface="Arial"/>
                <a:cs typeface="Arial"/>
              </a:defRPr>
            </a:lvl1pPr>
          </a:lstStyle>
          <a:p>
            <a:pPr marR="0" lv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</a:pPr>
            <a:r>
              <a:rPr lang="pt-BR"/>
              <a:t>Clique para editar os estilos</a:t>
            </a:r>
          </a:p>
        </p:txBody>
      </p:sp>
      <p:sp>
        <p:nvSpPr>
          <p:cNvPr id="20" name="Espaço Reservado para Texto 5">
            <a:extLst>
              <a:ext uri="{FF2B5EF4-FFF2-40B4-BE49-F238E27FC236}">
                <a16:creationId xmlns:a16="http://schemas.microsoft.com/office/drawing/2014/main" id="{C5B6446B-3A90-952C-4B30-11612A5C500B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8325600" y="2961188"/>
            <a:ext cx="2952000" cy="353377"/>
          </a:xfrm>
          <a:solidFill>
            <a:schemeClr val="accent1">
              <a:alpha val="9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spcFirstLastPara="0" vert="horz" wrap="square" lIns="180000" tIns="180000" rIns="180000" bIns="392049" numCol="1" spcCol="1270" rtlCol="0" anchor="t" anchorCtr="0">
            <a:noAutofit/>
          </a:bodyPr>
          <a:lstStyle>
            <a:lvl1pPr>
              <a:defRPr lang="pt-BR" sz="1300" b="0" i="0" u="none" strike="noStrike" cap="none" spc="-40" baseline="0" dirty="0">
                <a:solidFill>
                  <a:schemeClr val="bg1"/>
                </a:solidFill>
                <a:ea typeface="Arial"/>
                <a:cs typeface="Arial"/>
              </a:defRPr>
            </a:lvl1pPr>
          </a:lstStyle>
          <a:p>
            <a:pPr marR="0" lv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</a:pPr>
            <a:r>
              <a:rPr lang="pt-BR"/>
              <a:t>Clique para editar os estilos</a:t>
            </a:r>
          </a:p>
        </p:txBody>
      </p:sp>
      <p:pic>
        <p:nvPicPr>
          <p:cNvPr id="2" name="Imagem 1" descr="Logotipo&#10;&#10;Descrição gerada automaticamente">
            <a:extLst>
              <a:ext uri="{FF2B5EF4-FFF2-40B4-BE49-F238E27FC236}">
                <a16:creationId xmlns:a16="http://schemas.microsoft.com/office/drawing/2014/main" id="{0EC2B83C-9E2E-3F15-9152-6DD23C36ADAB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9877675" y="278512"/>
            <a:ext cx="864013" cy="507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8001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9E3206E-0AB7-B63C-651D-884C11379B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62350" y="2090737"/>
            <a:ext cx="6832600" cy="2674937"/>
          </a:xfrm>
        </p:spPr>
        <p:txBody>
          <a:bodyPr anchor="ctr"/>
          <a:lstStyle>
            <a:lvl1pPr>
              <a:lnSpc>
                <a:spcPct val="80000"/>
              </a:lnSpc>
              <a:defRPr lang="pt-BR" sz="4400" b="1" i="0" u="none" strike="noStrike" kern="1200" cap="none" spc="-100" baseline="0" dirty="0" smtClean="0">
                <a:solidFill>
                  <a:schemeClr val="accent1"/>
                </a:solidFill>
                <a:latin typeface="+mj-lt"/>
                <a:ea typeface="+mj-ea"/>
                <a:cs typeface="+mj-cs"/>
                <a:sym typeface="Arial"/>
              </a:defRPr>
            </a:lvl1pPr>
          </a:lstStyle>
          <a:p>
            <a:r>
              <a:rPr lang="pt-BR"/>
              <a:t>Clique para editar o título</a:t>
            </a:r>
          </a:p>
        </p:txBody>
      </p:sp>
      <p:sp>
        <p:nvSpPr>
          <p:cNvPr id="7" name="Espaço Reservado para Texto 4">
            <a:extLst>
              <a:ext uri="{FF2B5EF4-FFF2-40B4-BE49-F238E27FC236}">
                <a16:creationId xmlns:a16="http://schemas.microsoft.com/office/drawing/2014/main" id="{B9457824-AFC5-539D-B4C1-7A3A5E03DD0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538538" y="4268788"/>
            <a:ext cx="6892925" cy="496887"/>
          </a:xfrm>
        </p:spPr>
        <p:txBody>
          <a:bodyPr lIns="108000" anchor="ctr">
            <a:normAutofit/>
          </a:bodyPr>
          <a:lstStyle>
            <a:lvl1pPr>
              <a:defRPr sz="1100" b="0" cap="all" spc="100" baseline="0">
                <a:solidFill>
                  <a:schemeClr val="tx2"/>
                </a:solidFill>
              </a:defRPr>
            </a:lvl1pPr>
          </a:lstStyle>
          <a:p>
            <a:endParaRPr lang="pt-BR"/>
          </a:p>
        </p:txBody>
      </p:sp>
      <p:pic>
        <p:nvPicPr>
          <p:cNvPr id="8" name="Gráfico 7">
            <a:extLst>
              <a:ext uri="{FF2B5EF4-FFF2-40B4-BE49-F238E27FC236}">
                <a16:creationId xmlns:a16="http://schemas.microsoft.com/office/drawing/2014/main" id="{1575969D-0F0E-88B6-17B4-F083C94DB6A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-4438651" y="0"/>
            <a:ext cx="6858000" cy="6858000"/>
          </a:xfrm>
          <a:prstGeom prst="rect">
            <a:avLst/>
          </a:prstGeom>
        </p:spPr>
      </p:pic>
      <p:pic>
        <p:nvPicPr>
          <p:cNvPr id="9" name="Gráfico 8">
            <a:extLst>
              <a:ext uri="{FF2B5EF4-FFF2-40B4-BE49-F238E27FC236}">
                <a16:creationId xmlns:a16="http://schemas.microsoft.com/office/drawing/2014/main" id="{CE54C1C0-D953-09FC-46AB-1CD803756B67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68362" y="4357257"/>
            <a:ext cx="1577057" cy="1853043"/>
          </a:xfrm>
          <a:prstGeom prst="rect">
            <a:avLst/>
          </a:prstGeom>
        </p:spPr>
      </p:pic>
      <p:pic>
        <p:nvPicPr>
          <p:cNvPr id="10" name="Gráfico 9">
            <a:extLst>
              <a:ext uri="{FF2B5EF4-FFF2-40B4-BE49-F238E27FC236}">
                <a16:creationId xmlns:a16="http://schemas.microsoft.com/office/drawing/2014/main" id="{15B50A3B-6C12-DE17-8536-FE3F8B4AA77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38386" y="476863"/>
            <a:ext cx="1412714" cy="8297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507668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Layout Personalizado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9E3206E-0AB7-B63C-651D-884C11379B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62350" y="2090737"/>
            <a:ext cx="6832600" cy="2674937"/>
          </a:xfrm>
        </p:spPr>
        <p:txBody>
          <a:bodyPr anchor="ctr"/>
          <a:lstStyle>
            <a:lvl1pPr>
              <a:lnSpc>
                <a:spcPct val="80000"/>
              </a:lnSpc>
              <a:defRPr lang="pt-BR" sz="4400" b="1" i="0" u="none" strike="noStrike" kern="1200" cap="none" spc="-100" baseline="0" dirty="0" smtClean="0">
                <a:solidFill>
                  <a:schemeClr val="bg1"/>
                </a:solidFill>
                <a:latin typeface="+mj-lt"/>
                <a:ea typeface="+mj-ea"/>
                <a:cs typeface="+mj-cs"/>
                <a:sym typeface="Arial"/>
              </a:defRPr>
            </a:lvl1pPr>
          </a:lstStyle>
          <a:p>
            <a:r>
              <a:rPr lang="pt-BR"/>
              <a:t>Clique para editar o título</a:t>
            </a:r>
          </a:p>
        </p:txBody>
      </p:sp>
      <p:sp>
        <p:nvSpPr>
          <p:cNvPr id="7" name="Espaço Reservado para Texto 4">
            <a:extLst>
              <a:ext uri="{FF2B5EF4-FFF2-40B4-BE49-F238E27FC236}">
                <a16:creationId xmlns:a16="http://schemas.microsoft.com/office/drawing/2014/main" id="{B9457824-AFC5-539D-B4C1-7A3A5E03DD0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538538" y="4268788"/>
            <a:ext cx="6892925" cy="496887"/>
          </a:xfrm>
        </p:spPr>
        <p:txBody>
          <a:bodyPr lIns="108000" anchor="ctr">
            <a:normAutofit/>
          </a:bodyPr>
          <a:lstStyle>
            <a:lvl1pPr>
              <a:defRPr sz="1100" b="0" cap="all" spc="100" baseline="0">
                <a:solidFill>
                  <a:schemeClr val="bg2"/>
                </a:solidFill>
              </a:defRPr>
            </a:lvl1pPr>
          </a:lstStyle>
          <a:p>
            <a:endParaRPr lang="pt-BR"/>
          </a:p>
        </p:txBody>
      </p:sp>
      <p:pic>
        <p:nvPicPr>
          <p:cNvPr id="8" name="Gráfico 7">
            <a:extLst>
              <a:ext uri="{FF2B5EF4-FFF2-40B4-BE49-F238E27FC236}">
                <a16:creationId xmlns:a16="http://schemas.microsoft.com/office/drawing/2014/main" id="{1575969D-0F0E-88B6-17B4-F083C94DB6A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-4438651" y="0"/>
            <a:ext cx="6858000" cy="6858000"/>
          </a:xfrm>
          <a:prstGeom prst="rect">
            <a:avLst/>
          </a:prstGeom>
        </p:spPr>
      </p:pic>
      <p:pic>
        <p:nvPicPr>
          <p:cNvPr id="9" name="Gráfico 8">
            <a:extLst>
              <a:ext uri="{FF2B5EF4-FFF2-40B4-BE49-F238E27FC236}">
                <a16:creationId xmlns:a16="http://schemas.microsoft.com/office/drawing/2014/main" id="{CE54C1C0-D953-09FC-46AB-1CD803756B67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68362" y="4357257"/>
            <a:ext cx="1577057" cy="1853043"/>
          </a:xfrm>
          <a:prstGeom prst="rect">
            <a:avLst/>
          </a:prstGeom>
        </p:spPr>
      </p:pic>
      <p:pic>
        <p:nvPicPr>
          <p:cNvPr id="10" name="Gráfico 9">
            <a:extLst>
              <a:ext uri="{FF2B5EF4-FFF2-40B4-BE49-F238E27FC236}">
                <a16:creationId xmlns:a16="http://schemas.microsoft.com/office/drawing/2014/main" id="{15B50A3B-6C12-DE17-8536-FE3F8B4AA77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 l="32" r="32"/>
          <a:stretch/>
        </p:blipFill>
        <p:spPr>
          <a:xfrm>
            <a:off x="1038386" y="476863"/>
            <a:ext cx="1411800" cy="8297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342335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Layout Personalizado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9E3206E-0AB7-B63C-651D-884C11379B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62350" y="2090737"/>
            <a:ext cx="6832600" cy="2674937"/>
          </a:xfrm>
        </p:spPr>
        <p:txBody>
          <a:bodyPr anchor="ctr"/>
          <a:lstStyle>
            <a:lvl1pPr>
              <a:lnSpc>
                <a:spcPct val="80000"/>
              </a:lnSpc>
              <a:defRPr lang="pt-BR" sz="4400" b="1" i="0" u="none" strike="noStrike" kern="1200" cap="none" spc="-100" baseline="0" dirty="0" smtClean="0">
                <a:solidFill>
                  <a:schemeClr val="bg1"/>
                </a:solidFill>
                <a:latin typeface="+mj-lt"/>
                <a:ea typeface="+mj-ea"/>
                <a:cs typeface="+mj-cs"/>
                <a:sym typeface="Arial"/>
              </a:defRPr>
            </a:lvl1pPr>
          </a:lstStyle>
          <a:p>
            <a:r>
              <a:rPr lang="pt-BR"/>
              <a:t>Clique para editar o título</a:t>
            </a:r>
          </a:p>
        </p:txBody>
      </p:sp>
      <p:pic>
        <p:nvPicPr>
          <p:cNvPr id="8" name="Gráfico 7">
            <a:extLst>
              <a:ext uri="{FF2B5EF4-FFF2-40B4-BE49-F238E27FC236}">
                <a16:creationId xmlns:a16="http://schemas.microsoft.com/office/drawing/2014/main" id="{1575969D-0F0E-88B6-17B4-F083C94DB6A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-4438651" y="0"/>
            <a:ext cx="6858000" cy="6858000"/>
          </a:xfrm>
          <a:prstGeom prst="rect">
            <a:avLst/>
          </a:prstGeom>
        </p:spPr>
      </p:pic>
      <p:pic>
        <p:nvPicPr>
          <p:cNvPr id="9" name="Gráfico 8">
            <a:extLst>
              <a:ext uri="{FF2B5EF4-FFF2-40B4-BE49-F238E27FC236}">
                <a16:creationId xmlns:a16="http://schemas.microsoft.com/office/drawing/2014/main" id="{CE54C1C0-D953-09FC-46AB-1CD803756B67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68362" y="4357257"/>
            <a:ext cx="1577057" cy="1853043"/>
          </a:xfrm>
          <a:prstGeom prst="rect">
            <a:avLst/>
          </a:prstGeom>
        </p:spPr>
      </p:pic>
      <p:pic>
        <p:nvPicPr>
          <p:cNvPr id="10" name="Gráfico 9">
            <a:extLst>
              <a:ext uri="{FF2B5EF4-FFF2-40B4-BE49-F238E27FC236}">
                <a16:creationId xmlns:a16="http://schemas.microsoft.com/office/drawing/2014/main" id="{15B50A3B-6C12-DE17-8536-FE3F8B4AA77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 l="32" r="32"/>
          <a:stretch/>
        </p:blipFill>
        <p:spPr>
          <a:xfrm>
            <a:off x="1038386" y="476863"/>
            <a:ext cx="1411800" cy="829797"/>
          </a:xfrm>
          <a:prstGeom prst="rect">
            <a:avLst/>
          </a:prstGeom>
        </p:spPr>
      </p:pic>
      <p:sp>
        <p:nvSpPr>
          <p:cNvPr id="19" name="Espaço Reservado para Texto 4">
            <a:extLst>
              <a:ext uri="{FF2B5EF4-FFF2-40B4-BE49-F238E27FC236}">
                <a16:creationId xmlns:a16="http://schemas.microsoft.com/office/drawing/2014/main" id="{4D87E33E-59D6-DAD1-29AD-45184F79D6C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538538" y="4268788"/>
            <a:ext cx="6892925" cy="496887"/>
          </a:xfrm>
        </p:spPr>
        <p:txBody>
          <a:bodyPr lIns="108000" anchor="ctr">
            <a:normAutofit/>
          </a:bodyPr>
          <a:lstStyle>
            <a:lvl1pPr>
              <a:defRPr sz="1100" b="0" cap="all" spc="100" baseline="0">
                <a:solidFill>
                  <a:schemeClr val="bg2"/>
                </a:solidFill>
              </a:defRPr>
            </a:lvl1pPr>
          </a:lstStyle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0308787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ço Reservado para Texto 6">
            <a:extLst>
              <a:ext uri="{FF2B5EF4-FFF2-40B4-BE49-F238E27FC236}">
                <a16:creationId xmlns:a16="http://schemas.microsoft.com/office/drawing/2014/main" id="{D6F85BE3-183D-1F4D-9986-5566BC05916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10300" y="634416"/>
            <a:ext cx="5067325" cy="447675"/>
          </a:xfrm>
        </p:spPr>
        <p:txBody>
          <a:bodyPr lIns="108000">
            <a:normAutofit/>
          </a:bodyPr>
          <a:lstStyle>
            <a:lvl1pPr>
              <a:lnSpc>
                <a:spcPct val="100000"/>
              </a:lnSpc>
              <a:defRPr sz="1100" b="0" cap="all" spc="100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pt-BR"/>
              <a:t>Título</a:t>
            </a:r>
          </a:p>
        </p:txBody>
      </p:sp>
      <p:sp>
        <p:nvSpPr>
          <p:cNvPr id="8" name="Título 7">
            <a:extLst>
              <a:ext uri="{FF2B5EF4-FFF2-40B4-BE49-F238E27FC236}">
                <a16:creationId xmlns:a16="http://schemas.microsoft.com/office/drawing/2014/main" id="{850B399A-346B-51E3-1A92-253CADB724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10300" y="929692"/>
            <a:ext cx="5067325" cy="447676"/>
          </a:xfrm>
        </p:spPr>
        <p:txBody>
          <a:bodyPr anchor="t">
            <a:noAutofit/>
          </a:bodyPr>
          <a:lstStyle>
            <a:lvl1pPr>
              <a:defRPr sz="3600" b="1" spc="-100" baseline="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10" name="Espaço Reservado para Texto 9">
            <a:extLst>
              <a:ext uri="{FF2B5EF4-FFF2-40B4-BE49-F238E27FC236}">
                <a16:creationId xmlns:a16="http://schemas.microsoft.com/office/drawing/2014/main" id="{A4BD41B5-820C-FB18-CD31-121F93FBE6B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209506" y="2090738"/>
            <a:ext cx="5068094" cy="4125912"/>
          </a:xfrm>
        </p:spPr>
        <p:txBody>
          <a:bodyPr>
            <a:noAutofit/>
          </a:bodyPr>
          <a:lstStyle>
            <a:lvl1pPr marL="0" indent="0">
              <a:lnSpc>
                <a:spcPct val="120000"/>
              </a:lnSpc>
              <a:spcBef>
                <a:spcPts val="2000"/>
              </a:spcBef>
              <a:spcAft>
                <a:spcPts val="500"/>
              </a:spcAft>
              <a:buFont typeface="Arial" panose="020B0604020202020204" pitchFamily="34" charset="0"/>
              <a:buNone/>
              <a:defRPr sz="1600" b="1" u="none">
                <a:solidFill>
                  <a:schemeClr val="accent2"/>
                </a:solidFill>
              </a:defRPr>
            </a:lvl1pPr>
            <a:lvl2pPr marL="0" indent="0">
              <a:lnSpc>
                <a:spcPct val="120000"/>
              </a:lnSpc>
              <a:spcBef>
                <a:spcPts val="0"/>
              </a:spcBef>
              <a:spcAft>
                <a:spcPts val="500"/>
              </a:spcAft>
              <a:buNone/>
              <a:defRPr sz="1400"/>
            </a:lvl2pPr>
            <a:lvl3pPr marL="792000" indent="-288000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400">
                <a:solidFill>
                  <a:schemeClr val="tx2"/>
                </a:solidFill>
              </a:defRPr>
            </a:lvl3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endParaRPr lang="pt-BR"/>
          </a:p>
        </p:txBody>
      </p:sp>
      <p:sp>
        <p:nvSpPr>
          <p:cNvPr id="6" name="Picture Placeholder 4">
            <a:extLst>
              <a:ext uri="{FF2B5EF4-FFF2-40B4-BE49-F238E27FC236}">
                <a16:creationId xmlns:a16="http://schemas.microsoft.com/office/drawing/2014/main" id="{BD69C575-C0B5-1DAA-55F9-8E736B50604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013853" y="1514150"/>
            <a:ext cx="3494354" cy="3494354"/>
          </a:xfrm>
          <a:custGeom>
            <a:avLst/>
            <a:gdLst>
              <a:gd name="connsiteX0" fmla="*/ 3543300 w 7086600"/>
              <a:gd name="connsiteY0" fmla="*/ 0 h 7086600"/>
              <a:gd name="connsiteX1" fmla="*/ 7086600 w 7086600"/>
              <a:gd name="connsiteY1" fmla="*/ 3543300 h 7086600"/>
              <a:gd name="connsiteX2" fmla="*/ 3543300 w 7086600"/>
              <a:gd name="connsiteY2" fmla="*/ 7086600 h 7086600"/>
              <a:gd name="connsiteX3" fmla="*/ 0 w 7086600"/>
              <a:gd name="connsiteY3" fmla="*/ 3543300 h 7086600"/>
              <a:gd name="connsiteX4" fmla="*/ 3543300 w 7086600"/>
              <a:gd name="connsiteY4" fmla="*/ 0 h 7086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086600" h="7086600">
                <a:moveTo>
                  <a:pt x="3543300" y="0"/>
                </a:moveTo>
                <a:cubicBezTo>
                  <a:pt x="5500211" y="0"/>
                  <a:pt x="7086600" y="1586389"/>
                  <a:pt x="7086600" y="3543300"/>
                </a:cubicBezTo>
                <a:cubicBezTo>
                  <a:pt x="7086600" y="5500211"/>
                  <a:pt x="5500211" y="7086600"/>
                  <a:pt x="3543300" y="7086600"/>
                </a:cubicBezTo>
                <a:cubicBezTo>
                  <a:pt x="1586389" y="7086600"/>
                  <a:pt x="0" y="5500211"/>
                  <a:pt x="0" y="3543300"/>
                </a:cubicBezTo>
                <a:cubicBezTo>
                  <a:pt x="0" y="1586389"/>
                  <a:pt x="1586389" y="0"/>
                  <a:pt x="35433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 sz="2000"/>
            </a:lvl1pPr>
          </a:lstStyle>
          <a:p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58212020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ço Reservado para Texto 6">
            <a:extLst>
              <a:ext uri="{FF2B5EF4-FFF2-40B4-BE49-F238E27FC236}">
                <a16:creationId xmlns:a16="http://schemas.microsoft.com/office/drawing/2014/main" id="{D6F85BE3-183D-1F4D-9986-5566BC05916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15194" y="634416"/>
            <a:ext cx="5067325" cy="447675"/>
          </a:xfrm>
        </p:spPr>
        <p:txBody>
          <a:bodyPr lIns="108000">
            <a:normAutofit/>
          </a:bodyPr>
          <a:lstStyle>
            <a:lvl1pPr>
              <a:lnSpc>
                <a:spcPct val="100000"/>
              </a:lnSpc>
              <a:defRPr sz="1100" b="0" cap="all" spc="100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pt-BR"/>
              <a:t>Título</a:t>
            </a:r>
          </a:p>
        </p:txBody>
      </p:sp>
      <p:sp>
        <p:nvSpPr>
          <p:cNvPr id="8" name="Título 7">
            <a:extLst>
              <a:ext uri="{FF2B5EF4-FFF2-40B4-BE49-F238E27FC236}">
                <a16:creationId xmlns:a16="http://schemas.microsoft.com/office/drawing/2014/main" id="{850B399A-346B-51E3-1A92-253CADB724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5194" y="929692"/>
            <a:ext cx="5067325" cy="447676"/>
          </a:xfrm>
        </p:spPr>
        <p:txBody>
          <a:bodyPr anchor="t">
            <a:noAutofit/>
          </a:bodyPr>
          <a:lstStyle>
            <a:lvl1pPr>
              <a:defRPr sz="3200" b="1" spc="-100" baseline="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10" name="Espaço Reservado para Texto 9">
            <a:extLst>
              <a:ext uri="{FF2B5EF4-FFF2-40B4-BE49-F238E27FC236}">
                <a16:creationId xmlns:a16="http://schemas.microsoft.com/office/drawing/2014/main" id="{A4BD41B5-820C-FB18-CD31-121F93FBE6B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14400" y="2090738"/>
            <a:ext cx="5068094" cy="4125912"/>
          </a:xfrm>
        </p:spPr>
        <p:txBody>
          <a:bodyPr>
            <a:noAutofit/>
          </a:bodyPr>
          <a:lstStyle>
            <a:lvl1pPr marL="0" indent="0">
              <a:lnSpc>
                <a:spcPct val="120000"/>
              </a:lnSpc>
              <a:spcBef>
                <a:spcPts val="2000"/>
              </a:spcBef>
              <a:spcAft>
                <a:spcPts val="500"/>
              </a:spcAft>
              <a:buFont typeface="Arial" panose="020B0604020202020204" pitchFamily="34" charset="0"/>
              <a:buNone/>
              <a:defRPr sz="1600" b="1" u="none">
                <a:solidFill>
                  <a:schemeClr val="accent2"/>
                </a:solidFill>
              </a:defRPr>
            </a:lvl1pPr>
            <a:lvl2pPr marL="0" indent="0">
              <a:lnSpc>
                <a:spcPct val="120000"/>
              </a:lnSpc>
              <a:spcBef>
                <a:spcPts val="0"/>
              </a:spcBef>
              <a:spcAft>
                <a:spcPts val="500"/>
              </a:spcAft>
              <a:buNone/>
              <a:defRPr sz="1400"/>
            </a:lvl2pPr>
            <a:lvl3pPr marL="792000" indent="-288000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400">
                <a:solidFill>
                  <a:schemeClr val="tx2"/>
                </a:solidFill>
              </a:defRPr>
            </a:lvl3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endParaRPr lang="pt-BR"/>
          </a:p>
        </p:txBody>
      </p:sp>
      <p:sp>
        <p:nvSpPr>
          <p:cNvPr id="6" name="Picture Placeholder 4">
            <a:extLst>
              <a:ext uri="{FF2B5EF4-FFF2-40B4-BE49-F238E27FC236}">
                <a16:creationId xmlns:a16="http://schemas.microsoft.com/office/drawing/2014/main" id="{BD69C575-C0B5-1DAA-55F9-8E736B506045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137373" y="2652353"/>
            <a:ext cx="3215912" cy="3215912"/>
          </a:xfrm>
          <a:custGeom>
            <a:avLst/>
            <a:gdLst>
              <a:gd name="connsiteX0" fmla="*/ 3543300 w 7086600"/>
              <a:gd name="connsiteY0" fmla="*/ 0 h 7086600"/>
              <a:gd name="connsiteX1" fmla="*/ 7086600 w 7086600"/>
              <a:gd name="connsiteY1" fmla="*/ 3543300 h 7086600"/>
              <a:gd name="connsiteX2" fmla="*/ 3543300 w 7086600"/>
              <a:gd name="connsiteY2" fmla="*/ 7086600 h 7086600"/>
              <a:gd name="connsiteX3" fmla="*/ 0 w 7086600"/>
              <a:gd name="connsiteY3" fmla="*/ 3543300 h 7086600"/>
              <a:gd name="connsiteX4" fmla="*/ 3543300 w 7086600"/>
              <a:gd name="connsiteY4" fmla="*/ 0 h 7086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086600" h="7086600">
                <a:moveTo>
                  <a:pt x="3543300" y="0"/>
                </a:moveTo>
                <a:cubicBezTo>
                  <a:pt x="5500211" y="0"/>
                  <a:pt x="7086600" y="1586389"/>
                  <a:pt x="7086600" y="3543300"/>
                </a:cubicBezTo>
                <a:cubicBezTo>
                  <a:pt x="7086600" y="5500211"/>
                  <a:pt x="5500211" y="7086600"/>
                  <a:pt x="3543300" y="7086600"/>
                </a:cubicBezTo>
                <a:cubicBezTo>
                  <a:pt x="1586389" y="7086600"/>
                  <a:pt x="0" y="5500211"/>
                  <a:pt x="0" y="3543300"/>
                </a:cubicBezTo>
                <a:cubicBezTo>
                  <a:pt x="0" y="1586389"/>
                  <a:pt x="1586389" y="0"/>
                  <a:pt x="35433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 sz="2000"/>
            </a:lvl1pPr>
          </a:lstStyle>
          <a:p>
            <a:r>
              <a:rPr lang="en-ID" err="1"/>
              <a:t>Imagem</a:t>
            </a:r>
            <a:endParaRPr lang="en-ID"/>
          </a:p>
        </p:txBody>
      </p:sp>
      <p:sp>
        <p:nvSpPr>
          <p:cNvPr id="2" name="Elipse 1">
            <a:extLst>
              <a:ext uri="{FF2B5EF4-FFF2-40B4-BE49-F238E27FC236}">
                <a16:creationId xmlns:a16="http://schemas.microsoft.com/office/drawing/2014/main" id="{A49AEE0D-5540-3547-BC5A-EEFF6F6E43A8}"/>
              </a:ext>
            </a:extLst>
          </p:cNvPr>
          <p:cNvSpPr/>
          <p:nvPr userDrawn="1"/>
        </p:nvSpPr>
        <p:spPr>
          <a:xfrm>
            <a:off x="6063916" y="1579387"/>
            <a:ext cx="5362826" cy="5362826"/>
          </a:xfrm>
          <a:prstGeom prst="ellipse">
            <a:avLst/>
          </a:prstGeom>
          <a:noFill/>
          <a:ln w="9525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9" name="Elipse 8">
            <a:extLst>
              <a:ext uri="{FF2B5EF4-FFF2-40B4-BE49-F238E27FC236}">
                <a16:creationId xmlns:a16="http://schemas.microsoft.com/office/drawing/2014/main" id="{C637D6D3-823D-5CA1-E4DB-1EBD83A6E131}"/>
              </a:ext>
            </a:extLst>
          </p:cNvPr>
          <p:cNvSpPr/>
          <p:nvPr userDrawn="1"/>
        </p:nvSpPr>
        <p:spPr>
          <a:xfrm>
            <a:off x="7111110" y="786063"/>
            <a:ext cx="1600274" cy="1600274"/>
          </a:xfrm>
          <a:prstGeom prst="ellipse">
            <a:avLst/>
          </a:pr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1" name="Elipse 10">
            <a:extLst>
              <a:ext uri="{FF2B5EF4-FFF2-40B4-BE49-F238E27FC236}">
                <a16:creationId xmlns:a16="http://schemas.microsoft.com/office/drawing/2014/main" id="{A80B72A2-436E-D9FD-0AF7-648ADA0BB41E}"/>
              </a:ext>
            </a:extLst>
          </p:cNvPr>
          <p:cNvSpPr/>
          <p:nvPr userDrawn="1"/>
        </p:nvSpPr>
        <p:spPr>
          <a:xfrm>
            <a:off x="10338588" y="4967534"/>
            <a:ext cx="1243812" cy="1243812"/>
          </a:xfrm>
          <a:prstGeom prst="ellipse">
            <a:avLst/>
          </a:pr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12" name="Gráfico 11">
            <a:extLst>
              <a:ext uri="{FF2B5EF4-FFF2-40B4-BE49-F238E27FC236}">
                <a16:creationId xmlns:a16="http://schemas.microsoft.com/office/drawing/2014/main" id="{E9ECFA41-67A9-E4A3-C1EE-58B458E21DE6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828972" y="-1239748"/>
            <a:ext cx="2726056" cy="2726056"/>
          </a:xfrm>
          <a:prstGeom prst="rect">
            <a:avLst/>
          </a:prstGeom>
        </p:spPr>
      </p:pic>
      <p:sp>
        <p:nvSpPr>
          <p:cNvPr id="14" name="Picture Placeholder 4">
            <a:extLst>
              <a:ext uri="{FF2B5EF4-FFF2-40B4-BE49-F238E27FC236}">
                <a16:creationId xmlns:a16="http://schemas.microsoft.com/office/drawing/2014/main" id="{C78140DF-A908-BA68-B4C7-7132F96883C0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7328107" y="1003061"/>
            <a:ext cx="1166279" cy="1166279"/>
          </a:xfrm>
          <a:custGeom>
            <a:avLst/>
            <a:gdLst>
              <a:gd name="connsiteX0" fmla="*/ 3543300 w 7086600"/>
              <a:gd name="connsiteY0" fmla="*/ 0 h 7086600"/>
              <a:gd name="connsiteX1" fmla="*/ 7086600 w 7086600"/>
              <a:gd name="connsiteY1" fmla="*/ 3543300 h 7086600"/>
              <a:gd name="connsiteX2" fmla="*/ 3543300 w 7086600"/>
              <a:gd name="connsiteY2" fmla="*/ 7086600 h 7086600"/>
              <a:gd name="connsiteX3" fmla="*/ 0 w 7086600"/>
              <a:gd name="connsiteY3" fmla="*/ 3543300 h 7086600"/>
              <a:gd name="connsiteX4" fmla="*/ 3543300 w 7086600"/>
              <a:gd name="connsiteY4" fmla="*/ 0 h 7086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086600" h="7086600">
                <a:moveTo>
                  <a:pt x="3543300" y="0"/>
                </a:moveTo>
                <a:cubicBezTo>
                  <a:pt x="5500211" y="0"/>
                  <a:pt x="7086600" y="1586389"/>
                  <a:pt x="7086600" y="3543300"/>
                </a:cubicBezTo>
                <a:cubicBezTo>
                  <a:pt x="7086600" y="5500211"/>
                  <a:pt x="5500211" y="7086600"/>
                  <a:pt x="3543300" y="7086600"/>
                </a:cubicBezTo>
                <a:cubicBezTo>
                  <a:pt x="1586389" y="7086600"/>
                  <a:pt x="0" y="5500211"/>
                  <a:pt x="0" y="3543300"/>
                </a:cubicBezTo>
                <a:cubicBezTo>
                  <a:pt x="0" y="1586389"/>
                  <a:pt x="1586389" y="0"/>
                  <a:pt x="35433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 sz="2000"/>
            </a:lvl1pPr>
          </a:lstStyle>
          <a:p>
            <a:r>
              <a:rPr lang="en-ID" err="1"/>
              <a:t>Imagem</a:t>
            </a:r>
            <a:endParaRPr lang="en-ID"/>
          </a:p>
        </p:txBody>
      </p:sp>
      <p:sp>
        <p:nvSpPr>
          <p:cNvPr id="16" name="Picture Placeholder 4">
            <a:extLst>
              <a:ext uri="{FF2B5EF4-FFF2-40B4-BE49-F238E27FC236}">
                <a16:creationId xmlns:a16="http://schemas.microsoft.com/office/drawing/2014/main" id="{BE0A0048-DD3B-B964-36C4-C7F672FEE759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10567923" y="5196870"/>
            <a:ext cx="785141" cy="785141"/>
          </a:xfrm>
          <a:custGeom>
            <a:avLst/>
            <a:gdLst>
              <a:gd name="connsiteX0" fmla="*/ 3543300 w 7086600"/>
              <a:gd name="connsiteY0" fmla="*/ 0 h 7086600"/>
              <a:gd name="connsiteX1" fmla="*/ 7086600 w 7086600"/>
              <a:gd name="connsiteY1" fmla="*/ 3543300 h 7086600"/>
              <a:gd name="connsiteX2" fmla="*/ 3543300 w 7086600"/>
              <a:gd name="connsiteY2" fmla="*/ 7086600 h 7086600"/>
              <a:gd name="connsiteX3" fmla="*/ 0 w 7086600"/>
              <a:gd name="connsiteY3" fmla="*/ 3543300 h 7086600"/>
              <a:gd name="connsiteX4" fmla="*/ 3543300 w 7086600"/>
              <a:gd name="connsiteY4" fmla="*/ 0 h 7086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086600" h="7086600">
                <a:moveTo>
                  <a:pt x="3543300" y="0"/>
                </a:moveTo>
                <a:cubicBezTo>
                  <a:pt x="5500211" y="0"/>
                  <a:pt x="7086600" y="1586389"/>
                  <a:pt x="7086600" y="3543300"/>
                </a:cubicBezTo>
                <a:cubicBezTo>
                  <a:pt x="7086600" y="5500211"/>
                  <a:pt x="5500211" y="7086600"/>
                  <a:pt x="3543300" y="7086600"/>
                </a:cubicBezTo>
                <a:cubicBezTo>
                  <a:pt x="1586389" y="7086600"/>
                  <a:pt x="0" y="5500211"/>
                  <a:pt x="0" y="3543300"/>
                </a:cubicBezTo>
                <a:cubicBezTo>
                  <a:pt x="0" y="1586389"/>
                  <a:pt x="1586389" y="0"/>
                  <a:pt x="35433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 sz="2000"/>
            </a:lvl1pPr>
          </a:lstStyle>
          <a:p>
            <a:r>
              <a:rPr lang="en-ID" err="1"/>
              <a:t>Imagem</a:t>
            </a:r>
            <a:endParaRPr lang="en-ID"/>
          </a:p>
        </p:txBody>
      </p:sp>
      <p:pic>
        <p:nvPicPr>
          <p:cNvPr id="3" name="Imagem 2" descr="Logotipo&#10;&#10;Descrição gerada automaticamente">
            <a:extLst>
              <a:ext uri="{FF2B5EF4-FFF2-40B4-BE49-F238E27FC236}">
                <a16:creationId xmlns:a16="http://schemas.microsoft.com/office/drawing/2014/main" id="{D0FB1F73-2382-C83E-EE36-306677E91D91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9877675" y="278512"/>
            <a:ext cx="864013" cy="507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082954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áfico 5">
            <a:extLst>
              <a:ext uri="{FF2B5EF4-FFF2-40B4-BE49-F238E27FC236}">
                <a16:creationId xmlns:a16="http://schemas.microsoft.com/office/drawing/2014/main" id="{63E891D6-3C9E-6CA7-58C5-A99C0C4D22B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458099" y="274462"/>
            <a:ext cx="1577057" cy="1853043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B9827399-D6D9-8189-3904-36F5D87972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4400" y="2838195"/>
            <a:ext cx="5067300" cy="1326091"/>
          </a:xfrm>
          <a:prstGeom prst="rect">
            <a:avLst/>
          </a:prstGeom>
        </p:spPr>
        <p:txBody>
          <a:bodyPr>
            <a:noAutofit/>
          </a:bodyPr>
          <a:lstStyle>
            <a:lvl1pPr marR="0" algn="l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pt-BR" sz="4800" b="1" i="0" u="none" strike="noStrike" cap="none" spc="-100" baseline="0" dirty="0">
                <a:solidFill>
                  <a:schemeClr val="accent1"/>
                </a:solidFill>
                <a:latin typeface="+mj-lt"/>
                <a:ea typeface="Arial"/>
                <a:cs typeface="Poppins" panose="00000500000000000000" pitchFamily="2" charset="0"/>
                <a:sym typeface="Arial"/>
              </a:defRPr>
            </a:lvl1pPr>
          </a:lstStyle>
          <a:p>
            <a:r>
              <a:rPr lang="pt-BR"/>
              <a:t>Clique para editar o título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53DD9C0-0B7B-4802-9204-0F90379C05A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230111" y="1170710"/>
            <a:ext cx="4516582" cy="4516582"/>
          </a:xfrm>
          <a:custGeom>
            <a:avLst/>
            <a:gdLst>
              <a:gd name="connsiteX0" fmla="*/ 3543300 w 7086600"/>
              <a:gd name="connsiteY0" fmla="*/ 0 h 7086600"/>
              <a:gd name="connsiteX1" fmla="*/ 7086600 w 7086600"/>
              <a:gd name="connsiteY1" fmla="*/ 3543300 h 7086600"/>
              <a:gd name="connsiteX2" fmla="*/ 3543300 w 7086600"/>
              <a:gd name="connsiteY2" fmla="*/ 7086600 h 7086600"/>
              <a:gd name="connsiteX3" fmla="*/ 0 w 7086600"/>
              <a:gd name="connsiteY3" fmla="*/ 3543300 h 7086600"/>
              <a:gd name="connsiteX4" fmla="*/ 3543300 w 7086600"/>
              <a:gd name="connsiteY4" fmla="*/ 0 h 7086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086600" h="7086600">
                <a:moveTo>
                  <a:pt x="3543300" y="0"/>
                </a:moveTo>
                <a:cubicBezTo>
                  <a:pt x="5500211" y="0"/>
                  <a:pt x="7086600" y="1586389"/>
                  <a:pt x="7086600" y="3543300"/>
                </a:cubicBezTo>
                <a:cubicBezTo>
                  <a:pt x="7086600" y="5500211"/>
                  <a:pt x="5500211" y="7086600"/>
                  <a:pt x="3543300" y="7086600"/>
                </a:cubicBezTo>
                <a:cubicBezTo>
                  <a:pt x="1586389" y="7086600"/>
                  <a:pt x="0" y="5500211"/>
                  <a:pt x="0" y="3543300"/>
                </a:cubicBezTo>
                <a:cubicBezTo>
                  <a:pt x="0" y="1586389"/>
                  <a:pt x="1586389" y="0"/>
                  <a:pt x="35433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 algn="ctr">
              <a:defRPr sz="1333"/>
            </a:lvl1pPr>
          </a:lstStyle>
          <a:p>
            <a:endParaRPr lang="en-ID"/>
          </a:p>
        </p:txBody>
      </p:sp>
      <p:sp>
        <p:nvSpPr>
          <p:cNvPr id="3" name="Elipse 2">
            <a:extLst>
              <a:ext uri="{FF2B5EF4-FFF2-40B4-BE49-F238E27FC236}">
                <a16:creationId xmlns:a16="http://schemas.microsoft.com/office/drawing/2014/main" id="{3DA375F6-7AA0-AEC1-BC95-CE2BAFBDE8A2}"/>
              </a:ext>
            </a:extLst>
          </p:cNvPr>
          <p:cNvSpPr/>
          <p:nvPr userDrawn="1"/>
        </p:nvSpPr>
        <p:spPr>
          <a:xfrm>
            <a:off x="6114793" y="1078111"/>
            <a:ext cx="4747217" cy="4747217"/>
          </a:xfrm>
          <a:prstGeom prst="ellipse">
            <a:avLst/>
          </a:prstGeom>
          <a:noFill/>
          <a:ln w="28575">
            <a:solidFill>
              <a:schemeClr val="bg1"/>
            </a:solidFill>
            <a:extLst>
              <a:ext uri="{C807C97D-BFC1-408E-A445-0C87EB9F89A2}">
                <ask:lineSketchStyleProps xmlns:ask="http://schemas.microsoft.com/office/drawing/2018/sketchyshapes" sd="264327539">
                  <a:custGeom>
                    <a:avLst/>
                    <a:gdLst>
                      <a:gd name="connsiteX0" fmla="*/ 0 w 4747217"/>
                      <a:gd name="connsiteY0" fmla="*/ 2373609 h 4747217"/>
                      <a:gd name="connsiteX1" fmla="*/ 2373609 w 4747217"/>
                      <a:gd name="connsiteY1" fmla="*/ 0 h 4747217"/>
                      <a:gd name="connsiteX2" fmla="*/ 4747218 w 4747217"/>
                      <a:gd name="connsiteY2" fmla="*/ 2373609 h 4747217"/>
                      <a:gd name="connsiteX3" fmla="*/ 2373609 w 4747217"/>
                      <a:gd name="connsiteY3" fmla="*/ 4747218 h 4747217"/>
                      <a:gd name="connsiteX4" fmla="*/ 0 w 4747217"/>
                      <a:gd name="connsiteY4" fmla="*/ 2373609 h 474721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747217" h="4747217" extrusionOk="0">
                        <a:moveTo>
                          <a:pt x="0" y="2373609"/>
                        </a:moveTo>
                        <a:cubicBezTo>
                          <a:pt x="-47287" y="930507"/>
                          <a:pt x="1050209" y="-151600"/>
                          <a:pt x="2373609" y="0"/>
                        </a:cubicBezTo>
                        <a:cubicBezTo>
                          <a:pt x="3459270" y="-54555"/>
                          <a:pt x="4685701" y="1074288"/>
                          <a:pt x="4747218" y="2373609"/>
                        </a:cubicBezTo>
                        <a:cubicBezTo>
                          <a:pt x="4844760" y="3890868"/>
                          <a:pt x="3836141" y="4684234"/>
                          <a:pt x="2373609" y="4747218"/>
                        </a:cubicBezTo>
                        <a:cubicBezTo>
                          <a:pt x="1311770" y="4759003"/>
                          <a:pt x="3635" y="3726051"/>
                          <a:pt x="0" y="2373609"/>
                        </a:cubicBezTo>
                        <a:close/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933"/>
          </a:p>
        </p:txBody>
      </p:sp>
      <p:pic>
        <p:nvPicPr>
          <p:cNvPr id="9" name="Gráfico 8">
            <a:extLst>
              <a:ext uri="{FF2B5EF4-FFF2-40B4-BE49-F238E27FC236}">
                <a16:creationId xmlns:a16="http://schemas.microsoft.com/office/drawing/2014/main" id="{F3284FE4-4CFB-8D54-E3D2-F2EE05FC531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38386" y="1200983"/>
            <a:ext cx="1412714" cy="829797"/>
          </a:xfrm>
          <a:prstGeom prst="rect">
            <a:avLst/>
          </a:prstGeom>
        </p:spPr>
      </p:pic>
      <p:pic>
        <p:nvPicPr>
          <p:cNvPr id="11" name="Gráfico 10">
            <a:extLst>
              <a:ext uri="{FF2B5EF4-FFF2-40B4-BE49-F238E27FC236}">
                <a16:creationId xmlns:a16="http://schemas.microsoft.com/office/drawing/2014/main" id="{E1E74A66-AB3B-0B9D-E917-184B6A4C9939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-585919" y="-473413"/>
            <a:ext cx="1577057" cy="1853043"/>
          </a:xfrm>
          <a:prstGeom prst="rect">
            <a:avLst/>
          </a:prstGeom>
        </p:spPr>
      </p:pic>
      <p:sp>
        <p:nvSpPr>
          <p:cNvPr id="13" name="Título 1">
            <a:extLst>
              <a:ext uri="{FF2B5EF4-FFF2-40B4-BE49-F238E27FC236}">
                <a16:creationId xmlns:a16="http://schemas.microsoft.com/office/drawing/2014/main" id="{40E63747-3802-E5CE-C8ED-52D01051B737}"/>
              </a:ext>
            </a:extLst>
          </p:cNvPr>
          <p:cNvSpPr txBox="1">
            <a:spLocks/>
          </p:cNvSpPr>
          <p:nvPr userDrawn="1"/>
        </p:nvSpPr>
        <p:spPr>
          <a:xfrm>
            <a:off x="914400" y="4763247"/>
            <a:ext cx="5067300" cy="1326091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R="0" algn="l" defTabSz="914400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lang="pt-BR" sz="4800" b="1" i="0" u="none" strike="noStrike" kern="1200" cap="none" spc="-40" baseline="0" dirty="0">
                <a:solidFill>
                  <a:schemeClr val="accent1"/>
                </a:solidFill>
                <a:latin typeface="+mj-lt"/>
                <a:ea typeface="Arial"/>
                <a:cs typeface="Poppins" panose="00000500000000000000" pitchFamily="2" charset="0"/>
                <a:sym typeface="Arial"/>
              </a:defRPr>
            </a:lvl1pPr>
          </a:lstStyle>
          <a:p>
            <a:endParaRPr lang="pt-BR"/>
          </a:p>
        </p:txBody>
      </p:sp>
      <p:sp>
        <p:nvSpPr>
          <p:cNvPr id="15" name="Espaço Reservado para Texto 14">
            <a:extLst>
              <a:ext uri="{FF2B5EF4-FFF2-40B4-BE49-F238E27FC236}">
                <a16:creationId xmlns:a16="http://schemas.microsoft.com/office/drawing/2014/main" id="{6AB1257F-413F-25D8-39C5-3FCF673DA0F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14400" y="4268788"/>
            <a:ext cx="5067300" cy="261937"/>
          </a:xfrm>
        </p:spPr>
        <p:txBody>
          <a:bodyPr>
            <a:noAutofit/>
          </a:bodyPr>
          <a:lstStyle>
            <a:lvl1pPr marR="0" algn="l" defTabSz="914400" rtl="0" eaLnBrk="1" latinLnBrk="0" hangingPunct="1">
              <a:lnSpc>
                <a:spcPct val="100000"/>
              </a:lnSpc>
              <a:spcBef>
                <a:spcPts val="2000"/>
              </a:spcBef>
              <a:spcAft>
                <a:spcPts val="500"/>
              </a:spcAft>
              <a:buClr>
                <a:srgbClr val="000000"/>
              </a:buClr>
              <a:buFont typeface="Arial"/>
              <a:buNone/>
              <a:defRPr lang="pt-BR" sz="1100" b="0" i="0" u="none" strike="noStrike" kern="1200" cap="all" spc="10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Arial"/>
              </a:defRPr>
            </a:lvl1pPr>
            <a:lvl2pPr marL="0" marR="0" indent="0" algn="l" defTabSz="914400" rtl="0" eaLnBrk="1" latinLnBrk="0" hangingPunct="1">
              <a:lnSpc>
                <a:spcPct val="100000"/>
              </a:lnSpc>
              <a:spcBef>
                <a:spcPts val="2000"/>
              </a:spcBef>
              <a:spcAft>
                <a:spcPts val="500"/>
              </a:spcAft>
              <a:buClr>
                <a:srgbClr val="000000"/>
              </a:buClr>
              <a:buFont typeface="Arial"/>
              <a:buNone/>
              <a:defRPr lang="pt-BR" sz="1100" b="0" i="0" u="none" strike="noStrike" kern="1200" cap="all" spc="10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Arial"/>
              </a:defRPr>
            </a:lvl2pPr>
          </a:lstStyle>
          <a:p>
            <a:pPr lvl="0"/>
            <a:r>
              <a:rPr lang="pt-BR"/>
              <a:t>Clique para editar os estilos de texto Mestres</a:t>
            </a:r>
          </a:p>
        </p:txBody>
      </p:sp>
      <p:pic>
        <p:nvPicPr>
          <p:cNvPr id="4" name="Gráfico 3">
            <a:extLst>
              <a:ext uri="{FF2B5EF4-FFF2-40B4-BE49-F238E27FC236}">
                <a16:creationId xmlns:a16="http://schemas.microsoft.com/office/drawing/2014/main" id="{1E35B455-200F-4413-6A26-E292AAB88A11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 flipH="1">
            <a:off x="10751250" y="5199385"/>
            <a:ext cx="953097" cy="953097"/>
          </a:xfrm>
          <a:prstGeom prst="rect">
            <a:avLst/>
          </a:prstGeom>
        </p:spPr>
      </p:pic>
      <p:sp>
        <p:nvSpPr>
          <p:cNvPr id="7" name="Arco">
            <a:extLst>
              <a:ext uri="{FF2B5EF4-FFF2-40B4-BE49-F238E27FC236}">
                <a16:creationId xmlns:a16="http://schemas.microsoft.com/office/drawing/2014/main" id="{FEACC453-19FE-F672-C06C-EFABEC608F0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6604789">
            <a:off x="6305041" y="536830"/>
            <a:ext cx="2987899" cy="2987899"/>
          </a:xfrm>
          <a:prstGeom prst="arc">
            <a:avLst>
              <a:gd name="adj1" fmla="val 14455503"/>
              <a:gd name="adj2" fmla="val 0"/>
            </a:avLst>
          </a:prstGeom>
          <a:ln w="127000" cap="rnd">
            <a:solidFill>
              <a:schemeClr val="bg2"/>
            </a:solidFill>
            <a:prstDash val="dash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Rectangle: Rounded Corners 11">
            <a:extLst>
              <a:ext uri="{FF2B5EF4-FFF2-40B4-BE49-F238E27FC236}">
                <a16:creationId xmlns:a16="http://schemas.microsoft.com/office/drawing/2014/main" id="{5DDD0DB3-501E-0143-8384-4B5B0B19366F}"/>
              </a:ext>
            </a:extLst>
          </p:cNvPr>
          <p:cNvSpPr/>
          <p:nvPr userDrawn="1"/>
        </p:nvSpPr>
        <p:spPr>
          <a:xfrm>
            <a:off x="914399" y="5094580"/>
            <a:ext cx="1725959" cy="396583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err="1">
                <a:solidFill>
                  <a:schemeClr val="bg1"/>
                </a:solidFill>
              </a:rPr>
              <a:t>Iniciar</a:t>
            </a:r>
            <a:r>
              <a:rPr lang="en-US" sz="1100">
                <a:solidFill>
                  <a:schemeClr val="bg1"/>
                </a:solidFill>
              </a:rPr>
              <a:t> </a:t>
            </a:r>
            <a:r>
              <a:rPr lang="en-US" sz="1100" err="1">
                <a:solidFill>
                  <a:schemeClr val="bg1"/>
                </a:solidFill>
              </a:rPr>
              <a:t>Apresentação</a:t>
            </a:r>
            <a:endParaRPr lang="en-ID" sz="11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2744653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Layout Personalizado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ítulo 7">
            <a:extLst>
              <a:ext uri="{FF2B5EF4-FFF2-40B4-BE49-F238E27FC236}">
                <a16:creationId xmlns:a16="http://schemas.microsoft.com/office/drawing/2014/main" id="{850B399A-346B-51E3-1A92-253CADB7249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10300" y="1398588"/>
            <a:ext cx="5067325" cy="447676"/>
          </a:xfrm>
        </p:spPr>
        <p:txBody>
          <a:bodyPr anchor="t">
            <a:noAutofit/>
          </a:bodyPr>
          <a:lstStyle>
            <a:lvl1pPr>
              <a:defRPr sz="3000" b="1" spc="-100" baseline="0">
                <a:solidFill>
                  <a:schemeClr val="bg1"/>
                </a:solidFill>
              </a:defRPr>
            </a:lvl1pPr>
          </a:lstStyle>
          <a:p>
            <a:r>
              <a:rPr lang="pt-BR"/>
              <a:t>Título Mestre</a:t>
            </a:r>
          </a:p>
        </p:txBody>
      </p:sp>
      <p:sp>
        <p:nvSpPr>
          <p:cNvPr id="10" name="Espaço Reservado para Texto 9">
            <a:extLst>
              <a:ext uri="{FF2B5EF4-FFF2-40B4-BE49-F238E27FC236}">
                <a16:creationId xmlns:a16="http://schemas.microsoft.com/office/drawing/2014/main" id="{A4BD41B5-820C-FB18-CD31-121F93FBE6B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209506" y="2090738"/>
            <a:ext cx="5068094" cy="4125912"/>
          </a:xfrm>
        </p:spPr>
        <p:txBody>
          <a:bodyPr>
            <a:noAutofit/>
          </a:bodyPr>
          <a:lstStyle>
            <a:lvl1pPr marL="0" indent="0">
              <a:lnSpc>
                <a:spcPct val="120000"/>
              </a:lnSpc>
              <a:spcBef>
                <a:spcPts val="2000"/>
              </a:spcBef>
              <a:spcAft>
                <a:spcPts val="500"/>
              </a:spcAft>
              <a:buFont typeface="Arial" panose="020B0604020202020204" pitchFamily="34" charset="0"/>
              <a:buNone/>
              <a:defRPr sz="1500" b="1" u="none">
                <a:solidFill>
                  <a:schemeClr val="accent2"/>
                </a:solidFill>
              </a:defRPr>
            </a:lvl1pPr>
            <a:lvl2pPr marL="0" indent="0">
              <a:lnSpc>
                <a:spcPct val="120000"/>
              </a:lnSpc>
              <a:spcBef>
                <a:spcPts val="0"/>
              </a:spcBef>
              <a:spcAft>
                <a:spcPts val="500"/>
              </a:spcAft>
              <a:buNone/>
              <a:defRPr sz="1300">
                <a:solidFill>
                  <a:schemeClr val="bg1"/>
                </a:solidFill>
              </a:defRPr>
            </a:lvl2pPr>
            <a:lvl3pPr marL="792000" indent="-288000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400">
                <a:solidFill>
                  <a:schemeClr val="bg2"/>
                </a:solidFill>
              </a:defRPr>
            </a:lvl3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endParaRPr lang="pt-BR"/>
          </a:p>
        </p:txBody>
      </p:sp>
      <p:pic>
        <p:nvPicPr>
          <p:cNvPr id="2" name="Gráfico 1">
            <a:extLst>
              <a:ext uri="{FF2B5EF4-FFF2-40B4-BE49-F238E27FC236}">
                <a16:creationId xmlns:a16="http://schemas.microsoft.com/office/drawing/2014/main" id="{0A5879CF-3A57-F8C5-5DB7-0DDBF0702F55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638510" y="1335128"/>
            <a:ext cx="1022272" cy="1022272"/>
          </a:xfrm>
          <a:prstGeom prst="rect">
            <a:avLst/>
          </a:prstGeom>
        </p:spPr>
      </p:pic>
      <p:pic>
        <p:nvPicPr>
          <p:cNvPr id="3" name="Gráfico 2">
            <a:extLst>
              <a:ext uri="{FF2B5EF4-FFF2-40B4-BE49-F238E27FC236}">
                <a16:creationId xmlns:a16="http://schemas.microsoft.com/office/drawing/2014/main" id="{65263578-CBA1-22C2-E629-7BBA7BA793D8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-888620" y="-1239748"/>
            <a:ext cx="2726056" cy="2726056"/>
          </a:xfrm>
          <a:prstGeom prst="rect">
            <a:avLst/>
          </a:prstGeom>
        </p:spPr>
      </p:pic>
      <p:pic>
        <p:nvPicPr>
          <p:cNvPr id="4" name="Gráfico 3">
            <a:extLst>
              <a:ext uri="{FF2B5EF4-FFF2-40B4-BE49-F238E27FC236}">
                <a16:creationId xmlns:a16="http://schemas.microsoft.com/office/drawing/2014/main" id="{139BA4FB-8314-FDEC-15F0-E08569D9D4CB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109642" y="5660305"/>
            <a:ext cx="681514" cy="681514"/>
          </a:xfrm>
          <a:prstGeom prst="rect">
            <a:avLst/>
          </a:prstGeom>
        </p:spPr>
      </p:pic>
      <p:sp>
        <p:nvSpPr>
          <p:cNvPr id="6" name="Picture Placeholder 4">
            <a:extLst>
              <a:ext uri="{FF2B5EF4-FFF2-40B4-BE49-F238E27FC236}">
                <a16:creationId xmlns:a16="http://schemas.microsoft.com/office/drawing/2014/main" id="{BD69C575-C0B5-1DAA-55F9-8E736B50604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949568" y="1642454"/>
            <a:ext cx="4061502" cy="4061502"/>
          </a:xfrm>
          <a:custGeom>
            <a:avLst/>
            <a:gdLst>
              <a:gd name="connsiteX0" fmla="*/ 3543300 w 7086600"/>
              <a:gd name="connsiteY0" fmla="*/ 0 h 7086600"/>
              <a:gd name="connsiteX1" fmla="*/ 7086600 w 7086600"/>
              <a:gd name="connsiteY1" fmla="*/ 3543300 h 7086600"/>
              <a:gd name="connsiteX2" fmla="*/ 3543300 w 7086600"/>
              <a:gd name="connsiteY2" fmla="*/ 7086600 h 7086600"/>
              <a:gd name="connsiteX3" fmla="*/ 0 w 7086600"/>
              <a:gd name="connsiteY3" fmla="*/ 3543300 h 7086600"/>
              <a:gd name="connsiteX4" fmla="*/ 3543300 w 7086600"/>
              <a:gd name="connsiteY4" fmla="*/ 0 h 7086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086600" h="7086600">
                <a:moveTo>
                  <a:pt x="3543300" y="0"/>
                </a:moveTo>
                <a:cubicBezTo>
                  <a:pt x="5500211" y="0"/>
                  <a:pt x="7086600" y="1586389"/>
                  <a:pt x="7086600" y="3543300"/>
                </a:cubicBezTo>
                <a:cubicBezTo>
                  <a:pt x="7086600" y="5500211"/>
                  <a:pt x="5500211" y="7086600"/>
                  <a:pt x="3543300" y="7086600"/>
                </a:cubicBezTo>
                <a:cubicBezTo>
                  <a:pt x="1586389" y="7086600"/>
                  <a:pt x="0" y="5500211"/>
                  <a:pt x="0" y="3543300"/>
                </a:cubicBezTo>
                <a:cubicBezTo>
                  <a:pt x="0" y="1586389"/>
                  <a:pt x="1586389" y="0"/>
                  <a:pt x="35433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 sz="2000"/>
            </a:lvl1pPr>
          </a:lstStyle>
          <a:p>
            <a:endParaRPr lang="en-ID"/>
          </a:p>
        </p:txBody>
      </p:sp>
      <p:sp>
        <p:nvSpPr>
          <p:cNvPr id="12" name="Espaço Reservado para Imagem 10">
            <a:extLst>
              <a:ext uri="{FF2B5EF4-FFF2-40B4-BE49-F238E27FC236}">
                <a16:creationId xmlns:a16="http://schemas.microsoft.com/office/drawing/2014/main" id="{82EDB949-E31F-851E-8023-22D09B234E03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74745" y="1494631"/>
            <a:ext cx="1190998" cy="1395317"/>
          </a:xfrm>
        </p:spPr>
        <p:txBody>
          <a:bodyPr/>
          <a:lstStyle>
            <a:lvl1pPr>
              <a:defRPr spc="-50" baseline="0"/>
            </a:lvl1pPr>
          </a:lstStyle>
          <a:p>
            <a:r>
              <a:rPr lang="pt-BR"/>
              <a:t>Grafismo</a:t>
            </a:r>
            <a:br>
              <a:rPr lang="pt-BR"/>
            </a:br>
            <a:r>
              <a:rPr lang="pt-BR"/>
              <a:t>(opcional)</a:t>
            </a:r>
          </a:p>
        </p:txBody>
      </p:sp>
    </p:spTree>
    <p:extLst>
      <p:ext uri="{BB962C8B-B14F-4D97-AF65-F5344CB8AC3E}">
        <p14:creationId xmlns:p14="http://schemas.microsoft.com/office/powerpoint/2010/main" val="84601474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Layout Personalizado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val 6">
            <a:extLst>
              <a:ext uri="{FF2B5EF4-FFF2-40B4-BE49-F238E27FC236}">
                <a16:creationId xmlns:a16="http://schemas.microsoft.com/office/drawing/2014/main" id="{834422CA-98D0-C42F-0C28-8A89C29CEF93}"/>
              </a:ext>
            </a:extLst>
          </p:cNvPr>
          <p:cNvSpPr/>
          <p:nvPr userDrawn="1"/>
        </p:nvSpPr>
        <p:spPr>
          <a:xfrm>
            <a:off x="-279474" y="3770819"/>
            <a:ext cx="2140804" cy="2135020"/>
          </a:xfrm>
          <a:prstGeom prst="ellipse">
            <a:avLst/>
          </a:prstGeom>
          <a:solidFill>
            <a:srgbClr val="F461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sz="1351"/>
          </a:p>
        </p:txBody>
      </p:sp>
      <p:pic>
        <p:nvPicPr>
          <p:cNvPr id="4" name="Gráfico 3">
            <a:extLst>
              <a:ext uri="{FF2B5EF4-FFF2-40B4-BE49-F238E27FC236}">
                <a16:creationId xmlns:a16="http://schemas.microsoft.com/office/drawing/2014/main" id="{E1A1E57D-5415-FF9C-C2D4-D14B5775926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435006" y="1136650"/>
            <a:ext cx="1712170" cy="1707542"/>
          </a:xfrm>
          <a:prstGeom prst="rect">
            <a:avLst/>
          </a:prstGeom>
        </p:spPr>
      </p:pic>
      <p:sp>
        <p:nvSpPr>
          <p:cNvPr id="5" name="Oval 5">
            <a:extLst>
              <a:ext uri="{FF2B5EF4-FFF2-40B4-BE49-F238E27FC236}">
                <a16:creationId xmlns:a16="http://schemas.microsoft.com/office/drawing/2014/main" id="{A501F69B-8309-1299-025A-632B85EADA6F}"/>
              </a:ext>
            </a:extLst>
          </p:cNvPr>
          <p:cNvSpPr/>
          <p:nvPr userDrawn="1"/>
        </p:nvSpPr>
        <p:spPr>
          <a:xfrm>
            <a:off x="949082" y="1438270"/>
            <a:ext cx="3633370" cy="3623546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sz="1351"/>
          </a:p>
        </p:txBody>
      </p:sp>
      <p:sp>
        <p:nvSpPr>
          <p:cNvPr id="7" name="Espaço Reservado para Texto 6">
            <a:extLst>
              <a:ext uri="{FF2B5EF4-FFF2-40B4-BE49-F238E27FC236}">
                <a16:creationId xmlns:a16="http://schemas.microsoft.com/office/drawing/2014/main" id="{D6F85BE3-183D-1F4D-9986-5566BC05916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10300" y="634416"/>
            <a:ext cx="5067325" cy="447675"/>
          </a:xfrm>
        </p:spPr>
        <p:txBody>
          <a:bodyPr lIns="108000">
            <a:normAutofit/>
          </a:bodyPr>
          <a:lstStyle>
            <a:lvl1pPr>
              <a:lnSpc>
                <a:spcPct val="100000"/>
              </a:lnSpc>
              <a:defRPr sz="1100" b="0" cap="all" spc="100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pt-BR"/>
              <a:t>Título</a:t>
            </a:r>
          </a:p>
        </p:txBody>
      </p:sp>
      <p:sp>
        <p:nvSpPr>
          <p:cNvPr id="8" name="Título 7">
            <a:extLst>
              <a:ext uri="{FF2B5EF4-FFF2-40B4-BE49-F238E27FC236}">
                <a16:creationId xmlns:a16="http://schemas.microsoft.com/office/drawing/2014/main" id="{850B399A-346B-51E3-1A92-253CADB724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10300" y="929692"/>
            <a:ext cx="5067325" cy="447676"/>
          </a:xfrm>
        </p:spPr>
        <p:txBody>
          <a:bodyPr anchor="t">
            <a:noAutofit/>
          </a:bodyPr>
          <a:lstStyle>
            <a:lvl1pPr>
              <a:defRPr sz="3600" b="1" spc="-100" baseline="0">
                <a:solidFill>
                  <a:schemeClr val="accent2"/>
                </a:solidFill>
              </a:defRPr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10" name="Espaço Reservado para Texto 9">
            <a:extLst>
              <a:ext uri="{FF2B5EF4-FFF2-40B4-BE49-F238E27FC236}">
                <a16:creationId xmlns:a16="http://schemas.microsoft.com/office/drawing/2014/main" id="{A4BD41B5-820C-FB18-CD31-121F93FBE6B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209506" y="2090738"/>
            <a:ext cx="5068094" cy="4132846"/>
          </a:xfrm>
        </p:spPr>
        <p:txBody>
          <a:bodyPr>
            <a:noAutofit/>
          </a:bodyPr>
          <a:lstStyle>
            <a:lvl1pPr marL="0" indent="0">
              <a:lnSpc>
                <a:spcPct val="120000"/>
              </a:lnSpc>
              <a:spcBef>
                <a:spcPts val="2000"/>
              </a:spcBef>
              <a:spcAft>
                <a:spcPts val="500"/>
              </a:spcAft>
              <a:buFont typeface="Arial" panose="020B0604020202020204" pitchFamily="34" charset="0"/>
              <a:buNone/>
              <a:defRPr sz="1600" b="1" u="none">
                <a:solidFill>
                  <a:schemeClr val="accent2"/>
                </a:solidFill>
              </a:defRPr>
            </a:lvl1pPr>
            <a:lvl2pPr marL="0" indent="0">
              <a:lnSpc>
                <a:spcPct val="120000"/>
              </a:lnSpc>
              <a:spcBef>
                <a:spcPts val="0"/>
              </a:spcBef>
              <a:spcAft>
                <a:spcPts val="500"/>
              </a:spcAft>
              <a:buNone/>
              <a:defRPr sz="1400">
                <a:solidFill>
                  <a:schemeClr val="bg1"/>
                </a:solidFill>
              </a:defRPr>
            </a:lvl2pPr>
            <a:lvl3pPr marL="792000" indent="-288000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FontTx/>
              <a:buBlip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</a:buBlip>
              <a:defRPr sz="1300">
                <a:solidFill>
                  <a:schemeClr val="bg2"/>
                </a:solidFill>
              </a:defRPr>
            </a:lvl3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endParaRPr lang="pt-BR"/>
          </a:p>
        </p:txBody>
      </p:sp>
      <p:sp>
        <p:nvSpPr>
          <p:cNvPr id="2" name="Picture Placeholder 4">
            <a:extLst>
              <a:ext uri="{FF2B5EF4-FFF2-40B4-BE49-F238E27FC236}">
                <a16:creationId xmlns:a16="http://schemas.microsoft.com/office/drawing/2014/main" id="{01BE0EC9-7069-DF75-D503-4A156A65201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013853" y="1505358"/>
            <a:ext cx="3494354" cy="3494354"/>
          </a:xfrm>
          <a:custGeom>
            <a:avLst/>
            <a:gdLst>
              <a:gd name="connsiteX0" fmla="*/ 3543300 w 7086600"/>
              <a:gd name="connsiteY0" fmla="*/ 0 h 7086600"/>
              <a:gd name="connsiteX1" fmla="*/ 7086600 w 7086600"/>
              <a:gd name="connsiteY1" fmla="*/ 3543300 h 7086600"/>
              <a:gd name="connsiteX2" fmla="*/ 3543300 w 7086600"/>
              <a:gd name="connsiteY2" fmla="*/ 7086600 h 7086600"/>
              <a:gd name="connsiteX3" fmla="*/ 0 w 7086600"/>
              <a:gd name="connsiteY3" fmla="*/ 3543300 h 7086600"/>
              <a:gd name="connsiteX4" fmla="*/ 3543300 w 7086600"/>
              <a:gd name="connsiteY4" fmla="*/ 0 h 7086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086600" h="7086600">
                <a:moveTo>
                  <a:pt x="3543300" y="0"/>
                </a:moveTo>
                <a:cubicBezTo>
                  <a:pt x="5500211" y="0"/>
                  <a:pt x="7086600" y="1586389"/>
                  <a:pt x="7086600" y="3543300"/>
                </a:cubicBezTo>
                <a:cubicBezTo>
                  <a:pt x="7086600" y="5500211"/>
                  <a:pt x="5500211" y="7086600"/>
                  <a:pt x="3543300" y="7086600"/>
                </a:cubicBezTo>
                <a:cubicBezTo>
                  <a:pt x="1586389" y="7086600"/>
                  <a:pt x="0" y="5500211"/>
                  <a:pt x="0" y="3543300"/>
                </a:cubicBezTo>
                <a:cubicBezTo>
                  <a:pt x="0" y="1586389"/>
                  <a:pt x="1586389" y="0"/>
                  <a:pt x="35433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 sz="2000"/>
            </a:lvl1pPr>
          </a:lstStyle>
          <a:p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8730553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9D7E6FD-C4DA-F588-E77A-C8DBEDF918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569426D3-4E19-986D-846B-503FE94727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C555FC61-4954-E68E-3679-F6B0250BF4F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pic>
        <p:nvPicPr>
          <p:cNvPr id="5" name="Imagem 4" descr="Logotipo&#10;&#10;Descrição gerada automaticamente">
            <a:extLst>
              <a:ext uri="{FF2B5EF4-FFF2-40B4-BE49-F238E27FC236}">
                <a16:creationId xmlns:a16="http://schemas.microsoft.com/office/drawing/2014/main" id="{18F92F95-DAA0-5CA6-8223-654C44F6D80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877675" y="278512"/>
            <a:ext cx="864013" cy="507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112602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B2FE12D4-690A-0F87-A603-8BADEE0A2F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Imagem 2">
            <a:extLst>
              <a:ext uri="{FF2B5EF4-FFF2-40B4-BE49-F238E27FC236}">
                <a16:creationId xmlns:a16="http://schemas.microsoft.com/office/drawing/2014/main" id="{2A62373F-9A2F-0755-558D-BC41F23DDA3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BR"/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22D91843-CA13-7080-4F10-850D261F15A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pic>
        <p:nvPicPr>
          <p:cNvPr id="5" name="Imagem 4" descr="Logotipo&#10;&#10;Descrição gerada automaticamente">
            <a:extLst>
              <a:ext uri="{FF2B5EF4-FFF2-40B4-BE49-F238E27FC236}">
                <a16:creationId xmlns:a16="http://schemas.microsoft.com/office/drawing/2014/main" id="{DC36B712-BEA9-D1F7-495E-CE9EB10743B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877675" y="278512"/>
            <a:ext cx="864013" cy="507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31377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Gráfico 20">
            <a:extLst>
              <a:ext uri="{FF2B5EF4-FFF2-40B4-BE49-F238E27FC236}">
                <a16:creationId xmlns:a16="http://schemas.microsoft.com/office/drawing/2014/main" id="{8FC6E60B-071E-D350-BC6F-C0CD9604C70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360999" y="2586446"/>
            <a:ext cx="2101026" cy="2101026"/>
          </a:xfrm>
          <a:prstGeom prst="rect">
            <a:avLst/>
          </a:prstGeom>
        </p:spPr>
      </p:pic>
      <p:sp>
        <p:nvSpPr>
          <p:cNvPr id="22" name="Freeform: Shape 24">
            <a:extLst>
              <a:ext uri="{FF2B5EF4-FFF2-40B4-BE49-F238E27FC236}">
                <a16:creationId xmlns:a16="http://schemas.microsoft.com/office/drawing/2014/main" id="{55589210-86D7-6986-4F2E-47E6E193B276}"/>
              </a:ext>
            </a:extLst>
          </p:cNvPr>
          <p:cNvSpPr/>
          <p:nvPr userDrawn="1"/>
        </p:nvSpPr>
        <p:spPr>
          <a:xfrm>
            <a:off x="1" y="5491163"/>
            <a:ext cx="1460543" cy="1360974"/>
          </a:xfrm>
          <a:custGeom>
            <a:avLst/>
            <a:gdLst>
              <a:gd name="connsiteX0" fmla="*/ 618317 w 1778972"/>
              <a:gd name="connsiteY0" fmla="*/ 0 h 1657695"/>
              <a:gd name="connsiteX1" fmla="*/ 1778972 w 1778972"/>
              <a:gd name="connsiteY1" fmla="*/ 1160655 h 1657695"/>
              <a:gd name="connsiteX2" fmla="*/ 1687762 w 1778972"/>
              <a:gd name="connsiteY2" fmla="*/ 1612435 h 1657695"/>
              <a:gd name="connsiteX3" fmla="*/ 1663196 w 1778972"/>
              <a:gd name="connsiteY3" fmla="*/ 1657695 h 1657695"/>
              <a:gd name="connsiteX4" fmla="*/ 0 w 1778972"/>
              <a:gd name="connsiteY4" fmla="*/ 1657695 h 1657695"/>
              <a:gd name="connsiteX5" fmla="*/ 0 w 1778972"/>
              <a:gd name="connsiteY5" fmla="*/ 179622 h 1657695"/>
              <a:gd name="connsiteX6" fmla="*/ 65080 w 1778972"/>
              <a:gd name="connsiteY6" fmla="*/ 140085 h 1657695"/>
              <a:gd name="connsiteX7" fmla="*/ 618317 w 1778972"/>
              <a:gd name="connsiteY7" fmla="*/ 0 h 16576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778972" h="1657695">
                <a:moveTo>
                  <a:pt x="618317" y="0"/>
                </a:moveTo>
                <a:cubicBezTo>
                  <a:pt x="1259329" y="0"/>
                  <a:pt x="1778972" y="519643"/>
                  <a:pt x="1778972" y="1160655"/>
                </a:cubicBezTo>
                <a:cubicBezTo>
                  <a:pt x="1778972" y="1320908"/>
                  <a:pt x="1746495" y="1473576"/>
                  <a:pt x="1687762" y="1612435"/>
                </a:cubicBezTo>
                <a:lnTo>
                  <a:pt x="1663196" y="1657695"/>
                </a:lnTo>
                <a:lnTo>
                  <a:pt x="0" y="1657695"/>
                </a:lnTo>
                <a:lnTo>
                  <a:pt x="0" y="179622"/>
                </a:lnTo>
                <a:lnTo>
                  <a:pt x="65080" y="140085"/>
                </a:lnTo>
                <a:cubicBezTo>
                  <a:pt x="229537" y="50747"/>
                  <a:pt x="418001" y="0"/>
                  <a:pt x="618317" y="0"/>
                </a:cubicBezTo>
                <a:close/>
              </a:path>
            </a:pathLst>
          </a:custGeom>
          <a:solidFill>
            <a:srgbClr val="F461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 sz="1351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B2FE12D4-690A-0F87-A603-8BADEE0A2F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4978" y="1142317"/>
            <a:ext cx="5044671" cy="920750"/>
          </a:xfrm>
        </p:spPr>
        <p:txBody>
          <a:bodyPr anchor="t">
            <a:noAutofit/>
          </a:bodyPr>
          <a:lstStyle>
            <a:lvl1pPr algn="ctr">
              <a:defRPr sz="3600" b="1" spc="-100" baseline="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22D91843-CA13-7080-4F10-850D261F15A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2679700" y="2239906"/>
            <a:ext cx="6832600" cy="951402"/>
          </a:xfrm>
        </p:spPr>
        <p:txBody>
          <a:bodyPr>
            <a:normAutofit/>
          </a:bodyPr>
          <a:lstStyle>
            <a:lvl1pPr marL="0" marR="0" indent="0" algn="ctr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lang="pt-BR" sz="1100" b="0" i="0" u="none" strike="noStrike" cap="none" dirty="0">
                <a:solidFill>
                  <a:schemeClr val="bg1">
                    <a:lumMod val="50000"/>
                  </a:schemeClr>
                </a:solidFill>
                <a:latin typeface="+mn-lt"/>
                <a:ea typeface="Times New Roman" panose="02020603050405020304" pitchFamily="18" charset="0"/>
                <a:cs typeface="Arial"/>
                <a:sym typeface="Arial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Espaço Reservado para Texto 6">
            <a:extLst>
              <a:ext uri="{FF2B5EF4-FFF2-40B4-BE49-F238E27FC236}">
                <a16:creationId xmlns:a16="http://schemas.microsoft.com/office/drawing/2014/main" id="{F65EBF6C-485C-17DD-8EC2-C13A19FCC49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67000" y="773884"/>
            <a:ext cx="5067325" cy="354597"/>
          </a:xfrm>
        </p:spPr>
        <p:txBody>
          <a:bodyPr lIns="108000" anchor="b">
            <a:normAutofit/>
          </a:bodyPr>
          <a:lstStyle>
            <a:lvl1pPr algn="ctr">
              <a:lnSpc>
                <a:spcPct val="100000"/>
              </a:lnSpc>
              <a:defRPr sz="1100" b="0" cap="all" spc="0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pt-BR" err="1"/>
              <a:t>TítulO</a:t>
            </a:r>
            <a:endParaRPr lang="pt-BR"/>
          </a:p>
        </p:txBody>
      </p:sp>
      <p:sp>
        <p:nvSpPr>
          <p:cNvPr id="7" name="Freeform: Shape 26">
            <a:extLst>
              <a:ext uri="{FF2B5EF4-FFF2-40B4-BE49-F238E27FC236}">
                <a16:creationId xmlns:a16="http://schemas.microsoft.com/office/drawing/2014/main" id="{5E95BECC-9D3F-5219-68DD-89416A67263D}"/>
              </a:ext>
            </a:extLst>
          </p:cNvPr>
          <p:cNvSpPr/>
          <p:nvPr userDrawn="1"/>
        </p:nvSpPr>
        <p:spPr>
          <a:xfrm>
            <a:off x="3360987" y="3762124"/>
            <a:ext cx="4638820" cy="3090011"/>
          </a:xfrm>
          <a:custGeom>
            <a:avLst/>
            <a:gdLst>
              <a:gd name="connsiteX0" fmla="*/ 2319410 w 4638820"/>
              <a:gd name="connsiteY0" fmla="*/ 0 h 3090010"/>
              <a:gd name="connsiteX1" fmla="*/ 4638820 w 4638820"/>
              <a:gd name="connsiteY1" fmla="*/ 2319408 h 3090010"/>
              <a:gd name="connsiteX2" fmla="*/ 4534544 w 4638820"/>
              <a:gd name="connsiteY2" fmla="*/ 3009129 h 3090010"/>
              <a:gd name="connsiteX3" fmla="*/ 4504942 w 4638820"/>
              <a:gd name="connsiteY3" fmla="*/ 3090010 h 3090010"/>
              <a:gd name="connsiteX4" fmla="*/ 133879 w 4638820"/>
              <a:gd name="connsiteY4" fmla="*/ 3090010 h 3090010"/>
              <a:gd name="connsiteX5" fmla="*/ 104276 w 4638820"/>
              <a:gd name="connsiteY5" fmla="*/ 3009129 h 3090010"/>
              <a:gd name="connsiteX6" fmla="*/ 0 w 4638820"/>
              <a:gd name="connsiteY6" fmla="*/ 2319408 h 3090010"/>
              <a:gd name="connsiteX7" fmla="*/ 2319410 w 4638820"/>
              <a:gd name="connsiteY7" fmla="*/ 0 h 3090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638820" h="3090010">
                <a:moveTo>
                  <a:pt x="2319410" y="0"/>
                </a:moveTo>
                <a:cubicBezTo>
                  <a:pt x="3600385" y="0"/>
                  <a:pt x="4638820" y="1038434"/>
                  <a:pt x="4638820" y="2319408"/>
                </a:cubicBezTo>
                <a:cubicBezTo>
                  <a:pt x="4638820" y="2559591"/>
                  <a:pt x="4602313" y="2791247"/>
                  <a:pt x="4534544" y="3009129"/>
                </a:cubicBezTo>
                <a:lnTo>
                  <a:pt x="4504942" y="3090010"/>
                </a:lnTo>
                <a:lnTo>
                  <a:pt x="133879" y="3090010"/>
                </a:lnTo>
                <a:lnTo>
                  <a:pt x="104276" y="3009129"/>
                </a:lnTo>
                <a:cubicBezTo>
                  <a:pt x="36508" y="2791247"/>
                  <a:pt x="0" y="2559591"/>
                  <a:pt x="0" y="2319408"/>
                </a:cubicBezTo>
                <a:cubicBezTo>
                  <a:pt x="0" y="1038434"/>
                  <a:pt x="1038435" y="0"/>
                  <a:pt x="2319410" y="0"/>
                </a:cubicBez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 sz="1351"/>
          </a:p>
        </p:txBody>
      </p:sp>
      <p:sp>
        <p:nvSpPr>
          <p:cNvPr id="9" name="Oval 1">
            <a:extLst>
              <a:ext uri="{FF2B5EF4-FFF2-40B4-BE49-F238E27FC236}">
                <a16:creationId xmlns:a16="http://schemas.microsoft.com/office/drawing/2014/main" id="{0B03E640-E3BB-FB17-5537-862E75ABF681}"/>
              </a:ext>
            </a:extLst>
          </p:cNvPr>
          <p:cNvSpPr/>
          <p:nvPr userDrawn="1"/>
        </p:nvSpPr>
        <p:spPr>
          <a:xfrm>
            <a:off x="1409433" y="3372318"/>
            <a:ext cx="2844331" cy="2844332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254000" dist="38100" dir="8100000" algn="tr" rotWithShape="0">
              <a:prstClr val="black">
                <a:alpha val="22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sz="1351"/>
          </a:p>
        </p:txBody>
      </p:sp>
      <p:sp>
        <p:nvSpPr>
          <p:cNvPr id="10" name="Oval 8">
            <a:extLst>
              <a:ext uri="{FF2B5EF4-FFF2-40B4-BE49-F238E27FC236}">
                <a16:creationId xmlns:a16="http://schemas.microsoft.com/office/drawing/2014/main" id="{B9DBEBF6-24A2-17AF-03D7-D3A1A2315E42}"/>
              </a:ext>
            </a:extLst>
          </p:cNvPr>
          <p:cNvSpPr/>
          <p:nvPr userDrawn="1"/>
        </p:nvSpPr>
        <p:spPr>
          <a:xfrm>
            <a:off x="4673835" y="3372318"/>
            <a:ext cx="2844331" cy="2844332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254000" dist="38100" dir="8100000" algn="tr" rotWithShape="0">
              <a:prstClr val="black">
                <a:alpha val="22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sz="1351"/>
          </a:p>
        </p:txBody>
      </p:sp>
      <p:sp>
        <p:nvSpPr>
          <p:cNvPr id="11" name="Oval 9">
            <a:extLst>
              <a:ext uri="{FF2B5EF4-FFF2-40B4-BE49-F238E27FC236}">
                <a16:creationId xmlns:a16="http://schemas.microsoft.com/office/drawing/2014/main" id="{7AFB69F1-EC89-0D88-F743-AB0CCD4E607B}"/>
              </a:ext>
            </a:extLst>
          </p:cNvPr>
          <p:cNvSpPr/>
          <p:nvPr userDrawn="1"/>
        </p:nvSpPr>
        <p:spPr>
          <a:xfrm>
            <a:off x="7998729" y="3372318"/>
            <a:ext cx="2844331" cy="2844332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254000" dist="38100" dir="8100000" algn="tr" rotWithShape="0">
              <a:prstClr val="black">
                <a:alpha val="22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sz="1351"/>
          </a:p>
        </p:txBody>
      </p:sp>
      <p:sp>
        <p:nvSpPr>
          <p:cNvPr id="18" name="Espaço Reservado para Imagem 27">
            <a:extLst>
              <a:ext uri="{FF2B5EF4-FFF2-40B4-BE49-F238E27FC236}">
                <a16:creationId xmlns:a16="http://schemas.microsoft.com/office/drawing/2014/main" id="{6DE3F598-43D3-1E44-57FB-17EFD4D92547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2512131" y="3631564"/>
            <a:ext cx="638934" cy="638934"/>
          </a:xfrm>
        </p:spPr>
        <p:txBody>
          <a:bodyPr>
            <a:normAutofit/>
          </a:bodyPr>
          <a:lstStyle>
            <a:lvl1pPr algn="ctr">
              <a:defRPr sz="1400">
                <a:solidFill>
                  <a:schemeClr val="tx1"/>
                </a:solidFill>
              </a:defRPr>
            </a:lvl1pPr>
          </a:lstStyle>
          <a:p>
            <a:r>
              <a:rPr lang="pt-BR"/>
              <a:t>Ícone</a:t>
            </a:r>
          </a:p>
        </p:txBody>
      </p:sp>
      <p:sp>
        <p:nvSpPr>
          <p:cNvPr id="19" name="Espaço Reservado para Imagem 27">
            <a:extLst>
              <a:ext uri="{FF2B5EF4-FFF2-40B4-BE49-F238E27FC236}">
                <a16:creationId xmlns:a16="http://schemas.microsoft.com/office/drawing/2014/main" id="{E0926438-798E-F72E-EFC9-39EF87CE3634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5796186" y="3631564"/>
            <a:ext cx="638934" cy="638934"/>
          </a:xfrm>
        </p:spPr>
        <p:txBody>
          <a:bodyPr>
            <a:normAutofit/>
          </a:bodyPr>
          <a:lstStyle>
            <a:lvl1pPr algn="ctr">
              <a:defRPr sz="1400">
                <a:solidFill>
                  <a:schemeClr val="tx1"/>
                </a:solidFill>
              </a:defRPr>
            </a:lvl1pPr>
          </a:lstStyle>
          <a:p>
            <a:r>
              <a:rPr lang="pt-BR"/>
              <a:t>Ícone</a:t>
            </a:r>
          </a:p>
        </p:txBody>
      </p:sp>
      <p:sp>
        <p:nvSpPr>
          <p:cNvPr id="20" name="Espaço Reservado para Imagem 27">
            <a:extLst>
              <a:ext uri="{FF2B5EF4-FFF2-40B4-BE49-F238E27FC236}">
                <a16:creationId xmlns:a16="http://schemas.microsoft.com/office/drawing/2014/main" id="{E07D2C1F-D30D-2277-57A7-14955984FC87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9101966" y="3631564"/>
            <a:ext cx="638934" cy="638934"/>
          </a:xfrm>
        </p:spPr>
        <p:txBody>
          <a:bodyPr>
            <a:normAutofit/>
          </a:bodyPr>
          <a:lstStyle>
            <a:lvl1pPr algn="ctr">
              <a:defRPr sz="1400">
                <a:solidFill>
                  <a:schemeClr val="tx1"/>
                </a:solidFill>
              </a:defRPr>
            </a:lvl1pPr>
          </a:lstStyle>
          <a:p>
            <a:r>
              <a:rPr lang="pt-BR"/>
              <a:t>Ícone</a:t>
            </a:r>
          </a:p>
        </p:txBody>
      </p:sp>
      <p:sp>
        <p:nvSpPr>
          <p:cNvPr id="25" name="Espaço Reservado para Texto 23">
            <a:extLst>
              <a:ext uri="{FF2B5EF4-FFF2-40B4-BE49-F238E27FC236}">
                <a16:creationId xmlns:a16="http://schemas.microsoft.com/office/drawing/2014/main" id="{10FAB265-50D2-444E-770C-DF530276BE8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616450" y="4339221"/>
            <a:ext cx="2419408" cy="355592"/>
          </a:xfrm>
        </p:spPr>
        <p:txBody>
          <a:bodyPr>
            <a:normAutofit/>
          </a:bodyPr>
          <a:lstStyle>
            <a:lvl1pPr algn="ctr">
              <a:defRPr sz="1400" b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pt-BR"/>
              <a:t>Título</a:t>
            </a:r>
          </a:p>
        </p:txBody>
      </p:sp>
      <p:sp>
        <p:nvSpPr>
          <p:cNvPr id="27" name="Espaço Reservado para Texto 23">
            <a:extLst>
              <a:ext uri="{FF2B5EF4-FFF2-40B4-BE49-F238E27FC236}">
                <a16:creationId xmlns:a16="http://schemas.microsoft.com/office/drawing/2014/main" id="{A60E8CAA-48D5-61E9-C74D-2CCEB3E3A73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886296" y="4339221"/>
            <a:ext cx="2419408" cy="355592"/>
          </a:xfrm>
        </p:spPr>
        <p:txBody>
          <a:bodyPr>
            <a:normAutofit/>
          </a:bodyPr>
          <a:lstStyle>
            <a:lvl1pPr algn="ctr">
              <a:defRPr sz="1400" b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pt-BR"/>
              <a:t>Título</a:t>
            </a:r>
          </a:p>
        </p:txBody>
      </p:sp>
      <p:sp>
        <p:nvSpPr>
          <p:cNvPr id="29" name="Espaço Reservado para Texto 23">
            <a:extLst>
              <a:ext uri="{FF2B5EF4-FFF2-40B4-BE49-F238E27FC236}">
                <a16:creationId xmlns:a16="http://schemas.microsoft.com/office/drawing/2014/main" id="{73876383-9A46-664A-7697-809108EB46B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211409" y="4339221"/>
            <a:ext cx="2419408" cy="355592"/>
          </a:xfrm>
        </p:spPr>
        <p:txBody>
          <a:bodyPr>
            <a:normAutofit/>
          </a:bodyPr>
          <a:lstStyle>
            <a:lvl1pPr algn="ctr">
              <a:defRPr sz="1400" b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pt-BR"/>
              <a:t>Título</a:t>
            </a:r>
          </a:p>
        </p:txBody>
      </p:sp>
      <p:sp>
        <p:nvSpPr>
          <p:cNvPr id="37" name="Espaço Reservado para Texto 36">
            <a:extLst>
              <a:ext uri="{FF2B5EF4-FFF2-40B4-BE49-F238E27FC236}">
                <a16:creationId xmlns:a16="http://schemas.microsoft.com/office/drawing/2014/main" id="{F5EC3AD8-AE40-5DF3-5734-FF5CE4865868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1610496" y="4704373"/>
            <a:ext cx="2444373" cy="920750"/>
          </a:xfrm>
        </p:spPr>
        <p:txBody>
          <a:bodyPr>
            <a:noAutofit/>
          </a:bodyPr>
          <a:lstStyle>
            <a:lvl1pPr algn="ctr">
              <a:lnSpc>
                <a:spcPct val="150000"/>
              </a:lnSpc>
              <a:defRPr sz="1100" b="0">
                <a:solidFill>
                  <a:schemeClr val="tx2"/>
                </a:solidFill>
              </a:defRPr>
            </a:lvl1pPr>
            <a:lvl2pPr algn="ctr">
              <a:defRPr sz="1100">
                <a:solidFill>
                  <a:schemeClr val="tx2"/>
                </a:solidFill>
              </a:defRPr>
            </a:lvl2pPr>
            <a:lvl3pPr algn="ctr">
              <a:defRPr sz="1100">
                <a:solidFill>
                  <a:schemeClr val="tx2"/>
                </a:solidFill>
              </a:defRPr>
            </a:lvl3pPr>
            <a:lvl4pPr algn="ctr">
              <a:defRPr sz="1100">
                <a:solidFill>
                  <a:schemeClr val="tx2"/>
                </a:solidFill>
              </a:defRPr>
            </a:lvl4pPr>
            <a:lvl5pPr algn="ctr">
              <a:defRPr sz="1100">
                <a:solidFill>
                  <a:schemeClr val="tx2"/>
                </a:solidFill>
              </a:defRPr>
            </a:lvl5pPr>
          </a:lstStyle>
          <a:p>
            <a:pPr lvl="0"/>
            <a:endParaRPr lang="pt-BR"/>
          </a:p>
        </p:txBody>
      </p:sp>
      <p:sp>
        <p:nvSpPr>
          <p:cNvPr id="38" name="Espaço Reservado para Texto 36">
            <a:extLst>
              <a:ext uri="{FF2B5EF4-FFF2-40B4-BE49-F238E27FC236}">
                <a16:creationId xmlns:a16="http://schemas.microsoft.com/office/drawing/2014/main" id="{D2DAA205-1F5B-0E76-2E89-35678D12406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878915" y="4704373"/>
            <a:ext cx="2444373" cy="920750"/>
          </a:xfrm>
        </p:spPr>
        <p:txBody>
          <a:bodyPr>
            <a:noAutofit/>
          </a:bodyPr>
          <a:lstStyle>
            <a:lvl1pPr algn="ctr">
              <a:lnSpc>
                <a:spcPct val="150000"/>
              </a:lnSpc>
              <a:defRPr sz="1100" b="0">
                <a:solidFill>
                  <a:schemeClr val="tx2"/>
                </a:solidFill>
              </a:defRPr>
            </a:lvl1pPr>
            <a:lvl2pPr algn="ctr">
              <a:defRPr sz="1100">
                <a:solidFill>
                  <a:schemeClr val="tx2"/>
                </a:solidFill>
              </a:defRPr>
            </a:lvl2pPr>
            <a:lvl3pPr algn="ctr">
              <a:defRPr sz="1100">
                <a:solidFill>
                  <a:schemeClr val="tx2"/>
                </a:solidFill>
              </a:defRPr>
            </a:lvl3pPr>
            <a:lvl4pPr algn="ctr">
              <a:defRPr sz="1100">
                <a:solidFill>
                  <a:schemeClr val="tx2"/>
                </a:solidFill>
              </a:defRPr>
            </a:lvl4pPr>
            <a:lvl5pPr algn="ctr">
              <a:defRPr sz="1100">
                <a:solidFill>
                  <a:schemeClr val="tx2"/>
                </a:solidFill>
              </a:defRPr>
            </a:lvl5pPr>
          </a:lstStyle>
          <a:p>
            <a:pPr lvl="0"/>
            <a:endParaRPr lang="pt-BR"/>
          </a:p>
        </p:txBody>
      </p:sp>
      <p:sp>
        <p:nvSpPr>
          <p:cNvPr id="39" name="Espaço Reservado para Texto 36">
            <a:extLst>
              <a:ext uri="{FF2B5EF4-FFF2-40B4-BE49-F238E27FC236}">
                <a16:creationId xmlns:a16="http://schemas.microsoft.com/office/drawing/2014/main" id="{EC8C1CAA-95F3-AE44-1F31-7D912F1B8618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8199247" y="4704373"/>
            <a:ext cx="2444373" cy="920750"/>
          </a:xfrm>
        </p:spPr>
        <p:txBody>
          <a:bodyPr>
            <a:noAutofit/>
          </a:bodyPr>
          <a:lstStyle>
            <a:lvl1pPr algn="ctr">
              <a:lnSpc>
                <a:spcPct val="150000"/>
              </a:lnSpc>
              <a:defRPr sz="1100" b="0">
                <a:solidFill>
                  <a:schemeClr val="tx2"/>
                </a:solidFill>
              </a:defRPr>
            </a:lvl1pPr>
            <a:lvl2pPr algn="ctr">
              <a:defRPr sz="1100">
                <a:solidFill>
                  <a:schemeClr val="tx2"/>
                </a:solidFill>
              </a:defRPr>
            </a:lvl2pPr>
            <a:lvl3pPr algn="ctr">
              <a:defRPr sz="1100">
                <a:solidFill>
                  <a:schemeClr val="tx2"/>
                </a:solidFill>
              </a:defRPr>
            </a:lvl3pPr>
            <a:lvl4pPr algn="ctr">
              <a:defRPr sz="1100">
                <a:solidFill>
                  <a:schemeClr val="tx2"/>
                </a:solidFill>
              </a:defRPr>
            </a:lvl4pPr>
            <a:lvl5pPr algn="ctr">
              <a:defRPr sz="1100">
                <a:solidFill>
                  <a:schemeClr val="tx2"/>
                </a:solidFill>
              </a:defRPr>
            </a:lvl5pPr>
          </a:lstStyle>
          <a:p>
            <a:pPr lvl="0"/>
            <a:endParaRPr lang="pt-BR"/>
          </a:p>
        </p:txBody>
      </p:sp>
      <p:pic>
        <p:nvPicPr>
          <p:cNvPr id="3" name="Imagem 2" descr="Logotipo&#10;&#10;Descrição gerada automaticamente">
            <a:extLst>
              <a:ext uri="{FF2B5EF4-FFF2-40B4-BE49-F238E27FC236}">
                <a16:creationId xmlns:a16="http://schemas.microsoft.com/office/drawing/2014/main" id="{A71C9253-C6F2-D64E-370F-3FC0B4D6CE53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877675" y="278512"/>
            <a:ext cx="864013" cy="507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470379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áfico 3">
            <a:extLst>
              <a:ext uri="{FF2B5EF4-FFF2-40B4-BE49-F238E27FC236}">
                <a16:creationId xmlns:a16="http://schemas.microsoft.com/office/drawing/2014/main" id="{5536CC76-6171-B09D-FDF3-59407A13526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277600" y="-1751088"/>
            <a:ext cx="2647804" cy="3111172"/>
          </a:xfrm>
          <a:prstGeom prst="rect">
            <a:avLst/>
          </a:prstGeom>
        </p:spPr>
      </p:pic>
      <p:pic>
        <p:nvPicPr>
          <p:cNvPr id="5" name="Gráfico 4">
            <a:extLst>
              <a:ext uri="{FF2B5EF4-FFF2-40B4-BE49-F238E27FC236}">
                <a16:creationId xmlns:a16="http://schemas.microsoft.com/office/drawing/2014/main" id="{5C99EB3E-B5D8-9B44-1758-975265A41B45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-1477559" y="3052763"/>
            <a:ext cx="5182891" cy="6089900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BBDA759A-9915-56A7-B65A-20AE4C2B5F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70391" y="1668084"/>
            <a:ext cx="3046009" cy="1281113"/>
          </a:xfrm>
        </p:spPr>
        <p:txBody>
          <a:bodyPr>
            <a:normAutofit/>
          </a:bodyPr>
          <a:lstStyle>
            <a:lvl1pPr>
              <a:defRPr sz="3200">
                <a:solidFill>
                  <a:schemeClr val="accent2"/>
                </a:solidFill>
              </a:defRPr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6">
            <a:extLst>
              <a:ext uri="{FF2B5EF4-FFF2-40B4-BE49-F238E27FC236}">
                <a16:creationId xmlns:a16="http://schemas.microsoft.com/office/drawing/2014/main" id="{5A69258F-54AB-711A-8C68-B0EDF4C7EFE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71669" y="1313487"/>
            <a:ext cx="3044731" cy="354597"/>
          </a:xfrm>
        </p:spPr>
        <p:txBody>
          <a:bodyPr lIns="108000" anchor="b">
            <a:normAutofit/>
          </a:bodyPr>
          <a:lstStyle>
            <a:lvl1pPr algn="l">
              <a:lnSpc>
                <a:spcPct val="100000"/>
              </a:lnSpc>
              <a:defRPr sz="1100" b="0" cap="all" spc="100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pt-BR" err="1"/>
              <a:t>TítulO</a:t>
            </a:r>
            <a:endParaRPr lang="pt-BR"/>
          </a:p>
        </p:txBody>
      </p:sp>
      <p:sp>
        <p:nvSpPr>
          <p:cNvPr id="28" name="Espaço Reservado para Texto 26">
            <a:extLst>
              <a:ext uri="{FF2B5EF4-FFF2-40B4-BE49-F238E27FC236}">
                <a16:creationId xmlns:a16="http://schemas.microsoft.com/office/drawing/2014/main" id="{48FFDDFF-D427-23B0-5392-54A4F7DC0DB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673601" y="1566862"/>
            <a:ext cx="654050" cy="656199"/>
          </a:xfrm>
        </p:spPr>
        <p:txBody>
          <a:bodyPr>
            <a:noAutofit/>
          </a:bodyPr>
          <a:lstStyle>
            <a:lvl1pPr algn="ctr">
              <a:defRPr sz="3600" b="0">
                <a:solidFill>
                  <a:schemeClr val="accent1"/>
                </a:solidFill>
                <a:latin typeface="+mj-lt"/>
              </a:defRPr>
            </a:lvl1pPr>
            <a:lvl2pPr>
              <a:defRPr sz="3600">
                <a:solidFill>
                  <a:schemeClr val="accent1"/>
                </a:solidFill>
                <a:latin typeface="+mj-lt"/>
              </a:defRPr>
            </a:lvl2pPr>
            <a:lvl3pPr>
              <a:defRPr sz="3600">
                <a:solidFill>
                  <a:schemeClr val="accent1"/>
                </a:solidFill>
                <a:latin typeface="+mj-lt"/>
              </a:defRPr>
            </a:lvl3pPr>
            <a:lvl4pPr>
              <a:defRPr sz="3600">
                <a:solidFill>
                  <a:schemeClr val="accent1"/>
                </a:solidFill>
                <a:latin typeface="+mj-lt"/>
              </a:defRPr>
            </a:lvl4pPr>
            <a:lvl5pPr marL="1828800" indent="0">
              <a:buNone/>
              <a:defRPr sz="3600"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pt-BR"/>
              <a:t>#</a:t>
            </a:r>
          </a:p>
        </p:txBody>
      </p:sp>
      <p:sp>
        <p:nvSpPr>
          <p:cNvPr id="35" name="Espaço Reservado para Texto 26">
            <a:extLst>
              <a:ext uri="{FF2B5EF4-FFF2-40B4-BE49-F238E27FC236}">
                <a16:creationId xmlns:a16="http://schemas.microsoft.com/office/drawing/2014/main" id="{434FF1FA-B54B-D941-7236-4AB73CE075C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673601" y="2546240"/>
            <a:ext cx="654050" cy="656199"/>
          </a:xfrm>
        </p:spPr>
        <p:txBody>
          <a:bodyPr>
            <a:noAutofit/>
          </a:bodyPr>
          <a:lstStyle>
            <a:lvl1pPr algn="ctr">
              <a:defRPr sz="3600" b="0">
                <a:solidFill>
                  <a:schemeClr val="accent1"/>
                </a:solidFill>
                <a:latin typeface="+mj-lt"/>
              </a:defRPr>
            </a:lvl1pPr>
            <a:lvl2pPr>
              <a:defRPr sz="3600">
                <a:solidFill>
                  <a:schemeClr val="accent1"/>
                </a:solidFill>
                <a:latin typeface="+mj-lt"/>
              </a:defRPr>
            </a:lvl2pPr>
            <a:lvl3pPr>
              <a:defRPr sz="3600">
                <a:solidFill>
                  <a:schemeClr val="accent1"/>
                </a:solidFill>
                <a:latin typeface="+mj-lt"/>
              </a:defRPr>
            </a:lvl3pPr>
            <a:lvl4pPr>
              <a:defRPr sz="3600">
                <a:solidFill>
                  <a:schemeClr val="accent1"/>
                </a:solidFill>
                <a:latin typeface="+mj-lt"/>
              </a:defRPr>
            </a:lvl4pPr>
            <a:lvl5pPr marL="1828800" indent="0">
              <a:buNone/>
              <a:defRPr sz="3600"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pt-BR"/>
              <a:t>#</a:t>
            </a:r>
          </a:p>
        </p:txBody>
      </p:sp>
      <p:sp>
        <p:nvSpPr>
          <p:cNvPr id="36" name="Espaço Reservado para Texto 26">
            <a:extLst>
              <a:ext uri="{FF2B5EF4-FFF2-40B4-BE49-F238E27FC236}">
                <a16:creationId xmlns:a16="http://schemas.microsoft.com/office/drawing/2014/main" id="{94BBE6CA-1C8D-0C0E-98B1-F0C9675FB20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673601" y="3507581"/>
            <a:ext cx="654050" cy="656199"/>
          </a:xfrm>
        </p:spPr>
        <p:txBody>
          <a:bodyPr>
            <a:noAutofit/>
          </a:bodyPr>
          <a:lstStyle>
            <a:lvl1pPr algn="ctr">
              <a:defRPr sz="3600" b="0">
                <a:solidFill>
                  <a:schemeClr val="accent1"/>
                </a:solidFill>
                <a:latin typeface="+mj-lt"/>
              </a:defRPr>
            </a:lvl1pPr>
            <a:lvl2pPr>
              <a:defRPr sz="3600">
                <a:solidFill>
                  <a:schemeClr val="accent1"/>
                </a:solidFill>
                <a:latin typeface="+mj-lt"/>
              </a:defRPr>
            </a:lvl2pPr>
            <a:lvl3pPr>
              <a:defRPr sz="3600">
                <a:solidFill>
                  <a:schemeClr val="accent1"/>
                </a:solidFill>
                <a:latin typeface="+mj-lt"/>
              </a:defRPr>
            </a:lvl3pPr>
            <a:lvl4pPr>
              <a:defRPr sz="3600">
                <a:solidFill>
                  <a:schemeClr val="accent1"/>
                </a:solidFill>
                <a:latin typeface="+mj-lt"/>
              </a:defRPr>
            </a:lvl4pPr>
            <a:lvl5pPr marL="1828800" indent="0">
              <a:buNone/>
              <a:defRPr sz="3600"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pt-BR"/>
              <a:t>#</a:t>
            </a:r>
          </a:p>
        </p:txBody>
      </p:sp>
      <p:sp>
        <p:nvSpPr>
          <p:cNvPr id="37" name="Espaço Reservado para Texto 26">
            <a:extLst>
              <a:ext uri="{FF2B5EF4-FFF2-40B4-BE49-F238E27FC236}">
                <a16:creationId xmlns:a16="http://schemas.microsoft.com/office/drawing/2014/main" id="{802FF599-8D20-63CA-9E5C-86076C60E43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673601" y="4461884"/>
            <a:ext cx="654050" cy="656199"/>
          </a:xfrm>
        </p:spPr>
        <p:txBody>
          <a:bodyPr>
            <a:noAutofit/>
          </a:bodyPr>
          <a:lstStyle>
            <a:lvl1pPr algn="ctr">
              <a:defRPr sz="3600" b="0">
                <a:solidFill>
                  <a:schemeClr val="accent1"/>
                </a:solidFill>
                <a:latin typeface="+mj-lt"/>
              </a:defRPr>
            </a:lvl1pPr>
            <a:lvl2pPr>
              <a:defRPr sz="3600">
                <a:solidFill>
                  <a:schemeClr val="accent1"/>
                </a:solidFill>
                <a:latin typeface="+mj-lt"/>
              </a:defRPr>
            </a:lvl2pPr>
            <a:lvl3pPr>
              <a:defRPr sz="3600">
                <a:solidFill>
                  <a:schemeClr val="accent1"/>
                </a:solidFill>
                <a:latin typeface="+mj-lt"/>
              </a:defRPr>
            </a:lvl3pPr>
            <a:lvl4pPr>
              <a:defRPr sz="3600">
                <a:solidFill>
                  <a:schemeClr val="accent1"/>
                </a:solidFill>
                <a:latin typeface="+mj-lt"/>
              </a:defRPr>
            </a:lvl4pPr>
            <a:lvl5pPr marL="1828800" indent="0">
              <a:buNone/>
              <a:defRPr sz="3600"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pt-BR"/>
              <a:t>#</a:t>
            </a:r>
          </a:p>
        </p:txBody>
      </p:sp>
      <p:sp>
        <p:nvSpPr>
          <p:cNvPr id="41" name="Espaço Reservado para Texto 26">
            <a:extLst>
              <a:ext uri="{FF2B5EF4-FFF2-40B4-BE49-F238E27FC236}">
                <a16:creationId xmlns:a16="http://schemas.microsoft.com/office/drawing/2014/main" id="{57A346B4-11F9-01EB-210A-4A70946F8E0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197850" y="1566862"/>
            <a:ext cx="654050" cy="656199"/>
          </a:xfrm>
        </p:spPr>
        <p:txBody>
          <a:bodyPr>
            <a:noAutofit/>
          </a:bodyPr>
          <a:lstStyle>
            <a:lvl1pPr algn="ctr">
              <a:defRPr sz="3600" b="0">
                <a:solidFill>
                  <a:schemeClr val="accent1"/>
                </a:solidFill>
                <a:latin typeface="+mj-lt"/>
              </a:defRPr>
            </a:lvl1pPr>
            <a:lvl2pPr>
              <a:defRPr sz="3600">
                <a:solidFill>
                  <a:schemeClr val="accent1"/>
                </a:solidFill>
                <a:latin typeface="+mj-lt"/>
              </a:defRPr>
            </a:lvl2pPr>
            <a:lvl3pPr>
              <a:defRPr sz="3600">
                <a:solidFill>
                  <a:schemeClr val="accent1"/>
                </a:solidFill>
                <a:latin typeface="+mj-lt"/>
              </a:defRPr>
            </a:lvl3pPr>
            <a:lvl4pPr>
              <a:defRPr sz="3600">
                <a:solidFill>
                  <a:schemeClr val="accent1"/>
                </a:solidFill>
                <a:latin typeface="+mj-lt"/>
              </a:defRPr>
            </a:lvl4pPr>
            <a:lvl5pPr marL="1828800" indent="0">
              <a:buNone/>
              <a:defRPr sz="3600"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pt-BR"/>
              <a:t>#</a:t>
            </a:r>
          </a:p>
        </p:txBody>
      </p:sp>
      <p:sp>
        <p:nvSpPr>
          <p:cNvPr id="42" name="Espaço Reservado para Texto 26">
            <a:extLst>
              <a:ext uri="{FF2B5EF4-FFF2-40B4-BE49-F238E27FC236}">
                <a16:creationId xmlns:a16="http://schemas.microsoft.com/office/drawing/2014/main" id="{EC3DE48F-0EBD-2A68-925F-8A0EF020E66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197850" y="2546240"/>
            <a:ext cx="654050" cy="656199"/>
          </a:xfrm>
        </p:spPr>
        <p:txBody>
          <a:bodyPr>
            <a:noAutofit/>
          </a:bodyPr>
          <a:lstStyle>
            <a:lvl1pPr algn="ctr">
              <a:defRPr sz="3600" b="0">
                <a:solidFill>
                  <a:schemeClr val="accent1"/>
                </a:solidFill>
                <a:latin typeface="+mj-lt"/>
              </a:defRPr>
            </a:lvl1pPr>
            <a:lvl2pPr>
              <a:defRPr sz="3600">
                <a:solidFill>
                  <a:schemeClr val="accent1"/>
                </a:solidFill>
                <a:latin typeface="+mj-lt"/>
              </a:defRPr>
            </a:lvl2pPr>
            <a:lvl3pPr>
              <a:defRPr sz="3600">
                <a:solidFill>
                  <a:schemeClr val="accent1"/>
                </a:solidFill>
                <a:latin typeface="+mj-lt"/>
              </a:defRPr>
            </a:lvl3pPr>
            <a:lvl4pPr>
              <a:defRPr sz="3600">
                <a:solidFill>
                  <a:schemeClr val="accent1"/>
                </a:solidFill>
                <a:latin typeface="+mj-lt"/>
              </a:defRPr>
            </a:lvl4pPr>
            <a:lvl5pPr marL="1828800" indent="0">
              <a:buNone/>
              <a:defRPr sz="3600"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pt-BR"/>
              <a:t>#</a:t>
            </a:r>
          </a:p>
        </p:txBody>
      </p:sp>
      <p:sp>
        <p:nvSpPr>
          <p:cNvPr id="43" name="Espaço Reservado para Texto 26">
            <a:extLst>
              <a:ext uri="{FF2B5EF4-FFF2-40B4-BE49-F238E27FC236}">
                <a16:creationId xmlns:a16="http://schemas.microsoft.com/office/drawing/2014/main" id="{FF173AB6-483B-5C2C-0E35-74B8CFC0725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197850" y="3507581"/>
            <a:ext cx="654050" cy="656199"/>
          </a:xfrm>
        </p:spPr>
        <p:txBody>
          <a:bodyPr>
            <a:noAutofit/>
          </a:bodyPr>
          <a:lstStyle>
            <a:lvl1pPr algn="ctr">
              <a:defRPr sz="3600" b="0">
                <a:solidFill>
                  <a:schemeClr val="accent1"/>
                </a:solidFill>
                <a:latin typeface="+mj-lt"/>
              </a:defRPr>
            </a:lvl1pPr>
            <a:lvl2pPr>
              <a:defRPr sz="3600">
                <a:solidFill>
                  <a:schemeClr val="accent1"/>
                </a:solidFill>
                <a:latin typeface="+mj-lt"/>
              </a:defRPr>
            </a:lvl2pPr>
            <a:lvl3pPr>
              <a:defRPr sz="3600">
                <a:solidFill>
                  <a:schemeClr val="accent1"/>
                </a:solidFill>
                <a:latin typeface="+mj-lt"/>
              </a:defRPr>
            </a:lvl3pPr>
            <a:lvl4pPr>
              <a:defRPr sz="3600">
                <a:solidFill>
                  <a:schemeClr val="accent1"/>
                </a:solidFill>
                <a:latin typeface="+mj-lt"/>
              </a:defRPr>
            </a:lvl4pPr>
            <a:lvl5pPr marL="1828800" indent="0">
              <a:buNone/>
              <a:defRPr sz="3600"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pt-BR"/>
              <a:t>#</a:t>
            </a:r>
          </a:p>
        </p:txBody>
      </p:sp>
      <p:sp>
        <p:nvSpPr>
          <p:cNvPr id="44" name="Espaço Reservado para Texto 26">
            <a:extLst>
              <a:ext uri="{FF2B5EF4-FFF2-40B4-BE49-F238E27FC236}">
                <a16:creationId xmlns:a16="http://schemas.microsoft.com/office/drawing/2014/main" id="{67ADE121-C2B0-51E4-A497-3BB512AA416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197850" y="4461884"/>
            <a:ext cx="654050" cy="656199"/>
          </a:xfrm>
        </p:spPr>
        <p:txBody>
          <a:bodyPr>
            <a:noAutofit/>
          </a:bodyPr>
          <a:lstStyle>
            <a:lvl1pPr algn="ctr">
              <a:defRPr sz="3600" b="0">
                <a:solidFill>
                  <a:schemeClr val="accent1"/>
                </a:solidFill>
                <a:latin typeface="+mj-lt"/>
              </a:defRPr>
            </a:lvl1pPr>
            <a:lvl2pPr>
              <a:defRPr sz="3600">
                <a:solidFill>
                  <a:schemeClr val="accent1"/>
                </a:solidFill>
                <a:latin typeface="+mj-lt"/>
              </a:defRPr>
            </a:lvl2pPr>
            <a:lvl3pPr>
              <a:defRPr sz="3600">
                <a:solidFill>
                  <a:schemeClr val="accent1"/>
                </a:solidFill>
                <a:latin typeface="+mj-lt"/>
              </a:defRPr>
            </a:lvl3pPr>
            <a:lvl4pPr>
              <a:defRPr sz="3600">
                <a:solidFill>
                  <a:schemeClr val="accent1"/>
                </a:solidFill>
                <a:latin typeface="+mj-lt"/>
              </a:defRPr>
            </a:lvl4pPr>
            <a:lvl5pPr marL="1828800" indent="0">
              <a:buNone/>
              <a:defRPr sz="3600"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pt-BR"/>
              <a:t>#</a:t>
            </a:r>
          </a:p>
        </p:txBody>
      </p:sp>
      <p:sp>
        <p:nvSpPr>
          <p:cNvPr id="48" name="Espaço Reservado para Texto 45">
            <a:extLst>
              <a:ext uri="{FF2B5EF4-FFF2-40B4-BE49-F238E27FC236}">
                <a16:creationId xmlns:a16="http://schemas.microsoft.com/office/drawing/2014/main" id="{AA0A1508-379C-FE57-7F02-B2F7615EF5CA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230813" y="1607419"/>
            <a:ext cx="2744787" cy="625475"/>
          </a:xfrm>
        </p:spPr>
        <p:txBody>
          <a:bodyPr>
            <a:noAutofit/>
          </a:bodyPr>
          <a:lstStyle>
            <a:lvl1pPr>
              <a:lnSpc>
                <a:spcPct val="130000"/>
              </a:lnSpc>
              <a:defRPr sz="1400" b="0">
                <a:solidFill>
                  <a:schemeClr val="tx2"/>
                </a:solidFill>
              </a:defRPr>
            </a:lvl1pPr>
            <a:lvl2pPr>
              <a:lnSpc>
                <a:spcPct val="130000"/>
              </a:lnSpc>
              <a:defRPr sz="1300">
                <a:solidFill>
                  <a:schemeClr val="tx2"/>
                </a:solidFill>
              </a:defRPr>
            </a:lvl2pPr>
            <a:lvl3pPr>
              <a:lnSpc>
                <a:spcPct val="130000"/>
              </a:lnSpc>
              <a:defRPr sz="1300">
                <a:solidFill>
                  <a:schemeClr val="tx2"/>
                </a:solidFill>
              </a:defRPr>
            </a:lvl3pPr>
            <a:lvl4pPr>
              <a:lnSpc>
                <a:spcPct val="130000"/>
              </a:lnSpc>
              <a:defRPr sz="1300">
                <a:solidFill>
                  <a:schemeClr val="tx2"/>
                </a:solidFill>
              </a:defRPr>
            </a:lvl4pPr>
            <a:lvl5pPr marL="1828800" indent="0">
              <a:lnSpc>
                <a:spcPct val="130000"/>
              </a:lnSpc>
              <a:buNone/>
              <a:defRPr sz="1300">
                <a:solidFill>
                  <a:schemeClr val="tx2"/>
                </a:solidFill>
              </a:defRPr>
            </a:lvl5pPr>
          </a:lstStyle>
          <a:p>
            <a:pPr lvl="0"/>
            <a:endParaRPr lang="pt-BR"/>
          </a:p>
        </p:txBody>
      </p:sp>
      <p:sp>
        <p:nvSpPr>
          <p:cNvPr id="50" name="Espaço Reservado para Texto 45">
            <a:extLst>
              <a:ext uri="{FF2B5EF4-FFF2-40B4-BE49-F238E27FC236}">
                <a16:creationId xmlns:a16="http://schemas.microsoft.com/office/drawing/2014/main" id="{90EFF4E9-FB08-5C1A-9AE1-FC5E00F8336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230813" y="2579309"/>
            <a:ext cx="2744787" cy="625475"/>
          </a:xfrm>
        </p:spPr>
        <p:txBody>
          <a:bodyPr>
            <a:noAutofit/>
          </a:bodyPr>
          <a:lstStyle>
            <a:lvl1pPr>
              <a:lnSpc>
                <a:spcPct val="130000"/>
              </a:lnSpc>
              <a:defRPr sz="1400" b="0">
                <a:solidFill>
                  <a:schemeClr val="tx2"/>
                </a:solidFill>
              </a:defRPr>
            </a:lvl1pPr>
            <a:lvl2pPr>
              <a:lnSpc>
                <a:spcPct val="130000"/>
              </a:lnSpc>
              <a:defRPr sz="1300">
                <a:solidFill>
                  <a:schemeClr val="tx2"/>
                </a:solidFill>
              </a:defRPr>
            </a:lvl2pPr>
            <a:lvl3pPr>
              <a:lnSpc>
                <a:spcPct val="130000"/>
              </a:lnSpc>
              <a:defRPr sz="1300">
                <a:solidFill>
                  <a:schemeClr val="tx2"/>
                </a:solidFill>
              </a:defRPr>
            </a:lvl3pPr>
            <a:lvl4pPr>
              <a:lnSpc>
                <a:spcPct val="130000"/>
              </a:lnSpc>
              <a:defRPr sz="1300">
                <a:solidFill>
                  <a:schemeClr val="tx2"/>
                </a:solidFill>
              </a:defRPr>
            </a:lvl4pPr>
            <a:lvl5pPr marL="1828800" indent="0">
              <a:lnSpc>
                <a:spcPct val="130000"/>
              </a:lnSpc>
              <a:buNone/>
              <a:defRPr sz="1300">
                <a:solidFill>
                  <a:schemeClr val="tx2"/>
                </a:solidFill>
              </a:defRPr>
            </a:lvl5pPr>
          </a:lstStyle>
          <a:p>
            <a:pPr lvl="0"/>
            <a:endParaRPr lang="pt-BR"/>
          </a:p>
        </p:txBody>
      </p:sp>
      <p:sp>
        <p:nvSpPr>
          <p:cNvPr id="56" name="Espaço Reservado para Texto 45">
            <a:extLst>
              <a:ext uri="{FF2B5EF4-FFF2-40B4-BE49-F238E27FC236}">
                <a16:creationId xmlns:a16="http://schemas.microsoft.com/office/drawing/2014/main" id="{69EED1E0-BCD6-F969-095D-CB3F4281C4CC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5230813" y="4500843"/>
            <a:ext cx="2744787" cy="625475"/>
          </a:xfrm>
        </p:spPr>
        <p:txBody>
          <a:bodyPr>
            <a:noAutofit/>
          </a:bodyPr>
          <a:lstStyle>
            <a:lvl1pPr>
              <a:lnSpc>
                <a:spcPct val="130000"/>
              </a:lnSpc>
              <a:defRPr sz="1400" b="0">
                <a:solidFill>
                  <a:schemeClr val="tx2"/>
                </a:solidFill>
              </a:defRPr>
            </a:lvl1pPr>
            <a:lvl2pPr>
              <a:lnSpc>
                <a:spcPct val="130000"/>
              </a:lnSpc>
              <a:defRPr sz="1300">
                <a:solidFill>
                  <a:schemeClr val="tx2"/>
                </a:solidFill>
              </a:defRPr>
            </a:lvl2pPr>
            <a:lvl3pPr>
              <a:lnSpc>
                <a:spcPct val="130000"/>
              </a:lnSpc>
              <a:defRPr sz="1300">
                <a:solidFill>
                  <a:schemeClr val="tx2"/>
                </a:solidFill>
              </a:defRPr>
            </a:lvl3pPr>
            <a:lvl4pPr>
              <a:lnSpc>
                <a:spcPct val="130000"/>
              </a:lnSpc>
              <a:defRPr sz="1300">
                <a:solidFill>
                  <a:schemeClr val="tx2"/>
                </a:solidFill>
              </a:defRPr>
            </a:lvl4pPr>
            <a:lvl5pPr marL="1828800" indent="0">
              <a:lnSpc>
                <a:spcPct val="130000"/>
              </a:lnSpc>
              <a:buNone/>
              <a:defRPr sz="1300">
                <a:solidFill>
                  <a:schemeClr val="tx2"/>
                </a:solidFill>
              </a:defRPr>
            </a:lvl5pPr>
          </a:lstStyle>
          <a:p>
            <a:pPr lvl="0"/>
            <a:endParaRPr lang="pt-BR"/>
          </a:p>
        </p:txBody>
      </p:sp>
      <p:sp>
        <p:nvSpPr>
          <p:cNvPr id="57" name="Espaço Reservado para Texto 45">
            <a:extLst>
              <a:ext uri="{FF2B5EF4-FFF2-40B4-BE49-F238E27FC236}">
                <a16:creationId xmlns:a16="http://schemas.microsoft.com/office/drawing/2014/main" id="{FC661200-4B00-8BE8-EBFB-A1ADFE405EB1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5230813" y="3533705"/>
            <a:ext cx="2744787" cy="625475"/>
          </a:xfrm>
        </p:spPr>
        <p:txBody>
          <a:bodyPr>
            <a:noAutofit/>
          </a:bodyPr>
          <a:lstStyle>
            <a:lvl1pPr>
              <a:lnSpc>
                <a:spcPct val="130000"/>
              </a:lnSpc>
              <a:defRPr sz="1400" b="0">
                <a:solidFill>
                  <a:schemeClr val="tx2"/>
                </a:solidFill>
              </a:defRPr>
            </a:lvl1pPr>
            <a:lvl2pPr>
              <a:lnSpc>
                <a:spcPct val="130000"/>
              </a:lnSpc>
              <a:defRPr sz="1300">
                <a:solidFill>
                  <a:schemeClr val="tx2"/>
                </a:solidFill>
              </a:defRPr>
            </a:lvl2pPr>
            <a:lvl3pPr>
              <a:lnSpc>
                <a:spcPct val="130000"/>
              </a:lnSpc>
              <a:defRPr sz="1300">
                <a:solidFill>
                  <a:schemeClr val="tx2"/>
                </a:solidFill>
              </a:defRPr>
            </a:lvl3pPr>
            <a:lvl4pPr>
              <a:lnSpc>
                <a:spcPct val="130000"/>
              </a:lnSpc>
              <a:defRPr sz="1300">
                <a:solidFill>
                  <a:schemeClr val="tx2"/>
                </a:solidFill>
              </a:defRPr>
            </a:lvl4pPr>
            <a:lvl5pPr marL="1828800" indent="0">
              <a:lnSpc>
                <a:spcPct val="130000"/>
              </a:lnSpc>
              <a:buNone/>
              <a:defRPr sz="1300">
                <a:solidFill>
                  <a:schemeClr val="tx2"/>
                </a:solidFill>
              </a:defRPr>
            </a:lvl5pPr>
          </a:lstStyle>
          <a:p>
            <a:pPr lvl="0"/>
            <a:endParaRPr lang="pt-BR"/>
          </a:p>
        </p:txBody>
      </p:sp>
      <p:sp>
        <p:nvSpPr>
          <p:cNvPr id="58" name="Espaço Reservado para Texto 45">
            <a:extLst>
              <a:ext uri="{FF2B5EF4-FFF2-40B4-BE49-F238E27FC236}">
                <a16:creationId xmlns:a16="http://schemas.microsoft.com/office/drawing/2014/main" id="{345D7696-2F1D-1E51-5609-E3C0EBA299DC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8756650" y="1607419"/>
            <a:ext cx="2516187" cy="625475"/>
          </a:xfrm>
        </p:spPr>
        <p:txBody>
          <a:bodyPr>
            <a:noAutofit/>
          </a:bodyPr>
          <a:lstStyle>
            <a:lvl1pPr>
              <a:lnSpc>
                <a:spcPct val="130000"/>
              </a:lnSpc>
              <a:defRPr sz="1400" b="0">
                <a:solidFill>
                  <a:schemeClr val="tx2"/>
                </a:solidFill>
              </a:defRPr>
            </a:lvl1pPr>
            <a:lvl2pPr>
              <a:lnSpc>
                <a:spcPct val="130000"/>
              </a:lnSpc>
              <a:defRPr sz="1300">
                <a:solidFill>
                  <a:schemeClr val="tx2"/>
                </a:solidFill>
              </a:defRPr>
            </a:lvl2pPr>
            <a:lvl3pPr>
              <a:lnSpc>
                <a:spcPct val="130000"/>
              </a:lnSpc>
              <a:defRPr sz="1300">
                <a:solidFill>
                  <a:schemeClr val="tx2"/>
                </a:solidFill>
              </a:defRPr>
            </a:lvl3pPr>
            <a:lvl4pPr>
              <a:lnSpc>
                <a:spcPct val="130000"/>
              </a:lnSpc>
              <a:defRPr sz="1300">
                <a:solidFill>
                  <a:schemeClr val="tx2"/>
                </a:solidFill>
              </a:defRPr>
            </a:lvl4pPr>
            <a:lvl5pPr marL="1828800" indent="0">
              <a:lnSpc>
                <a:spcPct val="130000"/>
              </a:lnSpc>
              <a:buNone/>
              <a:defRPr sz="1300">
                <a:solidFill>
                  <a:schemeClr val="tx2"/>
                </a:solidFill>
              </a:defRPr>
            </a:lvl5pPr>
          </a:lstStyle>
          <a:p>
            <a:pPr lvl="0"/>
            <a:endParaRPr lang="pt-BR"/>
          </a:p>
        </p:txBody>
      </p:sp>
      <p:sp>
        <p:nvSpPr>
          <p:cNvPr id="59" name="Espaço Reservado para Texto 45">
            <a:extLst>
              <a:ext uri="{FF2B5EF4-FFF2-40B4-BE49-F238E27FC236}">
                <a16:creationId xmlns:a16="http://schemas.microsoft.com/office/drawing/2014/main" id="{22E326E2-1473-4ABD-2CF9-3D37955704CC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8756650" y="2579309"/>
            <a:ext cx="2516187" cy="625475"/>
          </a:xfrm>
        </p:spPr>
        <p:txBody>
          <a:bodyPr>
            <a:noAutofit/>
          </a:bodyPr>
          <a:lstStyle>
            <a:lvl1pPr>
              <a:lnSpc>
                <a:spcPct val="130000"/>
              </a:lnSpc>
              <a:defRPr sz="1400" b="0">
                <a:solidFill>
                  <a:schemeClr val="tx2"/>
                </a:solidFill>
              </a:defRPr>
            </a:lvl1pPr>
            <a:lvl2pPr>
              <a:lnSpc>
                <a:spcPct val="130000"/>
              </a:lnSpc>
              <a:defRPr sz="1300">
                <a:solidFill>
                  <a:schemeClr val="tx2"/>
                </a:solidFill>
              </a:defRPr>
            </a:lvl2pPr>
            <a:lvl3pPr>
              <a:lnSpc>
                <a:spcPct val="130000"/>
              </a:lnSpc>
              <a:defRPr sz="1300">
                <a:solidFill>
                  <a:schemeClr val="tx2"/>
                </a:solidFill>
              </a:defRPr>
            </a:lvl3pPr>
            <a:lvl4pPr>
              <a:lnSpc>
                <a:spcPct val="130000"/>
              </a:lnSpc>
              <a:defRPr sz="1300">
                <a:solidFill>
                  <a:schemeClr val="tx2"/>
                </a:solidFill>
              </a:defRPr>
            </a:lvl4pPr>
            <a:lvl5pPr marL="1828800" indent="0">
              <a:lnSpc>
                <a:spcPct val="130000"/>
              </a:lnSpc>
              <a:buNone/>
              <a:defRPr sz="1300">
                <a:solidFill>
                  <a:schemeClr val="tx2"/>
                </a:solidFill>
              </a:defRPr>
            </a:lvl5pPr>
          </a:lstStyle>
          <a:p>
            <a:pPr lvl="0"/>
            <a:endParaRPr lang="pt-BR"/>
          </a:p>
        </p:txBody>
      </p:sp>
      <p:sp>
        <p:nvSpPr>
          <p:cNvPr id="60" name="Espaço Reservado para Texto 45">
            <a:extLst>
              <a:ext uri="{FF2B5EF4-FFF2-40B4-BE49-F238E27FC236}">
                <a16:creationId xmlns:a16="http://schemas.microsoft.com/office/drawing/2014/main" id="{5A6A8A0A-A9DC-57C3-F49B-D204B25F3ED9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8756650" y="4500843"/>
            <a:ext cx="2516187" cy="625475"/>
          </a:xfrm>
        </p:spPr>
        <p:txBody>
          <a:bodyPr>
            <a:noAutofit/>
          </a:bodyPr>
          <a:lstStyle>
            <a:lvl1pPr>
              <a:lnSpc>
                <a:spcPct val="130000"/>
              </a:lnSpc>
              <a:defRPr sz="1400" b="0">
                <a:solidFill>
                  <a:schemeClr val="tx2"/>
                </a:solidFill>
              </a:defRPr>
            </a:lvl1pPr>
            <a:lvl2pPr>
              <a:lnSpc>
                <a:spcPct val="130000"/>
              </a:lnSpc>
              <a:defRPr sz="1300">
                <a:solidFill>
                  <a:schemeClr val="tx2"/>
                </a:solidFill>
              </a:defRPr>
            </a:lvl2pPr>
            <a:lvl3pPr>
              <a:lnSpc>
                <a:spcPct val="130000"/>
              </a:lnSpc>
              <a:defRPr sz="1300">
                <a:solidFill>
                  <a:schemeClr val="tx2"/>
                </a:solidFill>
              </a:defRPr>
            </a:lvl3pPr>
            <a:lvl4pPr>
              <a:lnSpc>
                <a:spcPct val="130000"/>
              </a:lnSpc>
              <a:defRPr sz="1300">
                <a:solidFill>
                  <a:schemeClr val="tx2"/>
                </a:solidFill>
              </a:defRPr>
            </a:lvl4pPr>
            <a:lvl5pPr marL="1828800" indent="0">
              <a:lnSpc>
                <a:spcPct val="130000"/>
              </a:lnSpc>
              <a:buNone/>
              <a:defRPr sz="1300">
                <a:solidFill>
                  <a:schemeClr val="tx2"/>
                </a:solidFill>
              </a:defRPr>
            </a:lvl5pPr>
          </a:lstStyle>
          <a:p>
            <a:pPr lvl="0"/>
            <a:endParaRPr lang="pt-BR"/>
          </a:p>
        </p:txBody>
      </p:sp>
      <p:sp>
        <p:nvSpPr>
          <p:cNvPr id="61" name="Espaço Reservado para Texto 45">
            <a:extLst>
              <a:ext uri="{FF2B5EF4-FFF2-40B4-BE49-F238E27FC236}">
                <a16:creationId xmlns:a16="http://schemas.microsoft.com/office/drawing/2014/main" id="{D3BE16D6-E390-D1BC-569E-B7C8A4BAC1EF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8756650" y="3533705"/>
            <a:ext cx="2516187" cy="625475"/>
          </a:xfrm>
        </p:spPr>
        <p:txBody>
          <a:bodyPr>
            <a:noAutofit/>
          </a:bodyPr>
          <a:lstStyle>
            <a:lvl1pPr>
              <a:lnSpc>
                <a:spcPct val="130000"/>
              </a:lnSpc>
              <a:defRPr sz="1400" b="0">
                <a:solidFill>
                  <a:schemeClr val="tx2"/>
                </a:solidFill>
              </a:defRPr>
            </a:lvl1pPr>
            <a:lvl2pPr>
              <a:lnSpc>
                <a:spcPct val="130000"/>
              </a:lnSpc>
              <a:defRPr sz="1300">
                <a:solidFill>
                  <a:schemeClr val="tx2"/>
                </a:solidFill>
              </a:defRPr>
            </a:lvl2pPr>
            <a:lvl3pPr>
              <a:lnSpc>
                <a:spcPct val="130000"/>
              </a:lnSpc>
              <a:defRPr sz="1300">
                <a:solidFill>
                  <a:schemeClr val="tx2"/>
                </a:solidFill>
              </a:defRPr>
            </a:lvl3pPr>
            <a:lvl4pPr>
              <a:lnSpc>
                <a:spcPct val="130000"/>
              </a:lnSpc>
              <a:defRPr sz="1300">
                <a:solidFill>
                  <a:schemeClr val="tx2"/>
                </a:solidFill>
              </a:defRPr>
            </a:lvl4pPr>
            <a:lvl5pPr marL="1828800" indent="0">
              <a:lnSpc>
                <a:spcPct val="130000"/>
              </a:lnSpc>
              <a:buNone/>
              <a:defRPr sz="1300">
                <a:solidFill>
                  <a:schemeClr val="tx2"/>
                </a:solidFill>
              </a:defRPr>
            </a:lvl5pPr>
          </a:lstStyle>
          <a:p>
            <a:pPr lvl="0"/>
            <a:endParaRPr lang="pt-BR"/>
          </a:p>
        </p:txBody>
      </p:sp>
      <p:sp>
        <p:nvSpPr>
          <p:cNvPr id="62" name="Espaço Reservado para Texto 3">
            <a:extLst>
              <a:ext uri="{FF2B5EF4-FFF2-40B4-BE49-F238E27FC236}">
                <a16:creationId xmlns:a16="http://schemas.microsoft.com/office/drawing/2014/main" id="{79D8D897-387E-A66E-3D4D-C6E8F6F7055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1170391" y="3235508"/>
            <a:ext cx="3044731" cy="951402"/>
          </a:xfrm>
        </p:spPr>
        <p:txBody>
          <a:bodyPr>
            <a:normAutofit/>
          </a:bodyPr>
          <a:lstStyle>
            <a:lvl1pPr marL="0" marR="0" indent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lang="pt-BR" sz="1100" b="0" i="0" u="none" strike="noStrike" cap="none" dirty="0">
                <a:solidFill>
                  <a:schemeClr val="bg1">
                    <a:lumMod val="50000"/>
                  </a:schemeClr>
                </a:solidFill>
                <a:latin typeface="+mn-lt"/>
                <a:ea typeface="Times New Roman" panose="02020603050405020304" pitchFamily="18" charset="0"/>
                <a:cs typeface="Arial"/>
                <a:sym typeface="Arial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pic>
        <p:nvPicPr>
          <p:cNvPr id="6" name="Imagem 5" descr="Logotipo&#10;&#10;Descrição gerada automaticamente">
            <a:extLst>
              <a:ext uri="{FF2B5EF4-FFF2-40B4-BE49-F238E27FC236}">
                <a16:creationId xmlns:a16="http://schemas.microsoft.com/office/drawing/2014/main" id="{6ABF1A4E-2E86-BEFC-CB5F-DEB96D53FF31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9877675" y="278512"/>
            <a:ext cx="864013" cy="507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980983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m Branco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áfico 3">
            <a:extLst>
              <a:ext uri="{FF2B5EF4-FFF2-40B4-BE49-F238E27FC236}">
                <a16:creationId xmlns:a16="http://schemas.microsoft.com/office/drawing/2014/main" id="{5536CC76-6171-B09D-FDF3-59407A13526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277600" y="-1751088"/>
            <a:ext cx="2647804" cy="3111172"/>
          </a:xfrm>
          <a:prstGeom prst="rect">
            <a:avLst/>
          </a:prstGeom>
        </p:spPr>
      </p:pic>
      <p:pic>
        <p:nvPicPr>
          <p:cNvPr id="5" name="Gráfico 4">
            <a:extLst>
              <a:ext uri="{FF2B5EF4-FFF2-40B4-BE49-F238E27FC236}">
                <a16:creationId xmlns:a16="http://schemas.microsoft.com/office/drawing/2014/main" id="{5C99EB3E-B5D8-9B44-1758-975265A41B45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-1477559" y="3052763"/>
            <a:ext cx="5182891" cy="6089900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BBDA759A-9915-56A7-B65A-20AE4C2B5F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70391" y="1668084"/>
            <a:ext cx="3046009" cy="1281113"/>
          </a:xfrm>
        </p:spPr>
        <p:txBody>
          <a:bodyPr>
            <a:normAutofit/>
          </a:bodyPr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6">
            <a:extLst>
              <a:ext uri="{FF2B5EF4-FFF2-40B4-BE49-F238E27FC236}">
                <a16:creationId xmlns:a16="http://schemas.microsoft.com/office/drawing/2014/main" id="{5A69258F-54AB-711A-8C68-B0EDF4C7EFE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71669" y="1313487"/>
            <a:ext cx="3044731" cy="354597"/>
          </a:xfrm>
        </p:spPr>
        <p:txBody>
          <a:bodyPr lIns="108000" anchor="b">
            <a:normAutofit/>
          </a:bodyPr>
          <a:lstStyle>
            <a:lvl1pPr algn="l">
              <a:lnSpc>
                <a:spcPct val="100000"/>
              </a:lnSpc>
              <a:defRPr sz="1100" b="0" cap="all" spc="1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BR" err="1"/>
              <a:t>TítulO</a:t>
            </a:r>
            <a:endParaRPr lang="pt-BR"/>
          </a:p>
        </p:txBody>
      </p:sp>
      <p:sp>
        <p:nvSpPr>
          <p:cNvPr id="48" name="Espaço Reservado para Texto 45">
            <a:extLst>
              <a:ext uri="{FF2B5EF4-FFF2-40B4-BE49-F238E27FC236}">
                <a16:creationId xmlns:a16="http://schemas.microsoft.com/office/drawing/2014/main" id="{AA0A1508-379C-FE57-7F02-B2F7615EF5CA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230813" y="1607419"/>
            <a:ext cx="2744787" cy="625475"/>
          </a:xfrm>
        </p:spPr>
        <p:txBody>
          <a:bodyPr>
            <a:noAutofit/>
          </a:bodyPr>
          <a:lstStyle>
            <a:lvl1pPr>
              <a:lnSpc>
                <a:spcPct val="130000"/>
              </a:lnSpc>
              <a:defRPr sz="1400" b="0">
                <a:solidFill>
                  <a:schemeClr val="bg2"/>
                </a:solidFill>
              </a:defRPr>
            </a:lvl1pPr>
            <a:lvl2pPr>
              <a:lnSpc>
                <a:spcPct val="130000"/>
              </a:lnSpc>
              <a:defRPr sz="1300">
                <a:solidFill>
                  <a:schemeClr val="tx2"/>
                </a:solidFill>
              </a:defRPr>
            </a:lvl2pPr>
            <a:lvl3pPr>
              <a:lnSpc>
                <a:spcPct val="130000"/>
              </a:lnSpc>
              <a:defRPr sz="1300">
                <a:solidFill>
                  <a:schemeClr val="tx2"/>
                </a:solidFill>
              </a:defRPr>
            </a:lvl3pPr>
            <a:lvl4pPr>
              <a:lnSpc>
                <a:spcPct val="130000"/>
              </a:lnSpc>
              <a:defRPr sz="1300">
                <a:solidFill>
                  <a:schemeClr val="tx2"/>
                </a:solidFill>
              </a:defRPr>
            </a:lvl4pPr>
            <a:lvl5pPr marL="1828800" indent="0">
              <a:lnSpc>
                <a:spcPct val="130000"/>
              </a:lnSpc>
              <a:buNone/>
              <a:defRPr sz="1300">
                <a:solidFill>
                  <a:schemeClr val="tx2"/>
                </a:solidFill>
              </a:defRPr>
            </a:lvl5pPr>
          </a:lstStyle>
          <a:p>
            <a:pPr lvl="0"/>
            <a:endParaRPr lang="pt-BR"/>
          </a:p>
        </p:txBody>
      </p:sp>
      <p:sp>
        <p:nvSpPr>
          <p:cNvPr id="50" name="Espaço Reservado para Texto 45">
            <a:extLst>
              <a:ext uri="{FF2B5EF4-FFF2-40B4-BE49-F238E27FC236}">
                <a16:creationId xmlns:a16="http://schemas.microsoft.com/office/drawing/2014/main" id="{90EFF4E9-FB08-5C1A-9AE1-FC5E00F8336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230813" y="2579309"/>
            <a:ext cx="2744787" cy="625475"/>
          </a:xfrm>
        </p:spPr>
        <p:txBody>
          <a:bodyPr>
            <a:noAutofit/>
          </a:bodyPr>
          <a:lstStyle>
            <a:lvl1pPr>
              <a:lnSpc>
                <a:spcPct val="130000"/>
              </a:lnSpc>
              <a:defRPr sz="1400" b="0">
                <a:solidFill>
                  <a:schemeClr val="bg2"/>
                </a:solidFill>
              </a:defRPr>
            </a:lvl1pPr>
            <a:lvl2pPr>
              <a:lnSpc>
                <a:spcPct val="130000"/>
              </a:lnSpc>
              <a:defRPr sz="1300">
                <a:solidFill>
                  <a:schemeClr val="tx2"/>
                </a:solidFill>
              </a:defRPr>
            </a:lvl2pPr>
            <a:lvl3pPr>
              <a:lnSpc>
                <a:spcPct val="130000"/>
              </a:lnSpc>
              <a:defRPr sz="1300">
                <a:solidFill>
                  <a:schemeClr val="tx2"/>
                </a:solidFill>
              </a:defRPr>
            </a:lvl3pPr>
            <a:lvl4pPr>
              <a:lnSpc>
                <a:spcPct val="130000"/>
              </a:lnSpc>
              <a:defRPr sz="1300">
                <a:solidFill>
                  <a:schemeClr val="tx2"/>
                </a:solidFill>
              </a:defRPr>
            </a:lvl4pPr>
            <a:lvl5pPr marL="1828800" indent="0">
              <a:lnSpc>
                <a:spcPct val="130000"/>
              </a:lnSpc>
              <a:buNone/>
              <a:defRPr sz="1300">
                <a:solidFill>
                  <a:schemeClr val="tx2"/>
                </a:solidFill>
              </a:defRPr>
            </a:lvl5pPr>
          </a:lstStyle>
          <a:p>
            <a:pPr lvl="0"/>
            <a:endParaRPr lang="pt-BR"/>
          </a:p>
        </p:txBody>
      </p:sp>
      <p:sp>
        <p:nvSpPr>
          <p:cNvPr id="56" name="Espaço Reservado para Texto 45">
            <a:extLst>
              <a:ext uri="{FF2B5EF4-FFF2-40B4-BE49-F238E27FC236}">
                <a16:creationId xmlns:a16="http://schemas.microsoft.com/office/drawing/2014/main" id="{69EED1E0-BCD6-F969-095D-CB3F4281C4CC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5230813" y="4500843"/>
            <a:ext cx="2744787" cy="625475"/>
          </a:xfrm>
        </p:spPr>
        <p:txBody>
          <a:bodyPr>
            <a:noAutofit/>
          </a:bodyPr>
          <a:lstStyle>
            <a:lvl1pPr>
              <a:lnSpc>
                <a:spcPct val="130000"/>
              </a:lnSpc>
              <a:defRPr sz="1400" b="0">
                <a:solidFill>
                  <a:schemeClr val="bg2"/>
                </a:solidFill>
              </a:defRPr>
            </a:lvl1pPr>
            <a:lvl2pPr>
              <a:lnSpc>
                <a:spcPct val="130000"/>
              </a:lnSpc>
              <a:defRPr sz="1300">
                <a:solidFill>
                  <a:schemeClr val="tx2"/>
                </a:solidFill>
              </a:defRPr>
            </a:lvl2pPr>
            <a:lvl3pPr>
              <a:lnSpc>
                <a:spcPct val="130000"/>
              </a:lnSpc>
              <a:defRPr sz="1300">
                <a:solidFill>
                  <a:schemeClr val="tx2"/>
                </a:solidFill>
              </a:defRPr>
            </a:lvl3pPr>
            <a:lvl4pPr>
              <a:lnSpc>
                <a:spcPct val="130000"/>
              </a:lnSpc>
              <a:defRPr sz="1300">
                <a:solidFill>
                  <a:schemeClr val="tx2"/>
                </a:solidFill>
              </a:defRPr>
            </a:lvl4pPr>
            <a:lvl5pPr marL="1828800" indent="0">
              <a:lnSpc>
                <a:spcPct val="130000"/>
              </a:lnSpc>
              <a:buNone/>
              <a:defRPr sz="1300">
                <a:solidFill>
                  <a:schemeClr val="tx2"/>
                </a:solidFill>
              </a:defRPr>
            </a:lvl5pPr>
          </a:lstStyle>
          <a:p>
            <a:pPr lvl="0"/>
            <a:endParaRPr lang="pt-BR"/>
          </a:p>
        </p:txBody>
      </p:sp>
      <p:sp>
        <p:nvSpPr>
          <p:cNvPr id="57" name="Espaço Reservado para Texto 45">
            <a:extLst>
              <a:ext uri="{FF2B5EF4-FFF2-40B4-BE49-F238E27FC236}">
                <a16:creationId xmlns:a16="http://schemas.microsoft.com/office/drawing/2014/main" id="{FC661200-4B00-8BE8-EBFB-A1ADFE405EB1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5230813" y="3533705"/>
            <a:ext cx="2744787" cy="625475"/>
          </a:xfrm>
        </p:spPr>
        <p:txBody>
          <a:bodyPr>
            <a:noAutofit/>
          </a:bodyPr>
          <a:lstStyle>
            <a:lvl1pPr>
              <a:lnSpc>
                <a:spcPct val="130000"/>
              </a:lnSpc>
              <a:defRPr sz="1400" b="0">
                <a:solidFill>
                  <a:schemeClr val="bg2"/>
                </a:solidFill>
              </a:defRPr>
            </a:lvl1pPr>
            <a:lvl2pPr>
              <a:lnSpc>
                <a:spcPct val="130000"/>
              </a:lnSpc>
              <a:defRPr sz="1300">
                <a:solidFill>
                  <a:schemeClr val="tx2"/>
                </a:solidFill>
              </a:defRPr>
            </a:lvl2pPr>
            <a:lvl3pPr>
              <a:lnSpc>
                <a:spcPct val="130000"/>
              </a:lnSpc>
              <a:defRPr sz="1300">
                <a:solidFill>
                  <a:schemeClr val="tx2"/>
                </a:solidFill>
              </a:defRPr>
            </a:lvl3pPr>
            <a:lvl4pPr>
              <a:lnSpc>
                <a:spcPct val="130000"/>
              </a:lnSpc>
              <a:defRPr sz="1300">
                <a:solidFill>
                  <a:schemeClr val="tx2"/>
                </a:solidFill>
              </a:defRPr>
            </a:lvl4pPr>
            <a:lvl5pPr marL="1828800" indent="0">
              <a:lnSpc>
                <a:spcPct val="130000"/>
              </a:lnSpc>
              <a:buNone/>
              <a:defRPr sz="1300">
                <a:solidFill>
                  <a:schemeClr val="tx2"/>
                </a:solidFill>
              </a:defRPr>
            </a:lvl5pPr>
          </a:lstStyle>
          <a:p>
            <a:pPr lvl="0"/>
            <a:endParaRPr lang="pt-BR"/>
          </a:p>
        </p:txBody>
      </p:sp>
      <p:sp>
        <p:nvSpPr>
          <p:cNvPr id="58" name="Espaço Reservado para Texto 45">
            <a:extLst>
              <a:ext uri="{FF2B5EF4-FFF2-40B4-BE49-F238E27FC236}">
                <a16:creationId xmlns:a16="http://schemas.microsoft.com/office/drawing/2014/main" id="{345D7696-2F1D-1E51-5609-E3C0EBA299DC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8756650" y="1607419"/>
            <a:ext cx="2516187" cy="625475"/>
          </a:xfrm>
        </p:spPr>
        <p:txBody>
          <a:bodyPr>
            <a:noAutofit/>
          </a:bodyPr>
          <a:lstStyle>
            <a:lvl1pPr>
              <a:lnSpc>
                <a:spcPct val="130000"/>
              </a:lnSpc>
              <a:defRPr sz="1400" b="0">
                <a:solidFill>
                  <a:schemeClr val="bg2"/>
                </a:solidFill>
              </a:defRPr>
            </a:lvl1pPr>
            <a:lvl2pPr>
              <a:lnSpc>
                <a:spcPct val="130000"/>
              </a:lnSpc>
              <a:defRPr sz="1300">
                <a:solidFill>
                  <a:schemeClr val="tx2"/>
                </a:solidFill>
              </a:defRPr>
            </a:lvl2pPr>
            <a:lvl3pPr>
              <a:lnSpc>
                <a:spcPct val="130000"/>
              </a:lnSpc>
              <a:defRPr sz="1300">
                <a:solidFill>
                  <a:schemeClr val="tx2"/>
                </a:solidFill>
              </a:defRPr>
            </a:lvl3pPr>
            <a:lvl4pPr>
              <a:lnSpc>
                <a:spcPct val="130000"/>
              </a:lnSpc>
              <a:defRPr sz="1300">
                <a:solidFill>
                  <a:schemeClr val="tx2"/>
                </a:solidFill>
              </a:defRPr>
            </a:lvl4pPr>
            <a:lvl5pPr marL="1828800" indent="0">
              <a:lnSpc>
                <a:spcPct val="130000"/>
              </a:lnSpc>
              <a:buNone/>
              <a:defRPr sz="1300">
                <a:solidFill>
                  <a:schemeClr val="tx2"/>
                </a:solidFill>
              </a:defRPr>
            </a:lvl5pPr>
          </a:lstStyle>
          <a:p>
            <a:pPr lvl="0"/>
            <a:endParaRPr lang="pt-BR"/>
          </a:p>
        </p:txBody>
      </p:sp>
      <p:sp>
        <p:nvSpPr>
          <p:cNvPr id="59" name="Espaço Reservado para Texto 45">
            <a:extLst>
              <a:ext uri="{FF2B5EF4-FFF2-40B4-BE49-F238E27FC236}">
                <a16:creationId xmlns:a16="http://schemas.microsoft.com/office/drawing/2014/main" id="{22E326E2-1473-4ABD-2CF9-3D37955704CC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8756650" y="2579309"/>
            <a:ext cx="2516187" cy="625475"/>
          </a:xfrm>
        </p:spPr>
        <p:txBody>
          <a:bodyPr>
            <a:noAutofit/>
          </a:bodyPr>
          <a:lstStyle>
            <a:lvl1pPr>
              <a:lnSpc>
                <a:spcPct val="130000"/>
              </a:lnSpc>
              <a:defRPr sz="1400" b="0">
                <a:solidFill>
                  <a:schemeClr val="bg2"/>
                </a:solidFill>
              </a:defRPr>
            </a:lvl1pPr>
            <a:lvl2pPr>
              <a:lnSpc>
                <a:spcPct val="130000"/>
              </a:lnSpc>
              <a:defRPr sz="1300">
                <a:solidFill>
                  <a:schemeClr val="tx2"/>
                </a:solidFill>
              </a:defRPr>
            </a:lvl2pPr>
            <a:lvl3pPr>
              <a:lnSpc>
                <a:spcPct val="130000"/>
              </a:lnSpc>
              <a:defRPr sz="1300">
                <a:solidFill>
                  <a:schemeClr val="tx2"/>
                </a:solidFill>
              </a:defRPr>
            </a:lvl3pPr>
            <a:lvl4pPr>
              <a:lnSpc>
                <a:spcPct val="130000"/>
              </a:lnSpc>
              <a:defRPr sz="1300">
                <a:solidFill>
                  <a:schemeClr val="tx2"/>
                </a:solidFill>
              </a:defRPr>
            </a:lvl4pPr>
            <a:lvl5pPr marL="1828800" indent="0">
              <a:lnSpc>
                <a:spcPct val="130000"/>
              </a:lnSpc>
              <a:buNone/>
              <a:defRPr sz="1300">
                <a:solidFill>
                  <a:schemeClr val="tx2"/>
                </a:solidFill>
              </a:defRPr>
            </a:lvl5pPr>
          </a:lstStyle>
          <a:p>
            <a:pPr lvl="0"/>
            <a:endParaRPr lang="pt-BR"/>
          </a:p>
        </p:txBody>
      </p:sp>
      <p:sp>
        <p:nvSpPr>
          <p:cNvPr id="60" name="Espaço Reservado para Texto 45">
            <a:extLst>
              <a:ext uri="{FF2B5EF4-FFF2-40B4-BE49-F238E27FC236}">
                <a16:creationId xmlns:a16="http://schemas.microsoft.com/office/drawing/2014/main" id="{5A6A8A0A-A9DC-57C3-F49B-D204B25F3ED9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8756650" y="4500843"/>
            <a:ext cx="2516187" cy="625475"/>
          </a:xfrm>
        </p:spPr>
        <p:txBody>
          <a:bodyPr>
            <a:noAutofit/>
          </a:bodyPr>
          <a:lstStyle>
            <a:lvl1pPr>
              <a:lnSpc>
                <a:spcPct val="130000"/>
              </a:lnSpc>
              <a:defRPr sz="1400" b="0">
                <a:solidFill>
                  <a:schemeClr val="bg2"/>
                </a:solidFill>
              </a:defRPr>
            </a:lvl1pPr>
            <a:lvl2pPr>
              <a:lnSpc>
                <a:spcPct val="130000"/>
              </a:lnSpc>
              <a:defRPr sz="1300">
                <a:solidFill>
                  <a:schemeClr val="tx2"/>
                </a:solidFill>
              </a:defRPr>
            </a:lvl2pPr>
            <a:lvl3pPr>
              <a:lnSpc>
                <a:spcPct val="130000"/>
              </a:lnSpc>
              <a:defRPr sz="1300">
                <a:solidFill>
                  <a:schemeClr val="tx2"/>
                </a:solidFill>
              </a:defRPr>
            </a:lvl3pPr>
            <a:lvl4pPr>
              <a:lnSpc>
                <a:spcPct val="130000"/>
              </a:lnSpc>
              <a:defRPr sz="1300">
                <a:solidFill>
                  <a:schemeClr val="tx2"/>
                </a:solidFill>
              </a:defRPr>
            </a:lvl4pPr>
            <a:lvl5pPr marL="1828800" indent="0">
              <a:lnSpc>
                <a:spcPct val="130000"/>
              </a:lnSpc>
              <a:buNone/>
              <a:defRPr sz="1300">
                <a:solidFill>
                  <a:schemeClr val="tx2"/>
                </a:solidFill>
              </a:defRPr>
            </a:lvl5pPr>
          </a:lstStyle>
          <a:p>
            <a:pPr lvl="0"/>
            <a:endParaRPr lang="pt-BR"/>
          </a:p>
        </p:txBody>
      </p:sp>
      <p:sp>
        <p:nvSpPr>
          <p:cNvPr id="61" name="Espaço Reservado para Texto 45">
            <a:extLst>
              <a:ext uri="{FF2B5EF4-FFF2-40B4-BE49-F238E27FC236}">
                <a16:creationId xmlns:a16="http://schemas.microsoft.com/office/drawing/2014/main" id="{D3BE16D6-E390-D1BC-569E-B7C8A4BAC1EF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8756650" y="3533705"/>
            <a:ext cx="2516187" cy="625475"/>
          </a:xfrm>
        </p:spPr>
        <p:txBody>
          <a:bodyPr>
            <a:noAutofit/>
          </a:bodyPr>
          <a:lstStyle>
            <a:lvl1pPr>
              <a:lnSpc>
                <a:spcPct val="130000"/>
              </a:lnSpc>
              <a:defRPr sz="1400" b="0">
                <a:solidFill>
                  <a:schemeClr val="bg2"/>
                </a:solidFill>
              </a:defRPr>
            </a:lvl1pPr>
            <a:lvl2pPr>
              <a:lnSpc>
                <a:spcPct val="130000"/>
              </a:lnSpc>
              <a:defRPr sz="1300">
                <a:solidFill>
                  <a:schemeClr val="tx2"/>
                </a:solidFill>
              </a:defRPr>
            </a:lvl2pPr>
            <a:lvl3pPr>
              <a:lnSpc>
                <a:spcPct val="130000"/>
              </a:lnSpc>
              <a:defRPr sz="1300">
                <a:solidFill>
                  <a:schemeClr val="tx2"/>
                </a:solidFill>
              </a:defRPr>
            </a:lvl3pPr>
            <a:lvl4pPr>
              <a:lnSpc>
                <a:spcPct val="130000"/>
              </a:lnSpc>
              <a:defRPr sz="1300">
                <a:solidFill>
                  <a:schemeClr val="tx2"/>
                </a:solidFill>
              </a:defRPr>
            </a:lvl4pPr>
            <a:lvl5pPr marL="1828800" indent="0">
              <a:lnSpc>
                <a:spcPct val="130000"/>
              </a:lnSpc>
              <a:buNone/>
              <a:defRPr sz="1300">
                <a:solidFill>
                  <a:schemeClr val="tx2"/>
                </a:solidFill>
              </a:defRPr>
            </a:lvl5pPr>
          </a:lstStyle>
          <a:p>
            <a:pPr lvl="0"/>
            <a:endParaRPr lang="pt-BR"/>
          </a:p>
        </p:txBody>
      </p:sp>
      <p:sp>
        <p:nvSpPr>
          <p:cNvPr id="7" name="Espaço Reservado para Imagem 6">
            <a:extLst>
              <a:ext uri="{FF2B5EF4-FFF2-40B4-BE49-F238E27FC236}">
                <a16:creationId xmlns:a16="http://schemas.microsoft.com/office/drawing/2014/main" id="{9F790EC3-C462-56AD-2B08-F7FF72508A8C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4576763" y="1571153"/>
            <a:ext cx="654050" cy="65405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endParaRPr lang="pt-BR"/>
          </a:p>
        </p:txBody>
      </p:sp>
      <p:sp>
        <p:nvSpPr>
          <p:cNvPr id="9" name="Espaço Reservado para Imagem 6">
            <a:extLst>
              <a:ext uri="{FF2B5EF4-FFF2-40B4-BE49-F238E27FC236}">
                <a16:creationId xmlns:a16="http://schemas.microsoft.com/office/drawing/2014/main" id="{117F00D3-8A9D-BA5C-B4D6-56F53DABE081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4576763" y="4468922"/>
            <a:ext cx="654050" cy="654050"/>
          </a:xfrm>
          <a:prstGeom prst="ellipse">
            <a:avLst/>
          </a:prstGeom>
        </p:spPr>
        <p:txBody>
          <a:bodyPr/>
          <a:lstStyle/>
          <a:p>
            <a:endParaRPr lang="pt-BR"/>
          </a:p>
        </p:txBody>
      </p:sp>
      <p:sp>
        <p:nvSpPr>
          <p:cNvPr id="11" name="Espaço Reservado para Imagem 6">
            <a:extLst>
              <a:ext uri="{FF2B5EF4-FFF2-40B4-BE49-F238E27FC236}">
                <a16:creationId xmlns:a16="http://schemas.microsoft.com/office/drawing/2014/main" id="{C63AF8FD-7A31-97C0-140D-F6C27992E08A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4576763" y="3507444"/>
            <a:ext cx="654050" cy="654050"/>
          </a:xfrm>
          <a:prstGeom prst="ellipse">
            <a:avLst/>
          </a:prstGeom>
        </p:spPr>
        <p:txBody>
          <a:bodyPr/>
          <a:lstStyle/>
          <a:p>
            <a:endParaRPr lang="pt-BR"/>
          </a:p>
        </p:txBody>
      </p:sp>
      <p:sp>
        <p:nvSpPr>
          <p:cNvPr id="13" name="Espaço Reservado para Imagem 6">
            <a:extLst>
              <a:ext uri="{FF2B5EF4-FFF2-40B4-BE49-F238E27FC236}">
                <a16:creationId xmlns:a16="http://schemas.microsoft.com/office/drawing/2014/main" id="{F1E03703-2380-F3EB-4FA7-CE7A98BD8A46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4576763" y="2545093"/>
            <a:ext cx="654050" cy="654050"/>
          </a:xfrm>
          <a:prstGeom prst="ellipse">
            <a:avLst/>
          </a:prstGeom>
        </p:spPr>
        <p:txBody>
          <a:bodyPr/>
          <a:lstStyle/>
          <a:p>
            <a:endParaRPr lang="pt-BR"/>
          </a:p>
        </p:txBody>
      </p:sp>
      <p:sp>
        <p:nvSpPr>
          <p:cNvPr id="18" name="Espaço Reservado para Imagem 6">
            <a:extLst>
              <a:ext uri="{FF2B5EF4-FFF2-40B4-BE49-F238E27FC236}">
                <a16:creationId xmlns:a16="http://schemas.microsoft.com/office/drawing/2014/main" id="{F2561D0A-B2DA-2E1A-6F9F-4F820557716D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8102600" y="1571153"/>
            <a:ext cx="654050" cy="654050"/>
          </a:xfrm>
          <a:prstGeom prst="ellipse">
            <a:avLst/>
          </a:prstGeom>
        </p:spPr>
        <p:txBody>
          <a:bodyPr/>
          <a:lstStyle/>
          <a:p>
            <a:endParaRPr lang="pt-BR"/>
          </a:p>
        </p:txBody>
      </p:sp>
      <p:sp>
        <p:nvSpPr>
          <p:cNvPr id="19" name="Espaço Reservado para Imagem 6">
            <a:extLst>
              <a:ext uri="{FF2B5EF4-FFF2-40B4-BE49-F238E27FC236}">
                <a16:creationId xmlns:a16="http://schemas.microsoft.com/office/drawing/2014/main" id="{5FF9A836-CC47-5A5F-1F9F-77925A1F4580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8102600" y="4468922"/>
            <a:ext cx="654050" cy="654050"/>
          </a:xfrm>
          <a:prstGeom prst="ellipse">
            <a:avLst/>
          </a:prstGeom>
        </p:spPr>
        <p:txBody>
          <a:bodyPr/>
          <a:lstStyle/>
          <a:p>
            <a:endParaRPr lang="pt-BR"/>
          </a:p>
        </p:txBody>
      </p:sp>
      <p:sp>
        <p:nvSpPr>
          <p:cNvPr id="20" name="Espaço Reservado para Imagem 6">
            <a:extLst>
              <a:ext uri="{FF2B5EF4-FFF2-40B4-BE49-F238E27FC236}">
                <a16:creationId xmlns:a16="http://schemas.microsoft.com/office/drawing/2014/main" id="{6B2CA7E3-B922-EC4D-43CF-64B5C722AF49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8102600" y="3507444"/>
            <a:ext cx="654050" cy="654050"/>
          </a:xfrm>
          <a:prstGeom prst="ellipse">
            <a:avLst/>
          </a:prstGeom>
        </p:spPr>
        <p:txBody>
          <a:bodyPr/>
          <a:lstStyle/>
          <a:p>
            <a:endParaRPr lang="pt-BR"/>
          </a:p>
        </p:txBody>
      </p:sp>
      <p:sp>
        <p:nvSpPr>
          <p:cNvPr id="21" name="Espaço Reservado para Imagem 6">
            <a:extLst>
              <a:ext uri="{FF2B5EF4-FFF2-40B4-BE49-F238E27FC236}">
                <a16:creationId xmlns:a16="http://schemas.microsoft.com/office/drawing/2014/main" id="{59009F60-9F6B-1234-55D4-BBD6C8FA18BA}"/>
              </a:ext>
            </a:extLst>
          </p:cNvPr>
          <p:cNvSpPr>
            <a:spLocks noGrp="1"/>
          </p:cNvSpPr>
          <p:nvPr>
            <p:ph type="pic" sz="quarter" idx="39"/>
          </p:nvPr>
        </p:nvSpPr>
        <p:spPr>
          <a:xfrm>
            <a:off x="8102600" y="2545093"/>
            <a:ext cx="654050" cy="654050"/>
          </a:xfrm>
          <a:prstGeom prst="ellipse">
            <a:avLst/>
          </a:prstGeom>
        </p:spPr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89144072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6298609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CE8555A5-CA9C-44C0-D421-B213BA42057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299623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3" imgW="532" imgH="530" progId="TCLayout.ActiveDocument.1">
                  <p:embed/>
                </p:oleObj>
              </mc:Choice>
              <mc:Fallback>
                <p:oleObj name="Slide do think-cell" r:id="rId3" imgW="532" imgH="530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E8555A5-CA9C-44C0-D421-B213BA4205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1" y="1663560"/>
            <a:ext cx="9144000" cy="1846403"/>
          </a:xfrm>
        </p:spPr>
        <p:txBody>
          <a:bodyPr vert="horz" anchor="b"/>
          <a:lstStyle>
            <a:lvl1pPr algn="ctr" rtl="0">
              <a:defRPr sz="5999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1" y="3602039"/>
            <a:ext cx="9144000" cy="369332"/>
          </a:xfrm>
        </p:spPr>
        <p:txBody>
          <a:bodyPr/>
          <a:lstStyle>
            <a:lvl1pPr marL="0" indent="0" algn="ctr" rtl="0">
              <a:buNone/>
              <a:defRPr sz="2400"/>
            </a:lvl1pPr>
            <a:lvl2pPr marL="457108" indent="0" algn="ctr">
              <a:buNone/>
              <a:defRPr sz="2000"/>
            </a:lvl2pPr>
            <a:lvl3pPr marL="914214" indent="0" algn="ctr">
              <a:buNone/>
              <a:defRPr sz="1800"/>
            </a:lvl3pPr>
            <a:lvl4pPr marL="1371322" indent="0" algn="ctr">
              <a:buNone/>
              <a:defRPr sz="1600"/>
            </a:lvl4pPr>
            <a:lvl5pPr marL="1828429" indent="0" algn="ctr">
              <a:buNone/>
              <a:defRPr sz="1600"/>
            </a:lvl5pPr>
            <a:lvl6pPr marL="2285536" indent="0" algn="ctr">
              <a:buNone/>
              <a:defRPr sz="1600"/>
            </a:lvl6pPr>
            <a:lvl7pPr marL="2742643" indent="0" algn="ctr">
              <a:buNone/>
              <a:defRPr sz="1600"/>
            </a:lvl7pPr>
            <a:lvl8pPr marL="3199751" indent="0" algn="ctr">
              <a:buNone/>
              <a:defRPr sz="1600"/>
            </a:lvl8pPr>
            <a:lvl9pPr marL="3656858" indent="0" algn="ctr">
              <a:buNone/>
              <a:defRPr sz="1600"/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C47DBC13-1C4E-4C0D-A7E5-1B3DFF9BDB77}" type="datetimeFigureOut">
              <a:rPr lang="pt-BR" smtClean="0"/>
              <a:pPr/>
              <a:t>16/01/2026</a:t>
            </a:fld>
            <a:endParaRPr lang="pt-B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pt-B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975CA566-0B28-4957-BC96-83CEC6D5E960}" type="slidenum">
              <a:rPr lang="pt-BR" smtClean="0"/>
              <a:pPr/>
              <a:t>‹nº›</a:t>
            </a:fld>
            <a:endParaRPr lang="pt-BR"/>
          </a:p>
        </p:txBody>
      </p:sp>
      <p:pic>
        <p:nvPicPr>
          <p:cNvPr id="7" name="Imagem 6" descr="Forma&#10;&#10;Descrição gerada automaticamente com confiança média">
            <a:extLst>
              <a:ext uri="{FF2B5EF4-FFF2-40B4-BE49-F238E27FC236}">
                <a16:creationId xmlns:a16="http://schemas.microsoft.com/office/drawing/2014/main" id="{6C42CBA3-3FF3-3B97-6246-534609936BA6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64425" y="0"/>
            <a:ext cx="12364833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924611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+Tabe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5586580-0C6D-43CF-AD2C-25ADE4B5388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687321" y="351897"/>
            <a:ext cx="9144000" cy="621770"/>
          </a:xfrm>
          <a:prstGeom prst="rect">
            <a:avLst/>
          </a:prstGeom>
        </p:spPr>
        <p:txBody>
          <a:bodyPr anchor="t"/>
          <a:lstStyle>
            <a:lvl1pPr algn="r">
              <a:defRPr sz="2800">
                <a:solidFill>
                  <a:schemeClr val="accent3">
                    <a:lumMod val="75000"/>
                  </a:schemeClr>
                </a:solidFill>
                <a:latin typeface="+mj-lt"/>
                <a:cs typeface="Calibri" panose="020F0502020204030204" pitchFamily="34" charset="0"/>
              </a:defRPr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4AE4E1D4-AB1A-48D1-9A59-F20EE335B9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168742" y="6444615"/>
            <a:ext cx="772886" cy="318134"/>
          </a:xfrm>
          <a:prstGeom prst="rect">
            <a:avLst/>
          </a:prstGeom>
        </p:spPr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99951704-927B-4A22-8579-F84376718AE5}" type="slidenum">
              <a:rPr lang="pt-BR" smtClean="0"/>
              <a:pPr/>
              <a:t>‹nº›</a:t>
            </a:fld>
            <a:endParaRPr lang="pt-BR"/>
          </a:p>
        </p:txBody>
      </p:sp>
      <p:sp>
        <p:nvSpPr>
          <p:cNvPr id="13" name="Espaço Reservado para Texto 2">
            <a:extLst>
              <a:ext uri="{FF2B5EF4-FFF2-40B4-BE49-F238E27FC236}">
                <a16:creationId xmlns:a16="http://schemas.microsoft.com/office/drawing/2014/main" id="{B66346A9-9466-407E-A0B6-D5718A5A7DD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60363" y="1701800"/>
            <a:ext cx="4525963" cy="4346575"/>
          </a:xfrm>
          <a:prstGeom prst="rect">
            <a:avLst/>
          </a:prstGeom>
        </p:spPr>
        <p:txBody>
          <a:bodyPr anchor="t"/>
          <a:lstStyle>
            <a:lvl1pPr marL="0" indent="0" algn="just">
              <a:buNone/>
              <a:defRPr sz="1600">
                <a:solidFill>
                  <a:srgbClr val="7F7F7F"/>
                </a:solidFill>
                <a:latin typeface="+mn-lt"/>
                <a:cs typeface="Calibri" panose="020F0502020204030204" pitchFamily="34" charset="0"/>
              </a:defRPr>
            </a:lvl1pPr>
            <a:lvl2pPr marL="457086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172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25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3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42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51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6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9" name="Espaço Reservado para Texto 2">
            <a:extLst>
              <a:ext uri="{FF2B5EF4-FFF2-40B4-BE49-F238E27FC236}">
                <a16:creationId xmlns:a16="http://schemas.microsoft.com/office/drawing/2014/main" id="{84216B22-24C4-4F2C-BD2F-46A234CB2D68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360362" y="1168240"/>
            <a:ext cx="11470959" cy="415026"/>
          </a:xfrm>
          <a:prstGeom prst="rect">
            <a:avLst/>
          </a:prstGeom>
        </p:spPr>
        <p:txBody>
          <a:bodyPr anchor="t"/>
          <a:lstStyle>
            <a:lvl1pPr marL="0" indent="0" algn="l">
              <a:buNone/>
              <a:defRPr sz="2400">
                <a:solidFill>
                  <a:schemeClr val="accent2"/>
                </a:solidFill>
                <a:latin typeface="+mj-lt"/>
                <a:cs typeface="Calibri" panose="020F0502020204030204" pitchFamily="34" charset="0"/>
              </a:defRPr>
            </a:lvl1pPr>
            <a:lvl2pPr marL="457086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172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25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3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42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51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6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Clique para editar o texto</a:t>
            </a:r>
          </a:p>
        </p:txBody>
      </p:sp>
      <p:sp>
        <p:nvSpPr>
          <p:cNvPr id="4" name="Espaço Reservado para Tabela 3">
            <a:extLst>
              <a:ext uri="{FF2B5EF4-FFF2-40B4-BE49-F238E27FC236}">
                <a16:creationId xmlns:a16="http://schemas.microsoft.com/office/drawing/2014/main" id="{47C59625-73A2-486F-A6CE-FC9D84F1135D}"/>
              </a:ext>
            </a:extLst>
          </p:cNvPr>
          <p:cNvSpPr>
            <a:spLocks noGrp="1"/>
          </p:cNvSpPr>
          <p:nvPr>
            <p:ph type="tbl" sz="quarter" idx="15"/>
          </p:nvPr>
        </p:nvSpPr>
        <p:spPr>
          <a:xfrm>
            <a:off x="5124451" y="2313677"/>
            <a:ext cx="6706871" cy="334433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endParaRPr lang="pt-BR"/>
          </a:p>
        </p:txBody>
      </p:sp>
      <p:sp>
        <p:nvSpPr>
          <p:cNvPr id="3" name="Marcador de pie de página 2">
            <a:extLst>
              <a:ext uri="{FF2B5EF4-FFF2-40B4-BE49-F238E27FC236}">
                <a16:creationId xmlns:a16="http://schemas.microsoft.com/office/drawing/2014/main" id="{E27F2044-D146-4E7F-A726-CAE4551C5D1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250372" y="6421121"/>
            <a:ext cx="41148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46775503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lipse 9">
            <a:extLst>
              <a:ext uri="{FF2B5EF4-FFF2-40B4-BE49-F238E27FC236}">
                <a16:creationId xmlns:a16="http://schemas.microsoft.com/office/drawing/2014/main" id="{1DA6EAF7-7A58-A806-93AB-79252ADE3D02}"/>
              </a:ext>
            </a:extLst>
          </p:cNvPr>
          <p:cNvSpPr/>
          <p:nvPr userDrawn="1"/>
        </p:nvSpPr>
        <p:spPr>
          <a:xfrm>
            <a:off x="5991426" y="507252"/>
            <a:ext cx="3400926" cy="3400926"/>
          </a:xfrm>
          <a:prstGeom prst="ellipse">
            <a:avLst/>
          </a:prstGeom>
          <a:noFill/>
          <a:ln w="57150" cap="rnd">
            <a:solidFill>
              <a:schemeClr val="bg2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6" name="Gráfico 5">
            <a:extLst>
              <a:ext uri="{FF2B5EF4-FFF2-40B4-BE49-F238E27FC236}">
                <a16:creationId xmlns:a16="http://schemas.microsoft.com/office/drawing/2014/main" id="{63E891D6-3C9E-6CA7-58C5-A99C0C4D22B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458099" y="274462"/>
            <a:ext cx="1577057" cy="1853043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B9827399-D6D9-8189-3904-36F5D87972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4400" y="2838195"/>
            <a:ext cx="5067300" cy="1326091"/>
          </a:xfrm>
          <a:prstGeom prst="rect">
            <a:avLst/>
          </a:prstGeom>
        </p:spPr>
        <p:txBody>
          <a:bodyPr>
            <a:noAutofit/>
          </a:bodyPr>
          <a:lstStyle>
            <a:lvl1pPr marR="0" algn="l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pt-BR" sz="4800" b="1" i="0" u="none" strike="noStrike" cap="none" spc="-100" baseline="0" dirty="0">
                <a:solidFill>
                  <a:schemeClr val="accent1"/>
                </a:solidFill>
                <a:latin typeface="+mj-lt"/>
                <a:ea typeface="Arial"/>
                <a:cs typeface="Poppins" panose="00000500000000000000" pitchFamily="2" charset="0"/>
                <a:sym typeface="Arial"/>
              </a:defRPr>
            </a:lvl1pPr>
          </a:lstStyle>
          <a:p>
            <a:r>
              <a:rPr lang="pt-BR"/>
              <a:t>Clique para editar o título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53DD9C0-0B7B-4802-9204-0F90379C05A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230111" y="1170710"/>
            <a:ext cx="4516582" cy="4516582"/>
          </a:xfrm>
          <a:custGeom>
            <a:avLst/>
            <a:gdLst>
              <a:gd name="connsiteX0" fmla="*/ 3543300 w 7086600"/>
              <a:gd name="connsiteY0" fmla="*/ 0 h 7086600"/>
              <a:gd name="connsiteX1" fmla="*/ 7086600 w 7086600"/>
              <a:gd name="connsiteY1" fmla="*/ 3543300 h 7086600"/>
              <a:gd name="connsiteX2" fmla="*/ 3543300 w 7086600"/>
              <a:gd name="connsiteY2" fmla="*/ 7086600 h 7086600"/>
              <a:gd name="connsiteX3" fmla="*/ 0 w 7086600"/>
              <a:gd name="connsiteY3" fmla="*/ 3543300 h 7086600"/>
              <a:gd name="connsiteX4" fmla="*/ 3543300 w 7086600"/>
              <a:gd name="connsiteY4" fmla="*/ 0 h 7086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086600" h="7086600">
                <a:moveTo>
                  <a:pt x="3543300" y="0"/>
                </a:moveTo>
                <a:cubicBezTo>
                  <a:pt x="5500211" y="0"/>
                  <a:pt x="7086600" y="1586389"/>
                  <a:pt x="7086600" y="3543300"/>
                </a:cubicBezTo>
                <a:cubicBezTo>
                  <a:pt x="7086600" y="5500211"/>
                  <a:pt x="5500211" y="7086600"/>
                  <a:pt x="3543300" y="7086600"/>
                </a:cubicBezTo>
                <a:cubicBezTo>
                  <a:pt x="1586389" y="7086600"/>
                  <a:pt x="0" y="5500211"/>
                  <a:pt x="0" y="3543300"/>
                </a:cubicBezTo>
                <a:cubicBezTo>
                  <a:pt x="0" y="1586389"/>
                  <a:pt x="1586389" y="0"/>
                  <a:pt x="35433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 algn="ctr">
              <a:defRPr sz="1333"/>
            </a:lvl1pPr>
          </a:lstStyle>
          <a:p>
            <a:endParaRPr lang="en-ID"/>
          </a:p>
        </p:txBody>
      </p:sp>
      <p:sp>
        <p:nvSpPr>
          <p:cNvPr id="3" name="Elipse 2">
            <a:extLst>
              <a:ext uri="{FF2B5EF4-FFF2-40B4-BE49-F238E27FC236}">
                <a16:creationId xmlns:a16="http://schemas.microsoft.com/office/drawing/2014/main" id="{3DA375F6-7AA0-AEC1-BC95-CE2BAFBDE8A2}"/>
              </a:ext>
            </a:extLst>
          </p:cNvPr>
          <p:cNvSpPr/>
          <p:nvPr userDrawn="1"/>
        </p:nvSpPr>
        <p:spPr>
          <a:xfrm>
            <a:off x="6114793" y="1078111"/>
            <a:ext cx="4747217" cy="4747217"/>
          </a:xfrm>
          <a:prstGeom prst="ellipse">
            <a:avLst/>
          </a:prstGeom>
          <a:noFill/>
          <a:ln w="28575">
            <a:solidFill>
              <a:schemeClr val="bg1"/>
            </a:solidFill>
            <a:extLst>
              <a:ext uri="{C807C97D-BFC1-408E-A445-0C87EB9F89A2}">
                <ask:lineSketchStyleProps xmlns:ask="http://schemas.microsoft.com/office/drawing/2018/sketchyshapes" sd="264327539">
                  <a:custGeom>
                    <a:avLst/>
                    <a:gdLst>
                      <a:gd name="connsiteX0" fmla="*/ 0 w 4747217"/>
                      <a:gd name="connsiteY0" fmla="*/ 2373609 h 4747217"/>
                      <a:gd name="connsiteX1" fmla="*/ 2373609 w 4747217"/>
                      <a:gd name="connsiteY1" fmla="*/ 0 h 4747217"/>
                      <a:gd name="connsiteX2" fmla="*/ 4747218 w 4747217"/>
                      <a:gd name="connsiteY2" fmla="*/ 2373609 h 4747217"/>
                      <a:gd name="connsiteX3" fmla="*/ 2373609 w 4747217"/>
                      <a:gd name="connsiteY3" fmla="*/ 4747218 h 4747217"/>
                      <a:gd name="connsiteX4" fmla="*/ 0 w 4747217"/>
                      <a:gd name="connsiteY4" fmla="*/ 2373609 h 474721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747217" h="4747217" extrusionOk="0">
                        <a:moveTo>
                          <a:pt x="0" y="2373609"/>
                        </a:moveTo>
                        <a:cubicBezTo>
                          <a:pt x="-47287" y="930507"/>
                          <a:pt x="1050209" y="-151600"/>
                          <a:pt x="2373609" y="0"/>
                        </a:cubicBezTo>
                        <a:cubicBezTo>
                          <a:pt x="3459270" y="-54555"/>
                          <a:pt x="4685701" y="1074288"/>
                          <a:pt x="4747218" y="2373609"/>
                        </a:cubicBezTo>
                        <a:cubicBezTo>
                          <a:pt x="4844760" y="3890868"/>
                          <a:pt x="3836141" y="4684234"/>
                          <a:pt x="2373609" y="4747218"/>
                        </a:cubicBezTo>
                        <a:cubicBezTo>
                          <a:pt x="1311770" y="4759003"/>
                          <a:pt x="3635" y="3726051"/>
                          <a:pt x="0" y="2373609"/>
                        </a:cubicBezTo>
                        <a:close/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933"/>
          </a:p>
        </p:txBody>
      </p:sp>
      <p:pic>
        <p:nvPicPr>
          <p:cNvPr id="9" name="Gráfico 8">
            <a:extLst>
              <a:ext uri="{FF2B5EF4-FFF2-40B4-BE49-F238E27FC236}">
                <a16:creationId xmlns:a16="http://schemas.microsoft.com/office/drawing/2014/main" id="{F3284FE4-4CFB-8D54-E3D2-F2EE05FC531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38386" y="1200983"/>
            <a:ext cx="1412714" cy="829797"/>
          </a:xfrm>
          <a:prstGeom prst="rect">
            <a:avLst/>
          </a:prstGeom>
        </p:spPr>
      </p:pic>
      <p:pic>
        <p:nvPicPr>
          <p:cNvPr id="11" name="Gráfico 10">
            <a:extLst>
              <a:ext uri="{FF2B5EF4-FFF2-40B4-BE49-F238E27FC236}">
                <a16:creationId xmlns:a16="http://schemas.microsoft.com/office/drawing/2014/main" id="{E1E74A66-AB3B-0B9D-E917-184B6A4C9939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-585919" y="-473413"/>
            <a:ext cx="1577057" cy="1853043"/>
          </a:xfrm>
          <a:prstGeom prst="rect">
            <a:avLst/>
          </a:prstGeom>
        </p:spPr>
      </p:pic>
      <p:sp>
        <p:nvSpPr>
          <p:cNvPr id="13" name="Título 1">
            <a:extLst>
              <a:ext uri="{FF2B5EF4-FFF2-40B4-BE49-F238E27FC236}">
                <a16:creationId xmlns:a16="http://schemas.microsoft.com/office/drawing/2014/main" id="{40E63747-3802-E5CE-C8ED-52D01051B737}"/>
              </a:ext>
            </a:extLst>
          </p:cNvPr>
          <p:cNvSpPr txBox="1">
            <a:spLocks/>
          </p:cNvSpPr>
          <p:nvPr userDrawn="1"/>
        </p:nvSpPr>
        <p:spPr>
          <a:xfrm>
            <a:off x="914400" y="4763247"/>
            <a:ext cx="5067300" cy="1326091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R="0" algn="l" defTabSz="914400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lang="pt-BR" sz="4800" b="1" i="0" u="none" strike="noStrike" kern="1200" cap="none" spc="-40" baseline="0" dirty="0">
                <a:solidFill>
                  <a:schemeClr val="accent1"/>
                </a:solidFill>
                <a:latin typeface="+mj-lt"/>
                <a:ea typeface="Arial"/>
                <a:cs typeface="Poppins" panose="00000500000000000000" pitchFamily="2" charset="0"/>
                <a:sym typeface="Arial"/>
              </a:defRPr>
            </a:lvl1pPr>
          </a:lstStyle>
          <a:p>
            <a:endParaRPr lang="pt-BR"/>
          </a:p>
        </p:txBody>
      </p:sp>
      <p:sp>
        <p:nvSpPr>
          <p:cNvPr id="15" name="Espaço Reservado para Texto 14">
            <a:extLst>
              <a:ext uri="{FF2B5EF4-FFF2-40B4-BE49-F238E27FC236}">
                <a16:creationId xmlns:a16="http://schemas.microsoft.com/office/drawing/2014/main" id="{6AB1257F-413F-25D8-39C5-3FCF673DA0F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14400" y="4268788"/>
            <a:ext cx="5067300" cy="261937"/>
          </a:xfrm>
        </p:spPr>
        <p:txBody>
          <a:bodyPr>
            <a:noAutofit/>
          </a:bodyPr>
          <a:lstStyle>
            <a:lvl1pPr marR="0" algn="l" defTabSz="914400" rtl="0" eaLnBrk="1" latinLnBrk="0" hangingPunct="1">
              <a:lnSpc>
                <a:spcPct val="100000"/>
              </a:lnSpc>
              <a:spcBef>
                <a:spcPts val="2000"/>
              </a:spcBef>
              <a:spcAft>
                <a:spcPts val="500"/>
              </a:spcAft>
              <a:buClr>
                <a:srgbClr val="000000"/>
              </a:buClr>
              <a:buFont typeface="Arial"/>
              <a:buNone/>
              <a:defRPr lang="pt-BR" sz="1100" b="0" i="0" u="none" strike="noStrike" kern="1200" cap="all" spc="10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Arial"/>
              </a:defRPr>
            </a:lvl1pPr>
            <a:lvl2pPr marL="0" marR="0" indent="0" algn="l" defTabSz="914400" rtl="0" eaLnBrk="1" latinLnBrk="0" hangingPunct="1">
              <a:lnSpc>
                <a:spcPct val="100000"/>
              </a:lnSpc>
              <a:spcBef>
                <a:spcPts val="2000"/>
              </a:spcBef>
              <a:spcAft>
                <a:spcPts val="500"/>
              </a:spcAft>
              <a:buClr>
                <a:srgbClr val="000000"/>
              </a:buClr>
              <a:buFont typeface="Arial"/>
              <a:buNone/>
              <a:defRPr lang="pt-BR" sz="1100" b="0" i="0" u="none" strike="noStrike" kern="1200" cap="all" spc="10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Arial"/>
              </a:defRPr>
            </a:lvl2pPr>
          </a:lstStyle>
          <a:p>
            <a:pPr lvl="0"/>
            <a:r>
              <a:rPr lang="pt-BR"/>
              <a:t>Clique para editar os estilos de texto Mestres</a:t>
            </a:r>
          </a:p>
        </p:txBody>
      </p:sp>
      <p:pic>
        <p:nvPicPr>
          <p:cNvPr id="4" name="Gráfico 3">
            <a:extLst>
              <a:ext uri="{FF2B5EF4-FFF2-40B4-BE49-F238E27FC236}">
                <a16:creationId xmlns:a16="http://schemas.microsoft.com/office/drawing/2014/main" id="{1E35B455-200F-4413-6A26-E292AAB88A11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 flipH="1">
            <a:off x="10751250" y="5199385"/>
            <a:ext cx="953097" cy="953097"/>
          </a:xfrm>
          <a:prstGeom prst="rect">
            <a:avLst/>
          </a:prstGeom>
        </p:spPr>
      </p:pic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E825313D-A284-DF6E-CA0F-9FEA8047887C}"/>
              </a:ext>
            </a:extLst>
          </p:cNvPr>
          <p:cNvSpPr/>
          <p:nvPr userDrawn="1"/>
        </p:nvSpPr>
        <p:spPr>
          <a:xfrm>
            <a:off x="914399" y="5094580"/>
            <a:ext cx="1725959" cy="396583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err="1">
                <a:solidFill>
                  <a:schemeClr val="bg1"/>
                </a:solidFill>
              </a:rPr>
              <a:t>Iniciar</a:t>
            </a:r>
            <a:r>
              <a:rPr lang="en-US" sz="1100">
                <a:solidFill>
                  <a:schemeClr val="bg1"/>
                </a:solidFill>
              </a:rPr>
              <a:t> </a:t>
            </a:r>
            <a:r>
              <a:rPr lang="en-US" sz="1100" err="1">
                <a:solidFill>
                  <a:schemeClr val="bg1"/>
                </a:solidFill>
              </a:rPr>
              <a:t>Apresentação</a:t>
            </a:r>
            <a:endParaRPr lang="en-ID" sz="11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561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+3Gráfic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5586580-0C6D-43CF-AD2C-25ADE4B5388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687321" y="351897"/>
            <a:ext cx="9144000" cy="621770"/>
          </a:xfrm>
          <a:prstGeom prst="rect">
            <a:avLst/>
          </a:prstGeom>
        </p:spPr>
        <p:txBody>
          <a:bodyPr anchor="t"/>
          <a:lstStyle>
            <a:lvl1pPr algn="r">
              <a:defRPr sz="2800"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4AE4E1D4-AB1A-48D1-9A59-F20EE335B9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168742" y="6444615"/>
            <a:ext cx="772886" cy="318134"/>
          </a:xfrm>
          <a:prstGeom prst="rect">
            <a:avLst/>
          </a:prstGeom>
        </p:spPr>
        <p:txBody>
          <a:bodyPr/>
          <a:lstStyle/>
          <a:p>
            <a:fld id="{99951704-927B-4A22-8579-F84376718AE5}" type="slidenum">
              <a:rPr lang="pt-BR" smtClean="0"/>
              <a:t>‹nº›</a:t>
            </a:fld>
            <a:endParaRPr lang="pt-BR"/>
          </a:p>
        </p:txBody>
      </p:sp>
      <p:sp>
        <p:nvSpPr>
          <p:cNvPr id="9" name="Espaço Reservado para Texto 2">
            <a:extLst>
              <a:ext uri="{FF2B5EF4-FFF2-40B4-BE49-F238E27FC236}">
                <a16:creationId xmlns:a16="http://schemas.microsoft.com/office/drawing/2014/main" id="{84216B22-24C4-4F2C-BD2F-46A234CB2D68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361951" y="1168240"/>
            <a:ext cx="11469371" cy="415026"/>
          </a:xfrm>
          <a:prstGeom prst="rect">
            <a:avLst/>
          </a:prstGeom>
        </p:spPr>
        <p:txBody>
          <a:bodyPr anchor="t"/>
          <a:lstStyle>
            <a:lvl1pPr marL="0" indent="0" algn="l">
              <a:buNone/>
              <a:defRPr sz="2400">
                <a:solidFill>
                  <a:schemeClr val="accent2"/>
                </a:solidFill>
                <a:latin typeface="+mj-lt"/>
              </a:defRPr>
            </a:lvl1pPr>
            <a:lvl2pPr marL="457086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172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25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3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42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51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6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Clique para editar o texto</a:t>
            </a:r>
          </a:p>
        </p:txBody>
      </p:sp>
      <p:sp>
        <p:nvSpPr>
          <p:cNvPr id="14" name="Espaço Reservado para Texto 2">
            <a:extLst>
              <a:ext uri="{FF2B5EF4-FFF2-40B4-BE49-F238E27FC236}">
                <a16:creationId xmlns:a16="http://schemas.microsoft.com/office/drawing/2014/main" id="{62509E98-4BD6-4A16-B0BF-F4B4E2476614}"/>
              </a:ext>
            </a:extLst>
          </p:cNvPr>
          <p:cNvSpPr>
            <a:spLocks noGrp="1"/>
          </p:cNvSpPr>
          <p:nvPr>
            <p:ph type="body" idx="16"/>
          </p:nvPr>
        </p:nvSpPr>
        <p:spPr>
          <a:xfrm>
            <a:off x="361951" y="5999641"/>
            <a:ext cx="11469371" cy="270771"/>
          </a:xfrm>
          <a:prstGeom prst="rect">
            <a:avLst/>
          </a:prstGeom>
        </p:spPr>
        <p:txBody>
          <a:bodyPr anchor="t"/>
          <a:lstStyle>
            <a:lvl1pPr marL="0" indent="0" algn="just">
              <a:buNone/>
              <a:defRPr sz="1000">
                <a:solidFill>
                  <a:srgbClr val="7F7F7F"/>
                </a:solidFill>
              </a:defRPr>
            </a:lvl1pPr>
            <a:lvl2pPr marL="457086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172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25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3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42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51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6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7" name="Espaço Reservado para Gráfico 6">
            <a:extLst>
              <a:ext uri="{FF2B5EF4-FFF2-40B4-BE49-F238E27FC236}">
                <a16:creationId xmlns:a16="http://schemas.microsoft.com/office/drawing/2014/main" id="{AF81EC95-7FE1-4430-9F79-3BBD52635D90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361950" y="2761989"/>
            <a:ext cx="3543300" cy="31028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</a:lstStyle>
          <a:p>
            <a:endParaRPr lang="pt-BR"/>
          </a:p>
        </p:txBody>
      </p:sp>
      <p:sp>
        <p:nvSpPr>
          <p:cNvPr id="15" name="Espaço Reservado para Gráfico 6">
            <a:extLst>
              <a:ext uri="{FF2B5EF4-FFF2-40B4-BE49-F238E27FC236}">
                <a16:creationId xmlns:a16="http://schemas.microsoft.com/office/drawing/2014/main" id="{96782689-F0DD-45AC-83D4-A3B3D71D6991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4324351" y="2761989"/>
            <a:ext cx="3543300" cy="31028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</a:lstStyle>
          <a:p>
            <a:endParaRPr lang="pt-BR"/>
          </a:p>
        </p:txBody>
      </p:sp>
      <p:sp>
        <p:nvSpPr>
          <p:cNvPr id="16" name="Espaço Reservado para Gráfico 6">
            <a:extLst>
              <a:ext uri="{FF2B5EF4-FFF2-40B4-BE49-F238E27FC236}">
                <a16:creationId xmlns:a16="http://schemas.microsoft.com/office/drawing/2014/main" id="{9C47BF1B-F307-4381-8A26-465B43977E4C}"/>
              </a:ext>
            </a:extLst>
          </p:cNvPr>
          <p:cNvSpPr>
            <a:spLocks noGrp="1"/>
          </p:cNvSpPr>
          <p:nvPr>
            <p:ph type="chart" sz="quarter" idx="19"/>
          </p:nvPr>
        </p:nvSpPr>
        <p:spPr>
          <a:xfrm>
            <a:off x="8286750" y="2761989"/>
            <a:ext cx="3543300" cy="31028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</a:lstStyle>
          <a:p>
            <a:endParaRPr lang="pt-BR"/>
          </a:p>
        </p:txBody>
      </p:sp>
      <p:sp>
        <p:nvSpPr>
          <p:cNvPr id="17" name="Espaço Reservado para Texto 2">
            <a:extLst>
              <a:ext uri="{FF2B5EF4-FFF2-40B4-BE49-F238E27FC236}">
                <a16:creationId xmlns:a16="http://schemas.microsoft.com/office/drawing/2014/main" id="{E83232B9-1B44-4B96-8921-9D54279E0E7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61951" y="1701801"/>
            <a:ext cx="11468100" cy="925353"/>
          </a:xfrm>
          <a:prstGeom prst="rect">
            <a:avLst/>
          </a:prstGeom>
        </p:spPr>
        <p:txBody>
          <a:bodyPr anchor="t"/>
          <a:lstStyle>
            <a:lvl1pPr marL="0" indent="0" algn="just">
              <a:buNone/>
              <a:defRPr sz="1600">
                <a:solidFill>
                  <a:srgbClr val="7F7F7F"/>
                </a:solidFill>
              </a:defRPr>
            </a:lvl1pPr>
            <a:lvl2pPr marL="457086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172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25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3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42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51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6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3" name="Marcador de pie de página 2">
            <a:extLst>
              <a:ext uri="{FF2B5EF4-FFF2-40B4-BE49-F238E27FC236}">
                <a16:creationId xmlns:a16="http://schemas.microsoft.com/office/drawing/2014/main" id="{4C008CA8-BC72-4734-879F-0EA5E93E7B89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>
          <a:xfrm>
            <a:off x="250372" y="6421121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25629012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+4Gráfic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ítulo 1">
            <a:extLst>
              <a:ext uri="{FF2B5EF4-FFF2-40B4-BE49-F238E27FC236}">
                <a16:creationId xmlns:a16="http://schemas.microsoft.com/office/drawing/2014/main" id="{1DCCD3BB-FA21-4B11-AFF6-61AE1D27188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687321" y="351897"/>
            <a:ext cx="9144000" cy="621770"/>
          </a:xfrm>
          <a:prstGeom prst="rect">
            <a:avLst/>
          </a:prstGeom>
        </p:spPr>
        <p:txBody>
          <a:bodyPr anchor="t"/>
          <a:lstStyle>
            <a:lvl1pPr algn="r">
              <a:defRPr sz="2800"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13" name="Espaço Reservado para Número de Slide 5">
            <a:extLst>
              <a:ext uri="{FF2B5EF4-FFF2-40B4-BE49-F238E27FC236}">
                <a16:creationId xmlns:a16="http://schemas.microsoft.com/office/drawing/2014/main" id="{41A2E64A-F015-4BFE-B829-B117F1B2EA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58435" y="6405246"/>
            <a:ext cx="772886" cy="318134"/>
          </a:xfrm>
          <a:prstGeom prst="rect">
            <a:avLst/>
          </a:prstGeom>
        </p:spPr>
        <p:txBody>
          <a:bodyPr/>
          <a:lstStyle/>
          <a:p>
            <a:fld id="{99951704-927B-4A22-8579-F84376718AE5}" type="slidenum">
              <a:rPr lang="pt-BR" smtClean="0"/>
              <a:t>‹nº›</a:t>
            </a:fld>
            <a:endParaRPr lang="pt-BR"/>
          </a:p>
        </p:txBody>
      </p:sp>
      <p:sp>
        <p:nvSpPr>
          <p:cNvPr id="18" name="Espaço Reservado para Texto 2">
            <a:extLst>
              <a:ext uri="{FF2B5EF4-FFF2-40B4-BE49-F238E27FC236}">
                <a16:creationId xmlns:a16="http://schemas.microsoft.com/office/drawing/2014/main" id="{02E7469A-30CE-4E01-B02B-947687B9A64F}"/>
              </a:ext>
            </a:extLst>
          </p:cNvPr>
          <p:cNvSpPr>
            <a:spLocks noGrp="1"/>
          </p:cNvSpPr>
          <p:nvPr>
            <p:ph type="body" idx="16"/>
          </p:nvPr>
        </p:nvSpPr>
        <p:spPr>
          <a:xfrm>
            <a:off x="361951" y="5999641"/>
            <a:ext cx="11469371" cy="270771"/>
          </a:xfrm>
          <a:prstGeom prst="rect">
            <a:avLst/>
          </a:prstGeom>
        </p:spPr>
        <p:txBody>
          <a:bodyPr anchor="t"/>
          <a:lstStyle>
            <a:lvl1pPr marL="0" indent="0" algn="just">
              <a:buNone/>
              <a:defRPr sz="1000">
                <a:solidFill>
                  <a:srgbClr val="7F7F7F"/>
                </a:solidFill>
              </a:defRPr>
            </a:lvl1pPr>
            <a:lvl2pPr marL="457086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172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25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3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42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51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6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19" name="Espaço Reservado para Gráfico 6">
            <a:extLst>
              <a:ext uri="{FF2B5EF4-FFF2-40B4-BE49-F238E27FC236}">
                <a16:creationId xmlns:a16="http://schemas.microsoft.com/office/drawing/2014/main" id="{C66E46EE-0D83-44ED-AD76-7AC85B5349D2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361949" y="1167979"/>
            <a:ext cx="5495925" cy="226102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</a:lstStyle>
          <a:p>
            <a:endParaRPr lang="pt-BR"/>
          </a:p>
        </p:txBody>
      </p:sp>
      <p:sp>
        <p:nvSpPr>
          <p:cNvPr id="20" name="Espaço Reservado para Gráfico 6">
            <a:extLst>
              <a:ext uri="{FF2B5EF4-FFF2-40B4-BE49-F238E27FC236}">
                <a16:creationId xmlns:a16="http://schemas.microsoft.com/office/drawing/2014/main" id="{8B1B5F17-98BE-4E46-A6F1-7B9AF35DFEBD}"/>
              </a:ext>
            </a:extLst>
          </p:cNvPr>
          <p:cNvSpPr>
            <a:spLocks noGrp="1"/>
          </p:cNvSpPr>
          <p:nvPr>
            <p:ph type="chart" sz="quarter" idx="19"/>
          </p:nvPr>
        </p:nvSpPr>
        <p:spPr>
          <a:xfrm>
            <a:off x="361949" y="3603783"/>
            <a:ext cx="5495925" cy="226102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</a:lstStyle>
          <a:p>
            <a:endParaRPr lang="pt-BR"/>
          </a:p>
        </p:txBody>
      </p:sp>
      <p:sp>
        <p:nvSpPr>
          <p:cNvPr id="21" name="Espaço Reservado para Gráfico 6">
            <a:extLst>
              <a:ext uri="{FF2B5EF4-FFF2-40B4-BE49-F238E27FC236}">
                <a16:creationId xmlns:a16="http://schemas.microsoft.com/office/drawing/2014/main" id="{F67E19CF-55C8-45D1-A613-AB78744994C5}"/>
              </a:ext>
            </a:extLst>
          </p:cNvPr>
          <p:cNvSpPr>
            <a:spLocks noGrp="1"/>
          </p:cNvSpPr>
          <p:nvPr>
            <p:ph type="chart" sz="quarter" idx="20"/>
          </p:nvPr>
        </p:nvSpPr>
        <p:spPr>
          <a:xfrm>
            <a:off x="6334127" y="1167979"/>
            <a:ext cx="5495925" cy="226102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</a:lstStyle>
          <a:p>
            <a:endParaRPr lang="pt-BR"/>
          </a:p>
        </p:txBody>
      </p:sp>
      <p:sp>
        <p:nvSpPr>
          <p:cNvPr id="22" name="Espaço Reservado para Gráfico 6">
            <a:extLst>
              <a:ext uri="{FF2B5EF4-FFF2-40B4-BE49-F238E27FC236}">
                <a16:creationId xmlns:a16="http://schemas.microsoft.com/office/drawing/2014/main" id="{76DEC8A3-A4DC-4812-829E-727A1CF09493}"/>
              </a:ext>
            </a:extLst>
          </p:cNvPr>
          <p:cNvSpPr>
            <a:spLocks noGrp="1"/>
          </p:cNvSpPr>
          <p:nvPr>
            <p:ph type="chart" sz="quarter" idx="21"/>
          </p:nvPr>
        </p:nvSpPr>
        <p:spPr>
          <a:xfrm>
            <a:off x="6334127" y="3603783"/>
            <a:ext cx="5495925" cy="226102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</a:lstStyle>
          <a:p>
            <a:endParaRPr lang="pt-BR"/>
          </a:p>
        </p:txBody>
      </p:sp>
      <p:sp>
        <p:nvSpPr>
          <p:cNvPr id="2" name="Marcador de pie de página 1">
            <a:extLst>
              <a:ext uri="{FF2B5EF4-FFF2-40B4-BE49-F238E27FC236}">
                <a16:creationId xmlns:a16="http://schemas.microsoft.com/office/drawing/2014/main" id="{6AFBEF74-A782-43D6-B196-F820C89864C9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>
          <a:xfrm>
            <a:off x="250372" y="6421121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25462043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o+Tabela-Inf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7D29E531-7017-455B-9C64-E00A163309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168742" y="6444615"/>
            <a:ext cx="772886" cy="318134"/>
          </a:xfrm>
          <a:prstGeom prst="rect">
            <a:avLst/>
          </a:prstGeom>
        </p:spPr>
        <p:txBody>
          <a:bodyPr/>
          <a:lstStyle/>
          <a:p>
            <a:fld id="{99951704-927B-4A22-8579-F84376718AE5}" type="slidenum">
              <a:rPr lang="pt-BR" smtClean="0"/>
              <a:t>‹nº›</a:t>
            </a:fld>
            <a:endParaRPr lang="pt-BR"/>
          </a:p>
        </p:txBody>
      </p:sp>
      <p:sp>
        <p:nvSpPr>
          <p:cNvPr id="5" name="Título 1">
            <a:extLst>
              <a:ext uri="{FF2B5EF4-FFF2-40B4-BE49-F238E27FC236}">
                <a16:creationId xmlns:a16="http://schemas.microsoft.com/office/drawing/2014/main" id="{87CAF1C9-139D-4B51-B566-CD1D5C14F67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687321" y="351897"/>
            <a:ext cx="9144000" cy="621770"/>
          </a:xfrm>
          <a:prstGeom prst="rect">
            <a:avLst/>
          </a:prstGeom>
        </p:spPr>
        <p:txBody>
          <a:bodyPr anchor="t"/>
          <a:lstStyle>
            <a:lvl1pPr algn="r">
              <a:defRPr sz="2800"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6" name="Espaço Reservado para Texto 2">
            <a:extLst>
              <a:ext uri="{FF2B5EF4-FFF2-40B4-BE49-F238E27FC236}">
                <a16:creationId xmlns:a16="http://schemas.microsoft.com/office/drawing/2014/main" id="{AB1CE02F-B209-4354-A85F-9BB2B791A1FD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361951" y="1168240"/>
            <a:ext cx="8240038" cy="415026"/>
          </a:xfrm>
          <a:prstGeom prst="rect">
            <a:avLst/>
          </a:prstGeom>
        </p:spPr>
        <p:txBody>
          <a:bodyPr anchor="t"/>
          <a:lstStyle>
            <a:lvl1pPr marL="0" indent="0" algn="l">
              <a:buNone/>
              <a:defRPr sz="2400">
                <a:solidFill>
                  <a:schemeClr val="accent2"/>
                </a:solidFill>
                <a:latin typeface="+mj-lt"/>
              </a:defRPr>
            </a:lvl1pPr>
            <a:lvl2pPr marL="457086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172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25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3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42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51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6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Clique para editar o texto</a:t>
            </a:r>
          </a:p>
        </p:txBody>
      </p:sp>
      <p:sp>
        <p:nvSpPr>
          <p:cNvPr id="7" name="Espaço Reservado para Texto 2">
            <a:extLst>
              <a:ext uri="{FF2B5EF4-FFF2-40B4-BE49-F238E27FC236}">
                <a16:creationId xmlns:a16="http://schemas.microsoft.com/office/drawing/2014/main" id="{039BEF46-F433-4C5A-B28B-CE5234E33DF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61951" y="5360460"/>
            <a:ext cx="8239125" cy="897863"/>
          </a:xfrm>
          <a:prstGeom prst="rect">
            <a:avLst/>
          </a:prstGeom>
        </p:spPr>
        <p:txBody>
          <a:bodyPr anchor="t"/>
          <a:lstStyle>
            <a:lvl1pPr marL="0" indent="0" algn="just">
              <a:buNone/>
              <a:defRPr sz="1600">
                <a:solidFill>
                  <a:srgbClr val="7F7F7F"/>
                </a:solidFill>
              </a:defRPr>
            </a:lvl1pPr>
            <a:lvl2pPr marL="457086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172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25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3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42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51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6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8" name="Espaço Reservado para Tabela 7">
            <a:extLst>
              <a:ext uri="{FF2B5EF4-FFF2-40B4-BE49-F238E27FC236}">
                <a16:creationId xmlns:a16="http://schemas.microsoft.com/office/drawing/2014/main" id="{D9F9EDB0-2819-41D8-B9FE-331C05818477}"/>
              </a:ext>
            </a:extLst>
          </p:cNvPr>
          <p:cNvSpPr>
            <a:spLocks noGrp="1"/>
          </p:cNvSpPr>
          <p:nvPr>
            <p:ph type="tbl" sz="quarter" idx="15"/>
          </p:nvPr>
        </p:nvSpPr>
        <p:spPr>
          <a:xfrm>
            <a:off x="361951" y="1685926"/>
            <a:ext cx="8239125" cy="35718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</a:lstStyle>
          <a:p>
            <a:endParaRPr lang="pt-BR"/>
          </a:p>
        </p:txBody>
      </p:sp>
      <p:sp>
        <p:nvSpPr>
          <p:cNvPr id="9" name="Espaço Reservado para Rodapé 4">
            <a:extLst>
              <a:ext uri="{FF2B5EF4-FFF2-40B4-BE49-F238E27FC236}">
                <a16:creationId xmlns:a16="http://schemas.microsoft.com/office/drawing/2014/main" id="{46027ECD-5CB1-4DE1-8A74-7CF7A9400E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78860" y="6414770"/>
            <a:ext cx="948267" cy="309880"/>
          </a:xfrm>
          <a:prstGeom prst="rect">
            <a:avLst/>
          </a:prstGeom>
        </p:spPr>
        <p:txBody>
          <a:bodyPr anchor="ctr"/>
          <a:lstStyle>
            <a:lvl1pPr algn="r">
              <a:defRPr sz="1000" b="1">
                <a:solidFill>
                  <a:schemeClr val="accent3"/>
                </a:solidFill>
              </a:defRPr>
            </a:lvl1pPr>
          </a:lstStyle>
          <a:p>
            <a:endParaRPr lang="pt-BR"/>
          </a:p>
        </p:txBody>
      </p:sp>
      <p:sp>
        <p:nvSpPr>
          <p:cNvPr id="3" name="Espaço Reservado para Imagem 2">
            <a:extLst>
              <a:ext uri="{FF2B5EF4-FFF2-40B4-BE49-F238E27FC236}">
                <a16:creationId xmlns:a16="http://schemas.microsoft.com/office/drawing/2014/main" id="{38F00A95-1D14-4306-97B4-D74DE7A1AA5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753476" y="1168401"/>
            <a:ext cx="3076575" cy="16033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/>
            </a:lvl1pPr>
          </a:lstStyle>
          <a:p>
            <a:endParaRPr lang="pt-BR"/>
          </a:p>
        </p:txBody>
      </p:sp>
      <p:sp>
        <p:nvSpPr>
          <p:cNvPr id="10" name="Espaço Reservado para Imagem 2">
            <a:extLst>
              <a:ext uri="{FF2B5EF4-FFF2-40B4-BE49-F238E27FC236}">
                <a16:creationId xmlns:a16="http://schemas.microsoft.com/office/drawing/2014/main" id="{C370A8EA-789E-4600-8390-1668ED0363EB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753476" y="2925074"/>
            <a:ext cx="3076575" cy="16033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/>
            </a:lvl1pPr>
          </a:lstStyle>
          <a:p>
            <a:endParaRPr lang="pt-BR"/>
          </a:p>
        </p:txBody>
      </p:sp>
      <p:sp>
        <p:nvSpPr>
          <p:cNvPr id="11" name="Espaço Reservado para Imagem 2">
            <a:extLst>
              <a:ext uri="{FF2B5EF4-FFF2-40B4-BE49-F238E27FC236}">
                <a16:creationId xmlns:a16="http://schemas.microsoft.com/office/drawing/2014/main" id="{017F1FD6-1424-4941-AE88-B1D62046E8A7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53476" y="4654948"/>
            <a:ext cx="3076575" cy="16033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/>
            </a:lvl1pPr>
          </a:lstStyle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12301847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n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tângulo 6">
            <a:extLst>
              <a:ext uri="{FF2B5EF4-FFF2-40B4-BE49-F238E27FC236}">
                <a16:creationId xmlns:a16="http://schemas.microsoft.com/office/drawing/2014/main" id="{85132E8A-12A0-405B-9358-78F5E6FF1926}"/>
              </a:ext>
            </a:extLst>
          </p:cNvPr>
          <p:cNvSpPr/>
          <p:nvPr userDrawn="1"/>
        </p:nvSpPr>
        <p:spPr>
          <a:xfrm>
            <a:off x="0" y="1"/>
            <a:ext cx="12192000" cy="68579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pt-BR" sz="3599"/>
          </a:p>
        </p:txBody>
      </p:sp>
      <p:pic>
        <p:nvPicPr>
          <p:cNvPr id="8" name="Gráfico 7">
            <a:extLst>
              <a:ext uri="{FF2B5EF4-FFF2-40B4-BE49-F238E27FC236}">
                <a16:creationId xmlns:a16="http://schemas.microsoft.com/office/drawing/2014/main" id="{4E81C9B4-7A70-4354-87CB-34B038FD265D}"/>
              </a:ext>
            </a:extLst>
          </p:cNvPr>
          <p:cNvPicPr/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b="52125"/>
          <a:stretch>
            <a:fillRect/>
          </a:stretch>
        </p:blipFill>
        <p:spPr>
          <a:xfrm rot="11465643">
            <a:off x="10156430" y="-193021"/>
            <a:ext cx="1670532" cy="3456767"/>
          </a:xfrm>
          <a:custGeom>
            <a:avLst/>
            <a:gdLst>
              <a:gd name="connsiteX0" fmla="*/ 1670532 w 1670532"/>
              <a:gd name="connsiteY0" fmla="*/ 3129202 h 3456767"/>
              <a:gd name="connsiteX1" fmla="*/ 0 w 1670532"/>
              <a:gd name="connsiteY1" fmla="*/ 3456767 h 3456767"/>
              <a:gd name="connsiteX2" fmla="*/ 0 w 1670532"/>
              <a:gd name="connsiteY2" fmla="*/ 0 h 3456767"/>
              <a:gd name="connsiteX3" fmla="*/ 1670532 w 1670532"/>
              <a:gd name="connsiteY3" fmla="*/ 0 h 34567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670532" h="3456767">
                <a:moveTo>
                  <a:pt x="1670532" y="3129202"/>
                </a:moveTo>
                <a:lnTo>
                  <a:pt x="0" y="3456767"/>
                </a:lnTo>
                <a:lnTo>
                  <a:pt x="0" y="0"/>
                </a:lnTo>
                <a:lnTo>
                  <a:pt x="1670532" y="0"/>
                </a:lnTo>
                <a:close/>
              </a:path>
            </a:pathLst>
          </a:custGeom>
        </p:spPr>
      </p:pic>
      <p:pic>
        <p:nvPicPr>
          <p:cNvPr id="9" name="Gráfico 276">
            <a:extLst>
              <a:ext uri="{FF2B5EF4-FFF2-40B4-BE49-F238E27FC236}">
                <a16:creationId xmlns:a16="http://schemas.microsoft.com/office/drawing/2014/main" id="{4C94F872-6ACE-40EF-8D8B-A47A9C33ABFC}"/>
              </a:ext>
            </a:extLst>
          </p:cNvPr>
          <p:cNvPicPr/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764269" y="2277546"/>
            <a:ext cx="2999105" cy="1759842"/>
          </a:xfrm>
          <a:prstGeom prst="rect">
            <a:avLst/>
          </a:prstGeom>
        </p:spPr>
      </p:pic>
      <p:pic>
        <p:nvPicPr>
          <p:cNvPr id="10" name="Gráfico 275">
            <a:extLst>
              <a:ext uri="{FF2B5EF4-FFF2-40B4-BE49-F238E27FC236}">
                <a16:creationId xmlns:a16="http://schemas.microsoft.com/office/drawing/2014/main" id="{97E863F8-B987-4F2D-9AC5-F0B78F68C525}"/>
              </a:ext>
            </a:extLst>
          </p:cNvPr>
          <p:cNvPicPr/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16200000">
            <a:off x="6150036" y="818030"/>
            <a:ext cx="1915463" cy="10168468"/>
          </a:xfrm>
          <a:prstGeom prst="rect">
            <a:avLst/>
          </a:prstGeom>
        </p:spPr>
      </p:pic>
      <p:sp>
        <p:nvSpPr>
          <p:cNvPr id="13" name="Retângulo 12">
            <a:extLst>
              <a:ext uri="{FF2B5EF4-FFF2-40B4-BE49-F238E27FC236}">
                <a16:creationId xmlns:a16="http://schemas.microsoft.com/office/drawing/2014/main" id="{30E247F3-918F-42E7-93B3-3BD141EB1FF3}"/>
              </a:ext>
            </a:extLst>
          </p:cNvPr>
          <p:cNvSpPr/>
          <p:nvPr userDrawn="1"/>
        </p:nvSpPr>
        <p:spPr>
          <a:xfrm>
            <a:off x="-600" y="1"/>
            <a:ext cx="12193200" cy="7175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pt-BR" sz="3599"/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0F1E7FB4-FF53-4331-B85A-28B64DB8D61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28627" y="3021685"/>
            <a:ext cx="5345359" cy="1762125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2800">
                <a:solidFill>
                  <a:schemeClr val="accent3">
                    <a:lumMod val="75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pt-BR"/>
              <a:t>Clique para editar os estilos de texto Mestres</a:t>
            </a:r>
          </a:p>
        </p:txBody>
      </p:sp>
    </p:spTree>
    <p:extLst>
      <p:ext uri="{BB962C8B-B14F-4D97-AF65-F5344CB8AC3E}">
        <p14:creationId xmlns:p14="http://schemas.microsoft.com/office/powerpoint/2010/main" val="920499134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Fin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tângulo 6">
            <a:extLst>
              <a:ext uri="{FF2B5EF4-FFF2-40B4-BE49-F238E27FC236}">
                <a16:creationId xmlns:a16="http://schemas.microsoft.com/office/drawing/2014/main" id="{85132E8A-12A0-405B-9358-78F5E6FF1926}"/>
              </a:ext>
            </a:extLst>
          </p:cNvPr>
          <p:cNvSpPr/>
          <p:nvPr userDrawn="1"/>
        </p:nvSpPr>
        <p:spPr>
          <a:xfrm>
            <a:off x="0" y="1"/>
            <a:ext cx="12192000" cy="6857999"/>
          </a:xfrm>
          <a:prstGeom prst="rect">
            <a:avLst/>
          </a:prstGeom>
          <a:solidFill>
            <a:srgbClr val="3C478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pt-BR" sz="3599"/>
          </a:p>
        </p:txBody>
      </p:sp>
      <p:pic>
        <p:nvPicPr>
          <p:cNvPr id="8" name="Gráfico 7">
            <a:extLst>
              <a:ext uri="{FF2B5EF4-FFF2-40B4-BE49-F238E27FC236}">
                <a16:creationId xmlns:a16="http://schemas.microsoft.com/office/drawing/2014/main" id="{4E81C9B4-7A70-4354-87CB-34B038FD265D}"/>
              </a:ext>
            </a:extLst>
          </p:cNvPr>
          <p:cNvPicPr/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b="52125"/>
          <a:stretch>
            <a:fillRect/>
          </a:stretch>
        </p:blipFill>
        <p:spPr>
          <a:xfrm rot="11465643">
            <a:off x="10728079" y="-269222"/>
            <a:ext cx="1670532" cy="3456767"/>
          </a:xfrm>
          <a:custGeom>
            <a:avLst/>
            <a:gdLst>
              <a:gd name="connsiteX0" fmla="*/ 1670532 w 1670532"/>
              <a:gd name="connsiteY0" fmla="*/ 3129202 h 3456767"/>
              <a:gd name="connsiteX1" fmla="*/ 0 w 1670532"/>
              <a:gd name="connsiteY1" fmla="*/ 3456767 h 3456767"/>
              <a:gd name="connsiteX2" fmla="*/ 0 w 1670532"/>
              <a:gd name="connsiteY2" fmla="*/ 0 h 3456767"/>
              <a:gd name="connsiteX3" fmla="*/ 1670532 w 1670532"/>
              <a:gd name="connsiteY3" fmla="*/ 0 h 34567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670532" h="3456767">
                <a:moveTo>
                  <a:pt x="1670532" y="3129202"/>
                </a:moveTo>
                <a:lnTo>
                  <a:pt x="0" y="3456767"/>
                </a:lnTo>
                <a:lnTo>
                  <a:pt x="0" y="0"/>
                </a:lnTo>
                <a:lnTo>
                  <a:pt x="1670532" y="0"/>
                </a:lnTo>
                <a:close/>
              </a:path>
            </a:pathLst>
          </a:custGeom>
        </p:spPr>
      </p:pic>
      <p:pic>
        <p:nvPicPr>
          <p:cNvPr id="9" name="Gráfico 276">
            <a:extLst>
              <a:ext uri="{FF2B5EF4-FFF2-40B4-BE49-F238E27FC236}">
                <a16:creationId xmlns:a16="http://schemas.microsoft.com/office/drawing/2014/main" id="{4C94F872-6ACE-40EF-8D8B-A47A9C33ABFC}"/>
              </a:ext>
            </a:extLst>
          </p:cNvPr>
          <p:cNvPicPr/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764269" y="2277546"/>
            <a:ext cx="2999105" cy="1759842"/>
          </a:xfrm>
          <a:prstGeom prst="rect">
            <a:avLst/>
          </a:prstGeom>
        </p:spPr>
      </p:pic>
      <p:pic>
        <p:nvPicPr>
          <p:cNvPr id="10" name="Gráfico 275">
            <a:extLst>
              <a:ext uri="{FF2B5EF4-FFF2-40B4-BE49-F238E27FC236}">
                <a16:creationId xmlns:a16="http://schemas.microsoft.com/office/drawing/2014/main" id="{97E863F8-B987-4F2D-9AC5-F0B78F68C525}"/>
              </a:ext>
            </a:extLst>
          </p:cNvPr>
          <p:cNvPicPr/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 rot="16200000">
            <a:off x="6483498" y="816034"/>
            <a:ext cx="1915463" cy="10168468"/>
          </a:xfrm>
          <a:prstGeom prst="rect">
            <a:avLst/>
          </a:prstGeom>
        </p:spPr>
      </p:pic>
      <p:sp>
        <p:nvSpPr>
          <p:cNvPr id="11" name="Espaço Reservado para Texto 2">
            <a:extLst>
              <a:ext uri="{FF2B5EF4-FFF2-40B4-BE49-F238E27FC236}">
                <a16:creationId xmlns:a16="http://schemas.microsoft.com/office/drawing/2014/main" id="{12F6AD0A-6457-4EE9-9B2B-EB7B1BB9ED6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28627" y="3021685"/>
            <a:ext cx="5345359" cy="1762125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 sz="1800">
                <a:solidFill>
                  <a:schemeClr val="bg1"/>
                </a:solidFill>
                <a:latin typeface="Benton Sans Book"/>
              </a:defRPr>
            </a:lvl1pPr>
          </a:lstStyle>
          <a:p>
            <a:pPr lvl="0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8541487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Fin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tângulo 6">
            <a:extLst>
              <a:ext uri="{FF2B5EF4-FFF2-40B4-BE49-F238E27FC236}">
                <a16:creationId xmlns:a16="http://schemas.microsoft.com/office/drawing/2014/main" id="{85132E8A-12A0-405B-9358-78F5E6FF1926}"/>
              </a:ext>
            </a:extLst>
          </p:cNvPr>
          <p:cNvSpPr/>
          <p:nvPr userDrawn="1"/>
        </p:nvSpPr>
        <p:spPr>
          <a:xfrm>
            <a:off x="0" y="1"/>
            <a:ext cx="12192000" cy="6857999"/>
          </a:xfrm>
          <a:prstGeom prst="rect">
            <a:avLst/>
          </a:prstGeom>
          <a:solidFill>
            <a:srgbClr val="3C478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pt-BR" sz="3599"/>
          </a:p>
        </p:txBody>
      </p:sp>
      <p:pic>
        <p:nvPicPr>
          <p:cNvPr id="8" name="Gráfico 7">
            <a:extLst>
              <a:ext uri="{FF2B5EF4-FFF2-40B4-BE49-F238E27FC236}">
                <a16:creationId xmlns:a16="http://schemas.microsoft.com/office/drawing/2014/main" id="{4E81C9B4-7A70-4354-87CB-34B038FD265D}"/>
              </a:ext>
            </a:extLst>
          </p:cNvPr>
          <p:cNvPicPr/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b="52125"/>
          <a:stretch>
            <a:fillRect/>
          </a:stretch>
        </p:blipFill>
        <p:spPr>
          <a:xfrm rot="11465643">
            <a:off x="10728079" y="-269222"/>
            <a:ext cx="1670532" cy="3456767"/>
          </a:xfrm>
          <a:custGeom>
            <a:avLst/>
            <a:gdLst>
              <a:gd name="connsiteX0" fmla="*/ 1670532 w 1670532"/>
              <a:gd name="connsiteY0" fmla="*/ 3129202 h 3456767"/>
              <a:gd name="connsiteX1" fmla="*/ 0 w 1670532"/>
              <a:gd name="connsiteY1" fmla="*/ 3456767 h 3456767"/>
              <a:gd name="connsiteX2" fmla="*/ 0 w 1670532"/>
              <a:gd name="connsiteY2" fmla="*/ 0 h 3456767"/>
              <a:gd name="connsiteX3" fmla="*/ 1670532 w 1670532"/>
              <a:gd name="connsiteY3" fmla="*/ 0 h 34567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670532" h="3456767">
                <a:moveTo>
                  <a:pt x="1670532" y="3129202"/>
                </a:moveTo>
                <a:lnTo>
                  <a:pt x="0" y="3456767"/>
                </a:lnTo>
                <a:lnTo>
                  <a:pt x="0" y="0"/>
                </a:lnTo>
                <a:lnTo>
                  <a:pt x="1670532" y="0"/>
                </a:lnTo>
                <a:close/>
              </a:path>
            </a:pathLst>
          </a:custGeom>
        </p:spPr>
      </p:pic>
      <p:pic>
        <p:nvPicPr>
          <p:cNvPr id="10" name="Gráfico 275">
            <a:extLst>
              <a:ext uri="{FF2B5EF4-FFF2-40B4-BE49-F238E27FC236}">
                <a16:creationId xmlns:a16="http://schemas.microsoft.com/office/drawing/2014/main" id="{97E863F8-B987-4F2D-9AC5-F0B78F68C525}"/>
              </a:ext>
            </a:extLst>
          </p:cNvPr>
          <p:cNvPicPr/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16200000">
            <a:off x="5281182" y="-491085"/>
            <a:ext cx="1915463" cy="12782706"/>
          </a:xfrm>
          <a:prstGeom prst="rect">
            <a:avLst/>
          </a:prstGeom>
        </p:spPr>
      </p:pic>
      <p:sp>
        <p:nvSpPr>
          <p:cNvPr id="11" name="Espaço Reservado para Texto 2">
            <a:extLst>
              <a:ext uri="{FF2B5EF4-FFF2-40B4-BE49-F238E27FC236}">
                <a16:creationId xmlns:a16="http://schemas.microsoft.com/office/drawing/2014/main" id="{12F6AD0A-6457-4EE9-9B2B-EB7B1BB9ED6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28627" y="3021685"/>
            <a:ext cx="5345359" cy="1762125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 sz="1800">
                <a:solidFill>
                  <a:schemeClr val="bg1"/>
                </a:solidFill>
                <a:latin typeface="Benton Sans Book"/>
              </a:defRPr>
            </a:lvl1pPr>
          </a:lstStyle>
          <a:p>
            <a:pPr lvl="0"/>
            <a:endParaRPr lang="pt-BR"/>
          </a:p>
        </p:txBody>
      </p:sp>
      <p:pic>
        <p:nvPicPr>
          <p:cNvPr id="12" name="Picture 5">
            <a:extLst>
              <a:ext uri="{FF2B5EF4-FFF2-40B4-BE49-F238E27FC236}">
                <a16:creationId xmlns:a16="http://schemas.microsoft.com/office/drawing/2014/main" id="{A0B45A3B-F5C4-419D-A6CD-853207017885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28469" y="288972"/>
            <a:ext cx="1467411" cy="861061"/>
          </a:xfrm>
          <a:prstGeom prst="rect">
            <a:avLst/>
          </a:prstGeom>
        </p:spPr>
      </p:pic>
      <p:sp>
        <p:nvSpPr>
          <p:cNvPr id="9" name="Retângulo 8">
            <a:extLst>
              <a:ext uri="{FF2B5EF4-FFF2-40B4-BE49-F238E27FC236}">
                <a16:creationId xmlns:a16="http://schemas.microsoft.com/office/drawing/2014/main" id="{FB83016E-12A2-46D9-AAD4-7508AA6B95FD}"/>
              </a:ext>
            </a:extLst>
          </p:cNvPr>
          <p:cNvSpPr/>
          <p:nvPr userDrawn="1"/>
        </p:nvSpPr>
        <p:spPr>
          <a:xfrm>
            <a:off x="-600" y="1"/>
            <a:ext cx="12193200" cy="4695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pt-BR" sz="3599"/>
          </a:p>
        </p:txBody>
      </p:sp>
    </p:spTree>
    <p:extLst>
      <p:ext uri="{BB962C8B-B14F-4D97-AF65-F5344CB8AC3E}">
        <p14:creationId xmlns:p14="http://schemas.microsoft.com/office/powerpoint/2010/main" val="274621471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in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tângulo 6">
            <a:extLst>
              <a:ext uri="{FF2B5EF4-FFF2-40B4-BE49-F238E27FC236}">
                <a16:creationId xmlns:a16="http://schemas.microsoft.com/office/drawing/2014/main" id="{85132E8A-12A0-405B-9358-78F5E6FF1926}"/>
              </a:ext>
            </a:extLst>
          </p:cNvPr>
          <p:cNvSpPr/>
          <p:nvPr userDrawn="1"/>
        </p:nvSpPr>
        <p:spPr>
          <a:xfrm>
            <a:off x="0" y="1"/>
            <a:ext cx="12192000" cy="68579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pt-BR" sz="3599"/>
          </a:p>
        </p:txBody>
      </p:sp>
      <p:pic>
        <p:nvPicPr>
          <p:cNvPr id="8" name="Gráfico 7">
            <a:extLst>
              <a:ext uri="{FF2B5EF4-FFF2-40B4-BE49-F238E27FC236}">
                <a16:creationId xmlns:a16="http://schemas.microsoft.com/office/drawing/2014/main" id="{4E81C9B4-7A70-4354-87CB-34B038FD265D}"/>
              </a:ext>
            </a:extLst>
          </p:cNvPr>
          <p:cNvPicPr/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b="52125"/>
          <a:stretch>
            <a:fillRect/>
          </a:stretch>
        </p:blipFill>
        <p:spPr>
          <a:xfrm rot="11465643">
            <a:off x="10156430" y="-193021"/>
            <a:ext cx="1670532" cy="3456767"/>
          </a:xfrm>
          <a:custGeom>
            <a:avLst/>
            <a:gdLst>
              <a:gd name="connsiteX0" fmla="*/ 1670532 w 1670532"/>
              <a:gd name="connsiteY0" fmla="*/ 3129202 h 3456767"/>
              <a:gd name="connsiteX1" fmla="*/ 0 w 1670532"/>
              <a:gd name="connsiteY1" fmla="*/ 3456767 h 3456767"/>
              <a:gd name="connsiteX2" fmla="*/ 0 w 1670532"/>
              <a:gd name="connsiteY2" fmla="*/ 0 h 3456767"/>
              <a:gd name="connsiteX3" fmla="*/ 1670532 w 1670532"/>
              <a:gd name="connsiteY3" fmla="*/ 0 h 34567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670532" h="3456767">
                <a:moveTo>
                  <a:pt x="1670532" y="3129202"/>
                </a:moveTo>
                <a:lnTo>
                  <a:pt x="0" y="3456767"/>
                </a:lnTo>
                <a:lnTo>
                  <a:pt x="0" y="0"/>
                </a:lnTo>
                <a:lnTo>
                  <a:pt x="1670532" y="0"/>
                </a:lnTo>
                <a:close/>
              </a:path>
            </a:pathLst>
          </a:custGeom>
        </p:spPr>
      </p:pic>
      <p:pic>
        <p:nvPicPr>
          <p:cNvPr id="9" name="Gráfico 276">
            <a:extLst>
              <a:ext uri="{FF2B5EF4-FFF2-40B4-BE49-F238E27FC236}">
                <a16:creationId xmlns:a16="http://schemas.microsoft.com/office/drawing/2014/main" id="{4C94F872-6ACE-40EF-8D8B-A47A9C33ABFC}"/>
              </a:ext>
            </a:extLst>
          </p:cNvPr>
          <p:cNvPicPr/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794766" y="199765"/>
            <a:ext cx="1196140" cy="701882"/>
          </a:xfrm>
          <a:prstGeom prst="rect">
            <a:avLst/>
          </a:prstGeom>
        </p:spPr>
      </p:pic>
      <p:pic>
        <p:nvPicPr>
          <p:cNvPr id="10" name="Gráfico 275">
            <a:extLst>
              <a:ext uri="{FF2B5EF4-FFF2-40B4-BE49-F238E27FC236}">
                <a16:creationId xmlns:a16="http://schemas.microsoft.com/office/drawing/2014/main" id="{97E863F8-B987-4F2D-9AC5-F0B78F68C525}"/>
              </a:ext>
            </a:extLst>
          </p:cNvPr>
          <p:cNvPicPr/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16200000">
            <a:off x="6150036" y="818030"/>
            <a:ext cx="1915463" cy="10168468"/>
          </a:xfrm>
          <a:prstGeom prst="rect">
            <a:avLst/>
          </a:prstGeom>
        </p:spPr>
      </p:pic>
      <p:sp>
        <p:nvSpPr>
          <p:cNvPr id="13" name="Retângulo 12">
            <a:extLst>
              <a:ext uri="{FF2B5EF4-FFF2-40B4-BE49-F238E27FC236}">
                <a16:creationId xmlns:a16="http://schemas.microsoft.com/office/drawing/2014/main" id="{30E247F3-918F-42E7-93B3-3BD141EB1FF3}"/>
              </a:ext>
            </a:extLst>
          </p:cNvPr>
          <p:cNvSpPr/>
          <p:nvPr userDrawn="1"/>
        </p:nvSpPr>
        <p:spPr>
          <a:xfrm>
            <a:off x="-600" y="1"/>
            <a:ext cx="12193200" cy="7175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pt-BR" sz="3599"/>
          </a:p>
        </p:txBody>
      </p:sp>
    </p:spTree>
    <p:extLst>
      <p:ext uri="{BB962C8B-B14F-4D97-AF65-F5344CB8AC3E}">
        <p14:creationId xmlns:p14="http://schemas.microsoft.com/office/powerpoint/2010/main" val="387474451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B401405-5E82-4529-9B27-92B31CD15C3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87135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3" imgW="395" imgH="394" progId="TCLayout.ActiveDocument.1">
                  <p:embed/>
                </p:oleObj>
              </mc:Choice>
              <mc:Fallback>
                <p:oleObj name="Slide do think-cell" r:id="rId3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B401405-5E82-4529-9B27-92B31CD15C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tângulo 1">
            <a:extLst>
              <a:ext uri="{FF2B5EF4-FFF2-40B4-BE49-F238E27FC236}">
                <a16:creationId xmlns:a16="http://schemas.microsoft.com/office/drawing/2014/main" id="{E34D2AD8-2621-4736-82D0-3C077BACE79D}"/>
              </a:ext>
            </a:extLst>
          </p:cNvPr>
          <p:cNvSpPr/>
          <p:nvPr userDrawn="1"/>
        </p:nvSpPr>
        <p:spPr>
          <a:xfrm>
            <a:off x="0" y="2"/>
            <a:ext cx="12192000" cy="68579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3598"/>
          </a:p>
        </p:txBody>
      </p:sp>
      <p:pic>
        <p:nvPicPr>
          <p:cNvPr id="10" name="Gráfico 9">
            <a:extLst>
              <a:ext uri="{FF2B5EF4-FFF2-40B4-BE49-F238E27FC236}">
                <a16:creationId xmlns:a16="http://schemas.microsoft.com/office/drawing/2014/main" id="{903E9D59-1D91-4853-AEFA-51E5C533728F}"/>
              </a:ext>
            </a:extLst>
          </p:cNvPr>
          <p:cNvPicPr/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 b="52125"/>
          <a:stretch>
            <a:fillRect/>
          </a:stretch>
        </p:blipFill>
        <p:spPr>
          <a:xfrm rot="11465643">
            <a:off x="10156430" y="-193021"/>
            <a:ext cx="1670532" cy="3456767"/>
          </a:xfrm>
          <a:custGeom>
            <a:avLst/>
            <a:gdLst>
              <a:gd name="connsiteX0" fmla="*/ 1670532 w 1670532"/>
              <a:gd name="connsiteY0" fmla="*/ 3129202 h 3456767"/>
              <a:gd name="connsiteX1" fmla="*/ 0 w 1670532"/>
              <a:gd name="connsiteY1" fmla="*/ 3456767 h 3456767"/>
              <a:gd name="connsiteX2" fmla="*/ 0 w 1670532"/>
              <a:gd name="connsiteY2" fmla="*/ 0 h 3456767"/>
              <a:gd name="connsiteX3" fmla="*/ 1670532 w 1670532"/>
              <a:gd name="connsiteY3" fmla="*/ 0 h 34567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670532" h="3456767">
                <a:moveTo>
                  <a:pt x="1670532" y="3129202"/>
                </a:moveTo>
                <a:lnTo>
                  <a:pt x="0" y="3456767"/>
                </a:lnTo>
                <a:lnTo>
                  <a:pt x="0" y="0"/>
                </a:lnTo>
                <a:lnTo>
                  <a:pt x="1670532" y="0"/>
                </a:lnTo>
                <a:close/>
              </a:path>
            </a:pathLst>
          </a:custGeom>
        </p:spPr>
      </p:pic>
      <p:pic>
        <p:nvPicPr>
          <p:cNvPr id="15" name="Gráfico 275">
            <a:extLst>
              <a:ext uri="{FF2B5EF4-FFF2-40B4-BE49-F238E27FC236}">
                <a16:creationId xmlns:a16="http://schemas.microsoft.com/office/drawing/2014/main" id="{EBEC2931-1AE1-4512-9CE0-BB5FCF4F91CA}"/>
              </a:ext>
            </a:extLst>
          </p:cNvPr>
          <p:cNvPicPr/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 rot="16200000">
            <a:off x="6150036" y="818030"/>
            <a:ext cx="1915463" cy="10168468"/>
          </a:xfrm>
          <a:prstGeom prst="rect">
            <a:avLst/>
          </a:prstGeom>
        </p:spPr>
      </p:pic>
      <p:sp>
        <p:nvSpPr>
          <p:cNvPr id="26" name="Retângulo 25">
            <a:extLst>
              <a:ext uri="{FF2B5EF4-FFF2-40B4-BE49-F238E27FC236}">
                <a16:creationId xmlns:a16="http://schemas.microsoft.com/office/drawing/2014/main" id="{FAAA61C8-8436-4718-A904-7DD3CFD370B1}"/>
              </a:ext>
            </a:extLst>
          </p:cNvPr>
          <p:cNvSpPr/>
          <p:nvPr userDrawn="1"/>
        </p:nvSpPr>
        <p:spPr>
          <a:xfrm>
            <a:off x="-600" y="2"/>
            <a:ext cx="12193200" cy="7175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392" tIns="45696" rIns="91392" bIns="4569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pt-BR" sz="3598"/>
          </a:p>
        </p:txBody>
      </p:sp>
      <p:pic>
        <p:nvPicPr>
          <p:cNvPr id="4" name="Imagem 3">
            <a:extLst>
              <a:ext uri="{FF2B5EF4-FFF2-40B4-BE49-F238E27FC236}">
                <a16:creationId xmlns:a16="http://schemas.microsoft.com/office/drawing/2014/main" id="{4B929F35-C2B3-4325-9C0C-91F0D1E44AB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600" y="71755"/>
            <a:ext cx="7474260" cy="67862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698399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Gráfico e conteúdo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ço Reservado para Gráfico 7">
            <a:extLst>
              <a:ext uri="{FF2B5EF4-FFF2-40B4-BE49-F238E27FC236}">
                <a16:creationId xmlns:a16="http://schemas.microsoft.com/office/drawing/2014/main" id="{525D5F98-DDB4-B94B-66E6-7FC4458751DE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422276" y="1486308"/>
            <a:ext cx="5561081" cy="4984866"/>
          </a:xfrm>
        </p:spPr>
        <p:txBody>
          <a:bodyPr/>
          <a:lstStyle/>
          <a:p>
            <a:r>
              <a:rPr lang="pt-BR"/>
              <a:t>Clique no ícone para adicionar gráfico</a:t>
            </a:r>
          </a:p>
        </p:txBody>
      </p:sp>
      <p:sp>
        <p:nvSpPr>
          <p:cNvPr id="13" name="Título 12">
            <a:extLst>
              <a:ext uri="{FF2B5EF4-FFF2-40B4-BE49-F238E27FC236}">
                <a16:creationId xmlns:a16="http://schemas.microsoft.com/office/drawing/2014/main" id="{ADF69FDE-B23B-9656-AB0E-FA565B8CC7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7383" y="649795"/>
            <a:ext cx="10401589" cy="477548"/>
          </a:xfrm>
        </p:spPr>
        <p:txBody>
          <a:bodyPr>
            <a:noAutofit/>
          </a:bodyPr>
          <a:lstStyle>
            <a:lvl1pPr>
              <a:defRPr sz="3000"/>
            </a:lvl1pPr>
          </a:lstStyle>
          <a:p>
            <a:r>
              <a:rPr lang="pt-BR"/>
              <a:t>Clique para editar o título Mestre</a:t>
            </a:r>
          </a:p>
        </p:txBody>
      </p:sp>
      <p:pic>
        <p:nvPicPr>
          <p:cNvPr id="5" name="Gráfico 4">
            <a:extLst>
              <a:ext uri="{FF2B5EF4-FFF2-40B4-BE49-F238E27FC236}">
                <a16:creationId xmlns:a16="http://schemas.microsoft.com/office/drawing/2014/main" id="{A55B6DD7-EF35-1A47-0682-FB0263AE46F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28972" y="-1239748"/>
            <a:ext cx="2726056" cy="2726056"/>
          </a:xfrm>
          <a:prstGeom prst="rect">
            <a:avLst/>
          </a:prstGeom>
        </p:spPr>
      </p:pic>
      <p:pic>
        <p:nvPicPr>
          <p:cNvPr id="6" name="Gráfico 5">
            <a:extLst>
              <a:ext uri="{FF2B5EF4-FFF2-40B4-BE49-F238E27FC236}">
                <a16:creationId xmlns:a16="http://schemas.microsoft.com/office/drawing/2014/main" id="{6BB7C3AF-C957-8BE3-AA41-01756EF205A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680864" y="6346864"/>
            <a:ext cx="1022272" cy="1022272"/>
          </a:xfrm>
          <a:prstGeom prst="rect">
            <a:avLst/>
          </a:prstGeom>
        </p:spPr>
      </p:pic>
      <p:sp>
        <p:nvSpPr>
          <p:cNvPr id="3" name="Espaço Reservado para Texto 9">
            <a:extLst>
              <a:ext uri="{FF2B5EF4-FFF2-40B4-BE49-F238E27FC236}">
                <a16:creationId xmlns:a16="http://schemas.microsoft.com/office/drawing/2014/main" id="{D1D98570-0A89-66A1-D6A1-AEB29DE22FA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271591" y="1486308"/>
            <a:ext cx="5498133" cy="4984866"/>
          </a:xfrm>
        </p:spPr>
        <p:txBody>
          <a:bodyPr>
            <a:noAutofit/>
          </a:bodyPr>
          <a:lstStyle>
            <a:lvl1pPr marL="0" indent="0">
              <a:lnSpc>
                <a:spcPct val="110000"/>
              </a:lnSpc>
              <a:spcBef>
                <a:spcPts val="2000"/>
              </a:spcBef>
              <a:spcAft>
                <a:spcPts val="500"/>
              </a:spcAft>
              <a:buFont typeface="Arial" panose="020B0604020202020204" pitchFamily="34" charset="0"/>
              <a:buNone/>
              <a:defRPr sz="1700" b="1" u="none">
                <a:solidFill>
                  <a:schemeClr val="accent2"/>
                </a:solidFill>
              </a:defRPr>
            </a:lvl1pPr>
            <a:lvl2pPr marL="0" indent="0">
              <a:lnSpc>
                <a:spcPct val="130000"/>
              </a:lnSpc>
              <a:spcBef>
                <a:spcPts val="0"/>
              </a:spcBef>
              <a:spcAft>
                <a:spcPts val="500"/>
              </a:spcAft>
              <a:buNone/>
              <a:defRPr sz="1400">
                <a:solidFill>
                  <a:schemeClr val="tx2"/>
                </a:solidFill>
              </a:defRPr>
            </a:lvl2pPr>
            <a:lvl3pPr marL="792000" indent="-288000">
              <a:lnSpc>
                <a:spcPct val="110000"/>
              </a:lnSpc>
              <a:spcBef>
                <a:spcPts val="500"/>
              </a:spcBef>
              <a:spcAft>
                <a:spcPts val="0"/>
              </a:spcAft>
              <a:buFontTx/>
              <a:buBlip>
                <a:blip r:embed="rId6">
                  <a:extLst>
                    <a:ext uri="{96DAC541-7B7A-43D3-8B79-37D633B846F1}">
                      <asvg:svgBlip xmlns:asvg="http://schemas.microsoft.com/office/drawing/2016/SVG/main" r:embed="rId7"/>
                    </a:ext>
                  </a:extLst>
                </a:blip>
              </a:buBlip>
              <a:defRPr sz="1400">
                <a:solidFill>
                  <a:schemeClr val="tx2"/>
                </a:solidFill>
              </a:defRPr>
            </a:lvl3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</p:txBody>
      </p:sp>
      <p:sp>
        <p:nvSpPr>
          <p:cNvPr id="2" name="Espaço Reservado para Texto 13">
            <a:extLst>
              <a:ext uri="{FF2B5EF4-FFF2-40B4-BE49-F238E27FC236}">
                <a16:creationId xmlns:a16="http://schemas.microsoft.com/office/drawing/2014/main" id="{4D4545BD-E86A-17D8-8CB2-321530EBA62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26440" y="277080"/>
            <a:ext cx="4184650" cy="347663"/>
          </a:xfrm>
        </p:spPr>
        <p:txBody>
          <a:bodyPr>
            <a:normAutofit/>
          </a:bodyPr>
          <a:lstStyle>
            <a:lvl1pPr marR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pt-BR" sz="1100" b="0" i="0" u="none" strike="noStrike" cap="all" spc="100" baseline="0" dirty="0">
                <a:solidFill>
                  <a:schemeClr val="bg1">
                    <a:lumMod val="50000"/>
                  </a:schemeClr>
                </a:solidFill>
                <a:latin typeface="+mn-lt"/>
                <a:ea typeface="Times New Roman" panose="02020603050405020304" pitchFamily="18" charset="0"/>
                <a:cs typeface="Arial"/>
                <a:sym typeface="Arial"/>
              </a:defRPr>
            </a:lvl1pPr>
          </a:lstStyle>
          <a:p>
            <a:pPr lvl="0"/>
            <a:r>
              <a:rPr lang="pt-BR"/>
              <a:t>Clique para editar o texto</a:t>
            </a:r>
          </a:p>
        </p:txBody>
      </p:sp>
    </p:spTree>
    <p:extLst>
      <p:ext uri="{BB962C8B-B14F-4D97-AF65-F5344CB8AC3E}">
        <p14:creationId xmlns:p14="http://schemas.microsoft.com/office/powerpoint/2010/main" val="1945244429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CA5C01AD-FCF5-75AA-34C8-BEC75773F7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  <a:endParaRPr lang="en-US"/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95411B3E-4DAB-DB08-A256-05BD8DC6537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003185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áfico 1">
            <a:extLst>
              <a:ext uri="{FF2B5EF4-FFF2-40B4-BE49-F238E27FC236}">
                <a16:creationId xmlns:a16="http://schemas.microsoft.com/office/drawing/2014/main" id="{88C2BB54-28D0-7B69-03DE-35D0AF2305C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945802" y="1131464"/>
            <a:ext cx="1918548" cy="1918548"/>
          </a:xfrm>
          <a:prstGeom prst="rect">
            <a:avLst/>
          </a:prstGeom>
        </p:spPr>
      </p:pic>
      <p:sp>
        <p:nvSpPr>
          <p:cNvPr id="3" name="Oval 5">
            <a:extLst>
              <a:ext uri="{FF2B5EF4-FFF2-40B4-BE49-F238E27FC236}">
                <a16:creationId xmlns:a16="http://schemas.microsoft.com/office/drawing/2014/main" id="{43A55EDC-8B05-1E90-D19A-7CF6933CD13C}"/>
              </a:ext>
            </a:extLst>
          </p:cNvPr>
          <p:cNvSpPr/>
          <p:nvPr userDrawn="1"/>
        </p:nvSpPr>
        <p:spPr>
          <a:xfrm>
            <a:off x="1982364" y="1365250"/>
            <a:ext cx="3629025" cy="362902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sz="1351"/>
          </a:p>
        </p:txBody>
      </p:sp>
      <p:sp>
        <p:nvSpPr>
          <p:cNvPr id="4" name="Oval 6">
            <a:extLst>
              <a:ext uri="{FF2B5EF4-FFF2-40B4-BE49-F238E27FC236}">
                <a16:creationId xmlns:a16="http://schemas.microsoft.com/office/drawing/2014/main" id="{32D6C9E4-DEA1-2E9C-FC67-6A4B3C700A88}"/>
              </a:ext>
            </a:extLst>
          </p:cNvPr>
          <p:cNvSpPr/>
          <p:nvPr userDrawn="1"/>
        </p:nvSpPr>
        <p:spPr>
          <a:xfrm>
            <a:off x="245178" y="3817803"/>
            <a:ext cx="2398847" cy="2398847"/>
          </a:xfrm>
          <a:prstGeom prst="ellipse">
            <a:avLst/>
          </a:prstGeom>
          <a:solidFill>
            <a:srgbClr val="F461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sz="1351"/>
          </a:p>
        </p:txBody>
      </p:sp>
      <p:sp>
        <p:nvSpPr>
          <p:cNvPr id="16" name="Retângulo: Cantos Arredondados 15">
            <a:extLst>
              <a:ext uri="{FF2B5EF4-FFF2-40B4-BE49-F238E27FC236}">
                <a16:creationId xmlns:a16="http://schemas.microsoft.com/office/drawing/2014/main" id="{1FD21CF0-8B64-28CD-3AED-D44ED776FC9F}"/>
              </a:ext>
            </a:extLst>
          </p:cNvPr>
          <p:cNvSpPr/>
          <p:nvPr userDrawn="1"/>
        </p:nvSpPr>
        <p:spPr>
          <a:xfrm>
            <a:off x="914400" y="1857271"/>
            <a:ext cx="5067300" cy="3145834"/>
          </a:xfrm>
          <a:prstGeom prst="roundRect">
            <a:avLst>
              <a:gd name="adj" fmla="val 7715"/>
            </a:avLst>
          </a:prstGeom>
          <a:solidFill>
            <a:schemeClr val="bg1"/>
          </a:solidFill>
          <a:ln>
            <a:noFill/>
          </a:ln>
          <a:effectLst>
            <a:outerShdw blurRad="177800" dist="38100" dir="8100000" algn="tr" rotWithShape="0">
              <a:prstClr val="black">
                <a:alpha val="2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351"/>
          </a:p>
        </p:txBody>
      </p:sp>
      <p:sp>
        <p:nvSpPr>
          <p:cNvPr id="9" name="Título 8">
            <a:extLst>
              <a:ext uri="{FF2B5EF4-FFF2-40B4-BE49-F238E27FC236}">
                <a16:creationId xmlns:a16="http://schemas.microsoft.com/office/drawing/2014/main" id="{86585591-BA78-5F86-74B4-C6BBAFFD14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92949" y="2124501"/>
            <a:ext cx="4184649" cy="1281113"/>
          </a:xfrm>
        </p:spPr>
        <p:txBody>
          <a:bodyPr>
            <a:noAutofit/>
          </a:bodyPr>
          <a:lstStyle>
            <a:lvl1pPr marR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pt-BR" sz="3600" b="1" i="0" u="none" strike="noStrike" cap="none" spc="-100" baseline="0" dirty="0">
                <a:solidFill>
                  <a:schemeClr val="accent1"/>
                </a:solidFill>
                <a:latin typeface="+mj-lt"/>
                <a:ea typeface="Arial"/>
                <a:cs typeface="Arial"/>
                <a:sym typeface="Arial"/>
              </a:defRPr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11" name="Espaço Reservado para Texto 10">
            <a:extLst>
              <a:ext uri="{FF2B5EF4-FFF2-40B4-BE49-F238E27FC236}">
                <a16:creationId xmlns:a16="http://schemas.microsoft.com/office/drawing/2014/main" id="{9BFCA3B0-88F8-CAC6-A24A-936EBBE3472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092950" y="3817938"/>
            <a:ext cx="4184650" cy="1176337"/>
          </a:xfrm>
        </p:spPr>
        <p:txBody>
          <a:bodyPr>
            <a:normAutofit/>
          </a:bodyPr>
          <a:lstStyle>
            <a:lvl1pPr marR="0" algn="l" rtl="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pt-BR" sz="1200" b="0" i="0" u="none" strike="noStrike" cap="none" dirty="0" smtClean="0">
                <a:solidFill>
                  <a:schemeClr val="tx2"/>
                </a:solidFill>
                <a:latin typeface="+mn-lt"/>
                <a:ea typeface="Times New Roman" panose="02020603050405020304" pitchFamily="18" charset="0"/>
                <a:cs typeface="Arial"/>
                <a:sym typeface="Arial"/>
              </a:defRPr>
            </a:lvl1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14" name="Espaço Reservado para Texto 13">
            <a:extLst>
              <a:ext uri="{FF2B5EF4-FFF2-40B4-BE49-F238E27FC236}">
                <a16:creationId xmlns:a16="http://schemas.microsoft.com/office/drawing/2014/main" id="{637AC9F0-E48A-ACAF-2021-2D19AFEAF85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092950" y="1729890"/>
            <a:ext cx="4184650" cy="347663"/>
          </a:xfrm>
        </p:spPr>
        <p:txBody>
          <a:bodyPr>
            <a:normAutofit/>
          </a:bodyPr>
          <a:lstStyle>
            <a:lvl1pPr marR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pt-BR" sz="1100" b="0" i="0" u="none" strike="noStrike" cap="all" spc="100" baseline="0" dirty="0">
                <a:solidFill>
                  <a:schemeClr val="bg1">
                    <a:lumMod val="50000"/>
                  </a:schemeClr>
                </a:solidFill>
                <a:latin typeface="+mn-lt"/>
                <a:ea typeface="Times New Roman" panose="02020603050405020304" pitchFamily="18" charset="0"/>
                <a:cs typeface="Arial"/>
                <a:sym typeface="Arial"/>
              </a:defRPr>
            </a:lvl1pPr>
          </a:lstStyle>
          <a:p>
            <a:pPr lvl="0"/>
            <a:r>
              <a:rPr lang="pt-BR"/>
              <a:t>Clique para editar o texto</a:t>
            </a:r>
          </a:p>
        </p:txBody>
      </p:sp>
      <p:sp>
        <p:nvSpPr>
          <p:cNvPr id="8" name="Espaço Reservado para Gráfico 7">
            <a:extLst>
              <a:ext uri="{FF2B5EF4-FFF2-40B4-BE49-F238E27FC236}">
                <a16:creationId xmlns:a16="http://schemas.microsoft.com/office/drawing/2014/main" id="{525D5F98-DDB4-B94B-66E6-7FC4458751DE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1109663" y="2090738"/>
            <a:ext cx="4676775" cy="2674937"/>
          </a:xfrm>
        </p:spPr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98760904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Gráfico e conteúdo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ço Reservado para Gráfico 7">
            <a:extLst>
              <a:ext uri="{FF2B5EF4-FFF2-40B4-BE49-F238E27FC236}">
                <a16:creationId xmlns:a16="http://schemas.microsoft.com/office/drawing/2014/main" id="{525D5F98-DDB4-B94B-66E6-7FC4458751DE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422276" y="1277655"/>
            <a:ext cx="11445046" cy="5193519"/>
          </a:xfrm>
        </p:spPr>
        <p:txBody>
          <a:bodyPr/>
          <a:lstStyle/>
          <a:p>
            <a:r>
              <a:rPr lang="pt-BR"/>
              <a:t>Clique no ícone para adicionar gráfico</a:t>
            </a:r>
          </a:p>
        </p:txBody>
      </p:sp>
      <p:sp>
        <p:nvSpPr>
          <p:cNvPr id="13" name="Título 12">
            <a:extLst>
              <a:ext uri="{FF2B5EF4-FFF2-40B4-BE49-F238E27FC236}">
                <a16:creationId xmlns:a16="http://schemas.microsoft.com/office/drawing/2014/main" id="{ADF69FDE-B23B-9656-AB0E-FA565B8CC7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7383" y="649872"/>
            <a:ext cx="10401589" cy="476190"/>
          </a:xfrm>
        </p:spPr>
        <p:txBody>
          <a:bodyPr>
            <a:noAutofit/>
          </a:bodyPr>
          <a:lstStyle>
            <a:lvl1pPr>
              <a:defRPr sz="3000"/>
            </a:lvl1pPr>
          </a:lstStyle>
          <a:p>
            <a:r>
              <a:rPr lang="pt-BR"/>
              <a:t>Clique para editar o título Mestre</a:t>
            </a:r>
          </a:p>
        </p:txBody>
      </p:sp>
      <p:pic>
        <p:nvPicPr>
          <p:cNvPr id="5" name="Gráfico 4">
            <a:extLst>
              <a:ext uri="{FF2B5EF4-FFF2-40B4-BE49-F238E27FC236}">
                <a16:creationId xmlns:a16="http://schemas.microsoft.com/office/drawing/2014/main" id="{A55B6DD7-EF35-1A47-0682-FB0263AE46F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28972" y="-1239748"/>
            <a:ext cx="2726056" cy="2726056"/>
          </a:xfrm>
          <a:prstGeom prst="rect">
            <a:avLst/>
          </a:prstGeom>
        </p:spPr>
      </p:pic>
      <p:pic>
        <p:nvPicPr>
          <p:cNvPr id="6" name="Gráfico 5">
            <a:extLst>
              <a:ext uri="{FF2B5EF4-FFF2-40B4-BE49-F238E27FC236}">
                <a16:creationId xmlns:a16="http://schemas.microsoft.com/office/drawing/2014/main" id="{6BB7C3AF-C957-8BE3-AA41-01756EF205A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680864" y="6346864"/>
            <a:ext cx="1022272" cy="1022272"/>
          </a:xfrm>
          <a:prstGeom prst="rect">
            <a:avLst/>
          </a:prstGeom>
        </p:spPr>
      </p:pic>
      <p:sp>
        <p:nvSpPr>
          <p:cNvPr id="2" name="Espaço Reservado para Texto 13">
            <a:extLst>
              <a:ext uri="{FF2B5EF4-FFF2-40B4-BE49-F238E27FC236}">
                <a16:creationId xmlns:a16="http://schemas.microsoft.com/office/drawing/2014/main" id="{49D6583C-DC40-B7E2-6D76-E36A90423B5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26440" y="277080"/>
            <a:ext cx="4184650" cy="347663"/>
          </a:xfrm>
        </p:spPr>
        <p:txBody>
          <a:bodyPr>
            <a:normAutofit/>
          </a:bodyPr>
          <a:lstStyle>
            <a:lvl1pPr marR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pt-BR" sz="1100" b="0" i="0" u="none" strike="noStrike" cap="all" spc="100" baseline="0" dirty="0">
                <a:solidFill>
                  <a:schemeClr val="bg1">
                    <a:lumMod val="50000"/>
                  </a:schemeClr>
                </a:solidFill>
                <a:latin typeface="+mn-lt"/>
                <a:ea typeface="Times New Roman" panose="02020603050405020304" pitchFamily="18" charset="0"/>
                <a:cs typeface="Arial"/>
                <a:sym typeface="Arial"/>
              </a:defRPr>
            </a:lvl1pPr>
          </a:lstStyle>
          <a:p>
            <a:pPr lvl="0"/>
            <a:r>
              <a:rPr lang="pt-BR"/>
              <a:t>Clique para editar o texto</a:t>
            </a:r>
          </a:p>
        </p:txBody>
      </p:sp>
    </p:spTree>
    <p:extLst>
      <p:ext uri="{BB962C8B-B14F-4D97-AF65-F5344CB8AC3E}">
        <p14:creationId xmlns:p14="http://schemas.microsoft.com/office/powerpoint/2010/main" val="2424672671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E339FF7-E679-BC64-FE01-C490964293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44562" y="2848767"/>
            <a:ext cx="6832600" cy="1281113"/>
          </a:xfrm>
        </p:spPr>
        <p:txBody>
          <a:bodyPr>
            <a:noAutofit/>
          </a:bodyPr>
          <a:lstStyle>
            <a:lvl1pPr>
              <a:lnSpc>
                <a:spcPct val="85000"/>
              </a:lnSpc>
              <a:defRPr lang="pt-BR" sz="5400" b="1" i="0" u="none" strike="noStrike" kern="1200" cap="all" spc="-100" baseline="0" dirty="0" smtClean="0">
                <a:solidFill>
                  <a:schemeClr val="accent1"/>
                </a:solidFill>
                <a:latin typeface="+mj-lt"/>
                <a:ea typeface="+mj-ea"/>
                <a:cs typeface="+mj-cs"/>
                <a:sym typeface="Arial"/>
              </a:defRPr>
            </a:lvl1pPr>
          </a:lstStyle>
          <a:p>
            <a:r>
              <a:rPr lang="pt-BR"/>
              <a:t>Clique para editar o </a:t>
            </a:r>
            <a:r>
              <a:rPr lang="pt-BR" err="1"/>
              <a:t>títulO</a:t>
            </a:r>
            <a:endParaRPr lang="pt-BR"/>
          </a:p>
        </p:txBody>
      </p:sp>
      <p:pic>
        <p:nvPicPr>
          <p:cNvPr id="9" name="Gráfico 8">
            <a:extLst>
              <a:ext uri="{FF2B5EF4-FFF2-40B4-BE49-F238E27FC236}">
                <a16:creationId xmlns:a16="http://schemas.microsoft.com/office/drawing/2014/main" id="{74D81A32-4C7C-0CCE-4AE1-180F087D38D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8386" y="476863"/>
            <a:ext cx="1412714" cy="829797"/>
          </a:xfrm>
          <a:prstGeom prst="rect">
            <a:avLst/>
          </a:prstGeom>
        </p:spPr>
      </p:pic>
      <p:pic>
        <p:nvPicPr>
          <p:cNvPr id="10" name="Gráfico 9">
            <a:extLst>
              <a:ext uri="{FF2B5EF4-FFF2-40B4-BE49-F238E27FC236}">
                <a16:creationId xmlns:a16="http://schemas.microsoft.com/office/drawing/2014/main" id="{9BD457A8-84E7-7430-6D08-43149ED43C5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-643448" y="4877887"/>
            <a:ext cx="1577057" cy="1853043"/>
          </a:xfrm>
          <a:prstGeom prst="rect">
            <a:avLst/>
          </a:prstGeom>
        </p:spPr>
      </p:pic>
      <p:sp>
        <p:nvSpPr>
          <p:cNvPr id="12" name="Espaço Reservado para Texto 11">
            <a:extLst>
              <a:ext uri="{FF2B5EF4-FFF2-40B4-BE49-F238E27FC236}">
                <a16:creationId xmlns:a16="http://schemas.microsoft.com/office/drawing/2014/main" id="{0D810081-EA73-009A-C87B-3D42044833B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14400" y="2449218"/>
            <a:ext cx="6832600" cy="447675"/>
          </a:xfrm>
        </p:spPr>
        <p:txBody>
          <a:bodyPr lIns="144000">
            <a:normAutofit/>
          </a:bodyPr>
          <a:lstStyle>
            <a:lvl1pPr marL="0" marR="0" indent="0" algn="l" defTabSz="914400" rtl="0" eaLnBrk="1" latinLnBrk="0" hangingPunct="1">
              <a:lnSpc>
                <a:spcPct val="100000"/>
              </a:lnSpc>
              <a:spcBef>
                <a:spcPts val="2000"/>
              </a:spcBef>
              <a:spcAft>
                <a:spcPts val="500"/>
              </a:spcAft>
              <a:buClrTx/>
              <a:buFont typeface="Arial" panose="020B0604020202020204" pitchFamily="34" charset="0"/>
              <a:buNone/>
              <a:defRPr lang="pt-BR" sz="1500" b="0" i="0" u="none" strike="noStrike" kern="1200" cap="all" spc="10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Arial"/>
              </a:defRPr>
            </a:lvl1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13" name="Espaço Reservado para Texto 11">
            <a:extLst>
              <a:ext uri="{FF2B5EF4-FFF2-40B4-BE49-F238E27FC236}">
                <a16:creationId xmlns:a16="http://schemas.microsoft.com/office/drawing/2014/main" id="{C8458586-A2E0-FAC7-BE44-2EA68F6CF93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914400" y="4205706"/>
            <a:ext cx="6832600" cy="447675"/>
          </a:xfrm>
        </p:spPr>
        <p:txBody>
          <a:bodyPr lIns="144000" anchor="t">
            <a:normAutofit/>
          </a:bodyPr>
          <a:lstStyle>
            <a:lvl1pPr marL="0" marR="0" indent="0" algn="l" defTabSz="914400" rtl="0" eaLnBrk="1" latinLnBrk="0" hangingPunct="1">
              <a:lnSpc>
                <a:spcPct val="100000"/>
              </a:lnSpc>
              <a:spcBef>
                <a:spcPts val="2000"/>
              </a:spcBef>
              <a:spcAft>
                <a:spcPts val="500"/>
              </a:spcAft>
              <a:buClrTx/>
              <a:buFont typeface="Arial" panose="020B0604020202020204" pitchFamily="34" charset="0"/>
              <a:buNone/>
              <a:defRPr lang="pt-BR" sz="1500" b="0" i="0" u="none" strike="noStrike" kern="1200" cap="all" spc="10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Arial"/>
              </a:defRPr>
            </a:lvl1pPr>
          </a:lstStyle>
          <a:p>
            <a:pPr lvl="0"/>
            <a:r>
              <a:rPr lang="pt-BR"/>
              <a:t>Clique para editar os estilos de texto Mestres</a:t>
            </a:r>
          </a:p>
        </p:txBody>
      </p:sp>
      <p:pic>
        <p:nvPicPr>
          <p:cNvPr id="14" name="Gráfico 13">
            <a:extLst>
              <a:ext uri="{FF2B5EF4-FFF2-40B4-BE49-F238E27FC236}">
                <a16:creationId xmlns:a16="http://schemas.microsoft.com/office/drawing/2014/main" id="{24C9451C-4B61-4874-1435-D78622F233BB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975600" y="-2844501"/>
            <a:ext cx="6858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9257088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áfico 5">
            <a:extLst>
              <a:ext uri="{FF2B5EF4-FFF2-40B4-BE49-F238E27FC236}">
                <a16:creationId xmlns:a16="http://schemas.microsoft.com/office/drawing/2014/main" id="{63E891D6-3C9E-6CA7-58C5-A99C0C4D22B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458099" y="274462"/>
            <a:ext cx="1577057" cy="1853043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B9827399-D6D9-8189-3904-36F5D87972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4400" y="2838195"/>
            <a:ext cx="5067300" cy="1326091"/>
          </a:xfrm>
          <a:prstGeom prst="rect">
            <a:avLst/>
          </a:prstGeom>
        </p:spPr>
        <p:txBody>
          <a:bodyPr>
            <a:noAutofit/>
          </a:bodyPr>
          <a:lstStyle>
            <a:lvl1pPr marR="0" algn="l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pt-BR" sz="4800" b="1" i="0" u="none" strike="noStrike" cap="none" spc="-100" baseline="0" dirty="0">
                <a:solidFill>
                  <a:schemeClr val="accent1"/>
                </a:solidFill>
                <a:latin typeface="+mj-lt"/>
                <a:ea typeface="Arial"/>
                <a:cs typeface="Poppins" panose="00000500000000000000" pitchFamily="2" charset="0"/>
                <a:sym typeface="Arial"/>
              </a:defRPr>
            </a:lvl1pPr>
          </a:lstStyle>
          <a:p>
            <a:r>
              <a:rPr lang="pt-BR"/>
              <a:t>Clique para editar o título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53DD9C0-0B7B-4802-9204-0F90379C05A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230111" y="1170710"/>
            <a:ext cx="4516582" cy="4516582"/>
          </a:xfrm>
          <a:custGeom>
            <a:avLst/>
            <a:gdLst>
              <a:gd name="connsiteX0" fmla="*/ 3543300 w 7086600"/>
              <a:gd name="connsiteY0" fmla="*/ 0 h 7086600"/>
              <a:gd name="connsiteX1" fmla="*/ 7086600 w 7086600"/>
              <a:gd name="connsiteY1" fmla="*/ 3543300 h 7086600"/>
              <a:gd name="connsiteX2" fmla="*/ 3543300 w 7086600"/>
              <a:gd name="connsiteY2" fmla="*/ 7086600 h 7086600"/>
              <a:gd name="connsiteX3" fmla="*/ 0 w 7086600"/>
              <a:gd name="connsiteY3" fmla="*/ 3543300 h 7086600"/>
              <a:gd name="connsiteX4" fmla="*/ 3543300 w 7086600"/>
              <a:gd name="connsiteY4" fmla="*/ 0 h 7086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086600" h="7086600">
                <a:moveTo>
                  <a:pt x="3543300" y="0"/>
                </a:moveTo>
                <a:cubicBezTo>
                  <a:pt x="5500211" y="0"/>
                  <a:pt x="7086600" y="1586389"/>
                  <a:pt x="7086600" y="3543300"/>
                </a:cubicBezTo>
                <a:cubicBezTo>
                  <a:pt x="7086600" y="5500211"/>
                  <a:pt x="5500211" y="7086600"/>
                  <a:pt x="3543300" y="7086600"/>
                </a:cubicBezTo>
                <a:cubicBezTo>
                  <a:pt x="1586389" y="7086600"/>
                  <a:pt x="0" y="5500211"/>
                  <a:pt x="0" y="3543300"/>
                </a:cubicBezTo>
                <a:cubicBezTo>
                  <a:pt x="0" y="1586389"/>
                  <a:pt x="1586389" y="0"/>
                  <a:pt x="35433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 algn="ctr">
              <a:defRPr sz="1333"/>
            </a:lvl1pPr>
          </a:lstStyle>
          <a:p>
            <a:endParaRPr lang="en-ID"/>
          </a:p>
        </p:txBody>
      </p:sp>
      <p:sp>
        <p:nvSpPr>
          <p:cNvPr id="3" name="Elipse 2">
            <a:extLst>
              <a:ext uri="{FF2B5EF4-FFF2-40B4-BE49-F238E27FC236}">
                <a16:creationId xmlns:a16="http://schemas.microsoft.com/office/drawing/2014/main" id="{3DA375F6-7AA0-AEC1-BC95-CE2BAFBDE8A2}"/>
              </a:ext>
            </a:extLst>
          </p:cNvPr>
          <p:cNvSpPr/>
          <p:nvPr userDrawn="1"/>
        </p:nvSpPr>
        <p:spPr>
          <a:xfrm>
            <a:off x="6114793" y="1078111"/>
            <a:ext cx="4747217" cy="4747217"/>
          </a:xfrm>
          <a:prstGeom prst="ellipse">
            <a:avLst/>
          </a:prstGeom>
          <a:noFill/>
          <a:ln w="28575">
            <a:solidFill>
              <a:schemeClr val="bg1"/>
            </a:solidFill>
            <a:extLst>
              <a:ext uri="{C807C97D-BFC1-408E-A445-0C87EB9F89A2}">
                <ask:lineSketchStyleProps xmlns:ask="http://schemas.microsoft.com/office/drawing/2018/sketchyshapes" sd="264327539">
                  <a:custGeom>
                    <a:avLst/>
                    <a:gdLst>
                      <a:gd name="connsiteX0" fmla="*/ 0 w 4747217"/>
                      <a:gd name="connsiteY0" fmla="*/ 2373609 h 4747217"/>
                      <a:gd name="connsiteX1" fmla="*/ 2373609 w 4747217"/>
                      <a:gd name="connsiteY1" fmla="*/ 0 h 4747217"/>
                      <a:gd name="connsiteX2" fmla="*/ 4747218 w 4747217"/>
                      <a:gd name="connsiteY2" fmla="*/ 2373609 h 4747217"/>
                      <a:gd name="connsiteX3" fmla="*/ 2373609 w 4747217"/>
                      <a:gd name="connsiteY3" fmla="*/ 4747218 h 4747217"/>
                      <a:gd name="connsiteX4" fmla="*/ 0 w 4747217"/>
                      <a:gd name="connsiteY4" fmla="*/ 2373609 h 474721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747217" h="4747217" extrusionOk="0">
                        <a:moveTo>
                          <a:pt x="0" y="2373609"/>
                        </a:moveTo>
                        <a:cubicBezTo>
                          <a:pt x="-47287" y="930507"/>
                          <a:pt x="1050209" y="-151600"/>
                          <a:pt x="2373609" y="0"/>
                        </a:cubicBezTo>
                        <a:cubicBezTo>
                          <a:pt x="3459270" y="-54555"/>
                          <a:pt x="4685701" y="1074288"/>
                          <a:pt x="4747218" y="2373609"/>
                        </a:cubicBezTo>
                        <a:cubicBezTo>
                          <a:pt x="4844760" y="3890868"/>
                          <a:pt x="3836141" y="4684234"/>
                          <a:pt x="2373609" y="4747218"/>
                        </a:cubicBezTo>
                        <a:cubicBezTo>
                          <a:pt x="1311770" y="4759003"/>
                          <a:pt x="3635" y="3726051"/>
                          <a:pt x="0" y="2373609"/>
                        </a:cubicBezTo>
                        <a:close/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933"/>
          </a:p>
        </p:txBody>
      </p:sp>
      <p:pic>
        <p:nvPicPr>
          <p:cNvPr id="9" name="Gráfico 8">
            <a:extLst>
              <a:ext uri="{FF2B5EF4-FFF2-40B4-BE49-F238E27FC236}">
                <a16:creationId xmlns:a16="http://schemas.microsoft.com/office/drawing/2014/main" id="{F3284FE4-4CFB-8D54-E3D2-F2EE05FC531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38386" y="1200983"/>
            <a:ext cx="1412714" cy="829797"/>
          </a:xfrm>
          <a:prstGeom prst="rect">
            <a:avLst/>
          </a:prstGeom>
        </p:spPr>
      </p:pic>
      <p:pic>
        <p:nvPicPr>
          <p:cNvPr id="11" name="Gráfico 10">
            <a:extLst>
              <a:ext uri="{FF2B5EF4-FFF2-40B4-BE49-F238E27FC236}">
                <a16:creationId xmlns:a16="http://schemas.microsoft.com/office/drawing/2014/main" id="{E1E74A66-AB3B-0B9D-E917-184B6A4C9939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-585919" y="-473413"/>
            <a:ext cx="1577057" cy="1853043"/>
          </a:xfrm>
          <a:prstGeom prst="rect">
            <a:avLst/>
          </a:prstGeom>
        </p:spPr>
      </p:pic>
      <p:sp>
        <p:nvSpPr>
          <p:cNvPr id="13" name="Título 1">
            <a:extLst>
              <a:ext uri="{FF2B5EF4-FFF2-40B4-BE49-F238E27FC236}">
                <a16:creationId xmlns:a16="http://schemas.microsoft.com/office/drawing/2014/main" id="{40E63747-3802-E5CE-C8ED-52D01051B737}"/>
              </a:ext>
            </a:extLst>
          </p:cNvPr>
          <p:cNvSpPr txBox="1">
            <a:spLocks/>
          </p:cNvSpPr>
          <p:nvPr userDrawn="1"/>
        </p:nvSpPr>
        <p:spPr>
          <a:xfrm>
            <a:off x="914400" y="4763247"/>
            <a:ext cx="5067300" cy="1326091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R="0" algn="l" defTabSz="914400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lang="pt-BR" sz="4800" b="1" i="0" u="none" strike="noStrike" kern="1200" cap="none" spc="-40" baseline="0" dirty="0">
                <a:solidFill>
                  <a:schemeClr val="accent1"/>
                </a:solidFill>
                <a:latin typeface="+mj-lt"/>
                <a:ea typeface="Arial"/>
                <a:cs typeface="Poppins" panose="00000500000000000000" pitchFamily="2" charset="0"/>
                <a:sym typeface="Arial"/>
              </a:defRPr>
            </a:lvl1pPr>
          </a:lstStyle>
          <a:p>
            <a:endParaRPr lang="pt-BR"/>
          </a:p>
        </p:txBody>
      </p:sp>
      <p:sp>
        <p:nvSpPr>
          <p:cNvPr id="15" name="Espaço Reservado para Texto 14">
            <a:extLst>
              <a:ext uri="{FF2B5EF4-FFF2-40B4-BE49-F238E27FC236}">
                <a16:creationId xmlns:a16="http://schemas.microsoft.com/office/drawing/2014/main" id="{6AB1257F-413F-25D8-39C5-3FCF673DA0F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14400" y="4268788"/>
            <a:ext cx="5067300" cy="261937"/>
          </a:xfrm>
        </p:spPr>
        <p:txBody>
          <a:bodyPr>
            <a:noAutofit/>
          </a:bodyPr>
          <a:lstStyle>
            <a:lvl1pPr marR="0" algn="l" defTabSz="914400" rtl="0" eaLnBrk="1" latinLnBrk="0" hangingPunct="1">
              <a:lnSpc>
                <a:spcPct val="100000"/>
              </a:lnSpc>
              <a:spcBef>
                <a:spcPts val="2000"/>
              </a:spcBef>
              <a:spcAft>
                <a:spcPts val="500"/>
              </a:spcAft>
              <a:buClr>
                <a:srgbClr val="000000"/>
              </a:buClr>
              <a:buFont typeface="Arial"/>
              <a:buNone/>
              <a:defRPr lang="pt-BR" sz="1100" b="0" i="0" u="none" strike="noStrike" kern="1200" cap="all" spc="10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Arial"/>
              </a:defRPr>
            </a:lvl1pPr>
            <a:lvl2pPr marL="0" marR="0" indent="0" algn="l" defTabSz="914400" rtl="0" eaLnBrk="1" latinLnBrk="0" hangingPunct="1">
              <a:lnSpc>
                <a:spcPct val="100000"/>
              </a:lnSpc>
              <a:spcBef>
                <a:spcPts val="2000"/>
              </a:spcBef>
              <a:spcAft>
                <a:spcPts val="500"/>
              </a:spcAft>
              <a:buClr>
                <a:srgbClr val="000000"/>
              </a:buClr>
              <a:buFont typeface="Arial"/>
              <a:buNone/>
              <a:defRPr lang="pt-BR" sz="1100" b="0" i="0" u="none" strike="noStrike" kern="1200" cap="all" spc="10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Arial"/>
              </a:defRPr>
            </a:lvl2pPr>
          </a:lstStyle>
          <a:p>
            <a:pPr lvl="0"/>
            <a:r>
              <a:rPr lang="pt-BR"/>
              <a:t>Clique para editar os estilos de texto Mestres</a:t>
            </a:r>
          </a:p>
        </p:txBody>
      </p:sp>
      <p:pic>
        <p:nvPicPr>
          <p:cNvPr id="4" name="Gráfico 3">
            <a:extLst>
              <a:ext uri="{FF2B5EF4-FFF2-40B4-BE49-F238E27FC236}">
                <a16:creationId xmlns:a16="http://schemas.microsoft.com/office/drawing/2014/main" id="{1E35B455-200F-4413-6A26-E292AAB88A11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 flipH="1">
            <a:off x="10751250" y="5199385"/>
            <a:ext cx="953097" cy="953097"/>
          </a:xfrm>
          <a:prstGeom prst="rect">
            <a:avLst/>
          </a:prstGeom>
        </p:spPr>
      </p:pic>
      <p:sp>
        <p:nvSpPr>
          <p:cNvPr id="7" name="Arco">
            <a:extLst>
              <a:ext uri="{FF2B5EF4-FFF2-40B4-BE49-F238E27FC236}">
                <a16:creationId xmlns:a16="http://schemas.microsoft.com/office/drawing/2014/main" id="{FEACC453-19FE-F672-C06C-EFABEC608F0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6604789">
            <a:off x="6305041" y="536830"/>
            <a:ext cx="2987899" cy="2987899"/>
          </a:xfrm>
          <a:prstGeom prst="arc">
            <a:avLst>
              <a:gd name="adj1" fmla="val 14455503"/>
              <a:gd name="adj2" fmla="val 0"/>
            </a:avLst>
          </a:prstGeom>
          <a:ln w="127000" cap="rnd">
            <a:solidFill>
              <a:schemeClr val="bg2"/>
            </a:solidFill>
            <a:prstDash val="dash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Rectangle: Rounded Corners 11">
            <a:extLst>
              <a:ext uri="{FF2B5EF4-FFF2-40B4-BE49-F238E27FC236}">
                <a16:creationId xmlns:a16="http://schemas.microsoft.com/office/drawing/2014/main" id="{5DDD0DB3-501E-0143-8384-4B5B0B19366F}"/>
              </a:ext>
            </a:extLst>
          </p:cNvPr>
          <p:cNvSpPr/>
          <p:nvPr userDrawn="1"/>
        </p:nvSpPr>
        <p:spPr>
          <a:xfrm>
            <a:off x="914399" y="5094580"/>
            <a:ext cx="1725959" cy="396583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err="1">
                <a:solidFill>
                  <a:schemeClr val="bg1"/>
                </a:solidFill>
              </a:rPr>
              <a:t>Iniciar</a:t>
            </a:r>
            <a:r>
              <a:rPr lang="en-US" sz="1100">
                <a:solidFill>
                  <a:schemeClr val="bg1"/>
                </a:solidFill>
              </a:rPr>
              <a:t> </a:t>
            </a:r>
            <a:r>
              <a:rPr lang="en-US" sz="1100" err="1">
                <a:solidFill>
                  <a:schemeClr val="bg1"/>
                </a:solidFill>
              </a:rPr>
              <a:t>Apresentação</a:t>
            </a:r>
            <a:endParaRPr lang="en-ID" sz="11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85132573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lipse 9">
            <a:extLst>
              <a:ext uri="{FF2B5EF4-FFF2-40B4-BE49-F238E27FC236}">
                <a16:creationId xmlns:a16="http://schemas.microsoft.com/office/drawing/2014/main" id="{1DA6EAF7-7A58-A806-93AB-79252ADE3D02}"/>
              </a:ext>
            </a:extLst>
          </p:cNvPr>
          <p:cNvSpPr/>
          <p:nvPr userDrawn="1"/>
        </p:nvSpPr>
        <p:spPr>
          <a:xfrm>
            <a:off x="5991426" y="507252"/>
            <a:ext cx="3400926" cy="3400926"/>
          </a:xfrm>
          <a:prstGeom prst="ellipse">
            <a:avLst/>
          </a:prstGeom>
          <a:noFill/>
          <a:ln w="57150" cap="rnd">
            <a:solidFill>
              <a:schemeClr val="bg2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6" name="Gráfico 5">
            <a:extLst>
              <a:ext uri="{FF2B5EF4-FFF2-40B4-BE49-F238E27FC236}">
                <a16:creationId xmlns:a16="http://schemas.microsoft.com/office/drawing/2014/main" id="{63E891D6-3C9E-6CA7-58C5-A99C0C4D22B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458099" y="274462"/>
            <a:ext cx="1577057" cy="1853043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B9827399-D6D9-8189-3904-36F5D87972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4400" y="2838195"/>
            <a:ext cx="5067300" cy="1326091"/>
          </a:xfrm>
          <a:prstGeom prst="rect">
            <a:avLst/>
          </a:prstGeom>
        </p:spPr>
        <p:txBody>
          <a:bodyPr>
            <a:noAutofit/>
          </a:bodyPr>
          <a:lstStyle>
            <a:lvl1pPr marR="0" algn="l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pt-BR" sz="4800" b="1" i="0" u="none" strike="noStrike" cap="none" spc="-100" baseline="0" dirty="0">
                <a:solidFill>
                  <a:schemeClr val="accent1"/>
                </a:solidFill>
                <a:latin typeface="+mj-lt"/>
                <a:ea typeface="Arial"/>
                <a:cs typeface="Poppins" panose="00000500000000000000" pitchFamily="2" charset="0"/>
                <a:sym typeface="Arial"/>
              </a:defRPr>
            </a:lvl1pPr>
          </a:lstStyle>
          <a:p>
            <a:r>
              <a:rPr lang="pt-BR"/>
              <a:t>Clique para editar o título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53DD9C0-0B7B-4802-9204-0F90379C05A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230111" y="1170710"/>
            <a:ext cx="4516582" cy="4516582"/>
          </a:xfrm>
          <a:custGeom>
            <a:avLst/>
            <a:gdLst>
              <a:gd name="connsiteX0" fmla="*/ 3543300 w 7086600"/>
              <a:gd name="connsiteY0" fmla="*/ 0 h 7086600"/>
              <a:gd name="connsiteX1" fmla="*/ 7086600 w 7086600"/>
              <a:gd name="connsiteY1" fmla="*/ 3543300 h 7086600"/>
              <a:gd name="connsiteX2" fmla="*/ 3543300 w 7086600"/>
              <a:gd name="connsiteY2" fmla="*/ 7086600 h 7086600"/>
              <a:gd name="connsiteX3" fmla="*/ 0 w 7086600"/>
              <a:gd name="connsiteY3" fmla="*/ 3543300 h 7086600"/>
              <a:gd name="connsiteX4" fmla="*/ 3543300 w 7086600"/>
              <a:gd name="connsiteY4" fmla="*/ 0 h 7086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086600" h="7086600">
                <a:moveTo>
                  <a:pt x="3543300" y="0"/>
                </a:moveTo>
                <a:cubicBezTo>
                  <a:pt x="5500211" y="0"/>
                  <a:pt x="7086600" y="1586389"/>
                  <a:pt x="7086600" y="3543300"/>
                </a:cubicBezTo>
                <a:cubicBezTo>
                  <a:pt x="7086600" y="5500211"/>
                  <a:pt x="5500211" y="7086600"/>
                  <a:pt x="3543300" y="7086600"/>
                </a:cubicBezTo>
                <a:cubicBezTo>
                  <a:pt x="1586389" y="7086600"/>
                  <a:pt x="0" y="5500211"/>
                  <a:pt x="0" y="3543300"/>
                </a:cubicBezTo>
                <a:cubicBezTo>
                  <a:pt x="0" y="1586389"/>
                  <a:pt x="1586389" y="0"/>
                  <a:pt x="35433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 algn="ctr">
              <a:defRPr sz="1333"/>
            </a:lvl1pPr>
          </a:lstStyle>
          <a:p>
            <a:endParaRPr lang="en-ID"/>
          </a:p>
        </p:txBody>
      </p:sp>
      <p:sp>
        <p:nvSpPr>
          <p:cNvPr id="3" name="Elipse 2">
            <a:extLst>
              <a:ext uri="{FF2B5EF4-FFF2-40B4-BE49-F238E27FC236}">
                <a16:creationId xmlns:a16="http://schemas.microsoft.com/office/drawing/2014/main" id="{3DA375F6-7AA0-AEC1-BC95-CE2BAFBDE8A2}"/>
              </a:ext>
            </a:extLst>
          </p:cNvPr>
          <p:cNvSpPr/>
          <p:nvPr userDrawn="1"/>
        </p:nvSpPr>
        <p:spPr>
          <a:xfrm>
            <a:off x="6114793" y="1078111"/>
            <a:ext cx="4747217" cy="4747217"/>
          </a:xfrm>
          <a:prstGeom prst="ellipse">
            <a:avLst/>
          </a:prstGeom>
          <a:noFill/>
          <a:ln w="28575">
            <a:solidFill>
              <a:schemeClr val="bg1"/>
            </a:solidFill>
            <a:extLst>
              <a:ext uri="{C807C97D-BFC1-408E-A445-0C87EB9F89A2}">
                <ask:lineSketchStyleProps xmlns:ask="http://schemas.microsoft.com/office/drawing/2018/sketchyshapes" sd="264327539">
                  <a:custGeom>
                    <a:avLst/>
                    <a:gdLst>
                      <a:gd name="connsiteX0" fmla="*/ 0 w 4747217"/>
                      <a:gd name="connsiteY0" fmla="*/ 2373609 h 4747217"/>
                      <a:gd name="connsiteX1" fmla="*/ 2373609 w 4747217"/>
                      <a:gd name="connsiteY1" fmla="*/ 0 h 4747217"/>
                      <a:gd name="connsiteX2" fmla="*/ 4747218 w 4747217"/>
                      <a:gd name="connsiteY2" fmla="*/ 2373609 h 4747217"/>
                      <a:gd name="connsiteX3" fmla="*/ 2373609 w 4747217"/>
                      <a:gd name="connsiteY3" fmla="*/ 4747218 h 4747217"/>
                      <a:gd name="connsiteX4" fmla="*/ 0 w 4747217"/>
                      <a:gd name="connsiteY4" fmla="*/ 2373609 h 474721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747217" h="4747217" extrusionOk="0">
                        <a:moveTo>
                          <a:pt x="0" y="2373609"/>
                        </a:moveTo>
                        <a:cubicBezTo>
                          <a:pt x="-47287" y="930507"/>
                          <a:pt x="1050209" y="-151600"/>
                          <a:pt x="2373609" y="0"/>
                        </a:cubicBezTo>
                        <a:cubicBezTo>
                          <a:pt x="3459270" y="-54555"/>
                          <a:pt x="4685701" y="1074288"/>
                          <a:pt x="4747218" y="2373609"/>
                        </a:cubicBezTo>
                        <a:cubicBezTo>
                          <a:pt x="4844760" y="3890868"/>
                          <a:pt x="3836141" y="4684234"/>
                          <a:pt x="2373609" y="4747218"/>
                        </a:cubicBezTo>
                        <a:cubicBezTo>
                          <a:pt x="1311770" y="4759003"/>
                          <a:pt x="3635" y="3726051"/>
                          <a:pt x="0" y="2373609"/>
                        </a:cubicBezTo>
                        <a:close/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933"/>
          </a:p>
        </p:txBody>
      </p:sp>
      <p:pic>
        <p:nvPicPr>
          <p:cNvPr id="9" name="Gráfico 8">
            <a:extLst>
              <a:ext uri="{FF2B5EF4-FFF2-40B4-BE49-F238E27FC236}">
                <a16:creationId xmlns:a16="http://schemas.microsoft.com/office/drawing/2014/main" id="{F3284FE4-4CFB-8D54-E3D2-F2EE05FC531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38386" y="1200983"/>
            <a:ext cx="1412714" cy="829797"/>
          </a:xfrm>
          <a:prstGeom prst="rect">
            <a:avLst/>
          </a:prstGeom>
        </p:spPr>
      </p:pic>
      <p:pic>
        <p:nvPicPr>
          <p:cNvPr id="11" name="Gráfico 10">
            <a:extLst>
              <a:ext uri="{FF2B5EF4-FFF2-40B4-BE49-F238E27FC236}">
                <a16:creationId xmlns:a16="http://schemas.microsoft.com/office/drawing/2014/main" id="{E1E74A66-AB3B-0B9D-E917-184B6A4C9939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-585919" y="-473413"/>
            <a:ext cx="1577057" cy="1853043"/>
          </a:xfrm>
          <a:prstGeom prst="rect">
            <a:avLst/>
          </a:prstGeom>
        </p:spPr>
      </p:pic>
      <p:sp>
        <p:nvSpPr>
          <p:cNvPr id="13" name="Título 1">
            <a:extLst>
              <a:ext uri="{FF2B5EF4-FFF2-40B4-BE49-F238E27FC236}">
                <a16:creationId xmlns:a16="http://schemas.microsoft.com/office/drawing/2014/main" id="{40E63747-3802-E5CE-C8ED-52D01051B737}"/>
              </a:ext>
            </a:extLst>
          </p:cNvPr>
          <p:cNvSpPr txBox="1">
            <a:spLocks/>
          </p:cNvSpPr>
          <p:nvPr userDrawn="1"/>
        </p:nvSpPr>
        <p:spPr>
          <a:xfrm>
            <a:off x="914400" y="4763247"/>
            <a:ext cx="5067300" cy="1326091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R="0" algn="l" defTabSz="914400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lang="pt-BR" sz="4800" b="1" i="0" u="none" strike="noStrike" kern="1200" cap="none" spc="-40" baseline="0" dirty="0">
                <a:solidFill>
                  <a:schemeClr val="accent1"/>
                </a:solidFill>
                <a:latin typeface="+mj-lt"/>
                <a:ea typeface="Arial"/>
                <a:cs typeface="Poppins" panose="00000500000000000000" pitchFamily="2" charset="0"/>
                <a:sym typeface="Arial"/>
              </a:defRPr>
            </a:lvl1pPr>
          </a:lstStyle>
          <a:p>
            <a:endParaRPr lang="pt-BR"/>
          </a:p>
        </p:txBody>
      </p:sp>
      <p:sp>
        <p:nvSpPr>
          <p:cNvPr id="15" name="Espaço Reservado para Texto 14">
            <a:extLst>
              <a:ext uri="{FF2B5EF4-FFF2-40B4-BE49-F238E27FC236}">
                <a16:creationId xmlns:a16="http://schemas.microsoft.com/office/drawing/2014/main" id="{6AB1257F-413F-25D8-39C5-3FCF673DA0F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14400" y="4268788"/>
            <a:ext cx="5067300" cy="261937"/>
          </a:xfrm>
        </p:spPr>
        <p:txBody>
          <a:bodyPr>
            <a:noAutofit/>
          </a:bodyPr>
          <a:lstStyle>
            <a:lvl1pPr marR="0" algn="l" defTabSz="914400" rtl="0" eaLnBrk="1" latinLnBrk="0" hangingPunct="1">
              <a:lnSpc>
                <a:spcPct val="100000"/>
              </a:lnSpc>
              <a:spcBef>
                <a:spcPts val="2000"/>
              </a:spcBef>
              <a:spcAft>
                <a:spcPts val="500"/>
              </a:spcAft>
              <a:buClr>
                <a:srgbClr val="000000"/>
              </a:buClr>
              <a:buFont typeface="Arial"/>
              <a:buNone/>
              <a:defRPr lang="pt-BR" sz="1100" b="0" i="0" u="none" strike="noStrike" kern="1200" cap="all" spc="10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Arial"/>
              </a:defRPr>
            </a:lvl1pPr>
            <a:lvl2pPr marL="0" marR="0" indent="0" algn="l" defTabSz="914400" rtl="0" eaLnBrk="1" latinLnBrk="0" hangingPunct="1">
              <a:lnSpc>
                <a:spcPct val="100000"/>
              </a:lnSpc>
              <a:spcBef>
                <a:spcPts val="2000"/>
              </a:spcBef>
              <a:spcAft>
                <a:spcPts val="500"/>
              </a:spcAft>
              <a:buClr>
                <a:srgbClr val="000000"/>
              </a:buClr>
              <a:buFont typeface="Arial"/>
              <a:buNone/>
              <a:defRPr lang="pt-BR" sz="1100" b="0" i="0" u="none" strike="noStrike" kern="1200" cap="all" spc="10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Arial"/>
              </a:defRPr>
            </a:lvl2pPr>
          </a:lstStyle>
          <a:p>
            <a:pPr lvl="0"/>
            <a:r>
              <a:rPr lang="pt-BR"/>
              <a:t>Clique para editar os estilos de texto Mestres</a:t>
            </a:r>
          </a:p>
        </p:txBody>
      </p:sp>
      <p:pic>
        <p:nvPicPr>
          <p:cNvPr id="4" name="Gráfico 3">
            <a:extLst>
              <a:ext uri="{FF2B5EF4-FFF2-40B4-BE49-F238E27FC236}">
                <a16:creationId xmlns:a16="http://schemas.microsoft.com/office/drawing/2014/main" id="{1E35B455-200F-4413-6A26-E292AAB88A11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 flipH="1">
            <a:off x="10751250" y="5199385"/>
            <a:ext cx="953097" cy="953097"/>
          </a:xfrm>
          <a:prstGeom prst="rect">
            <a:avLst/>
          </a:prstGeom>
        </p:spPr>
      </p:pic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E825313D-A284-DF6E-CA0F-9FEA8047887C}"/>
              </a:ext>
            </a:extLst>
          </p:cNvPr>
          <p:cNvSpPr/>
          <p:nvPr userDrawn="1"/>
        </p:nvSpPr>
        <p:spPr>
          <a:xfrm>
            <a:off x="914399" y="5094580"/>
            <a:ext cx="1725959" cy="396583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err="1">
                <a:solidFill>
                  <a:schemeClr val="bg1"/>
                </a:solidFill>
              </a:rPr>
              <a:t>Iniciar</a:t>
            </a:r>
            <a:r>
              <a:rPr lang="en-US" sz="1100">
                <a:solidFill>
                  <a:schemeClr val="bg1"/>
                </a:solidFill>
              </a:rPr>
              <a:t> </a:t>
            </a:r>
            <a:r>
              <a:rPr lang="en-US" sz="1100" err="1">
                <a:solidFill>
                  <a:schemeClr val="bg1"/>
                </a:solidFill>
              </a:rPr>
              <a:t>Apresentação</a:t>
            </a:r>
            <a:endParaRPr lang="en-ID" sz="11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28195919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áfico 1">
            <a:extLst>
              <a:ext uri="{FF2B5EF4-FFF2-40B4-BE49-F238E27FC236}">
                <a16:creationId xmlns:a16="http://schemas.microsoft.com/office/drawing/2014/main" id="{88C2BB54-28D0-7B69-03DE-35D0AF2305C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945802" y="1131464"/>
            <a:ext cx="1918548" cy="1918548"/>
          </a:xfrm>
          <a:prstGeom prst="rect">
            <a:avLst/>
          </a:prstGeom>
        </p:spPr>
      </p:pic>
      <p:sp>
        <p:nvSpPr>
          <p:cNvPr id="3" name="Oval 5">
            <a:extLst>
              <a:ext uri="{FF2B5EF4-FFF2-40B4-BE49-F238E27FC236}">
                <a16:creationId xmlns:a16="http://schemas.microsoft.com/office/drawing/2014/main" id="{43A55EDC-8B05-1E90-D19A-7CF6933CD13C}"/>
              </a:ext>
            </a:extLst>
          </p:cNvPr>
          <p:cNvSpPr/>
          <p:nvPr userDrawn="1"/>
        </p:nvSpPr>
        <p:spPr>
          <a:xfrm>
            <a:off x="1982364" y="1365250"/>
            <a:ext cx="3629025" cy="362902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sz="1351"/>
          </a:p>
        </p:txBody>
      </p:sp>
      <p:sp>
        <p:nvSpPr>
          <p:cNvPr id="4" name="Oval 6">
            <a:extLst>
              <a:ext uri="{FF2B5EF4-FFF2-40B4-BE49-F238E27FC236}">
                <a16:creationId xmlns:a16="http://schemas.microsoft.com/office/drawing/2014/main" id="{32D6C9E4-DEA1-2E9C-FC67-6A4B3C700A88}"/>
              </a:ext>
            </a:extLst>
          </p:cNvPr>
          <p:cNvSpPr/>
          <p:nvPr userDrawn="1"/>
        </p:nvSpPr>
        <p:spPr>
          <a:xfrm>
            <a:off x="245178" y="3817803"/>
            <a:ext cx="2398847" cy="2398847"/>
          </a:xfrm>
          <a:prstGeom prst="ellipse">
            <a:avLst/>
          </a:prstGeom>
          <a:solidFill>
            <a:srgbClr val="F461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sz="1351"/>
          </a:p>
        </p:txBody>
      </p:sp>
      <p:sp>
        <p:nvSpPr>
          <p:cNvPr id="16" name="Retângulo: Cantos Arredondados 15">
            <a:extLst>
              <a:ext uri="{FF2B5EF4-FFF2-40B4-BE49-F238E27FC236}">
                <a16:creationId xmlns:a16="http://schemas.microsoft.com/office/drawing/2014/main" id="{1FD21CF0-8B64-28CD-3AED-D44ED776FC9F}"/>
              </a:ext>
            </a:extLst>
          </p:cNvPr>
          <p:cNvSpPr/>
          <p:nvPr userDrawn="1"/>
        </p:nvSpPr>
        <p:spPr>
          <a:xfrm>
            <a:off x="914400" y="1857271"/>
            <a:ext cx="5067300" cy="3145834"/>
          </a:xfrm>
          <a:prstGeom prst="roundRect">
            <a:avLst>
              <a:gd name="adj" fmla="val 7715"/>
            </a:avLst>
          </a:prstGeom>
          <a:solidFill>
            <a:schemeClr val="bg1"/>
          </a:solidFill>
          <a:ln>
            <a:noFill/>
          </a:ln>
          <a:effectLst>
            <a:outerShdw blurRad="177800" dist="38100" dir="8100000" algn="tr" rotWithShape="0">
              <a:prstClr val="black">
                <a:alpha val="2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351"/>
          </a:p>
        </p:txBody>
      </p:sp>
      <p:sp>
        <p:nvSpPr>
          <p:cNvPr id="9" name="Título 8">
            <a:extLst>
              <a:ext uri="{FF2B5EF4-FFF2-40B4-BE49-F238E27FC236}">
                <a16:creationId xmlns:a16="http://schemas.microsoft.com/office/drawing/2014/main" id="{86585591-BA78-5F86-74B4-C6BBAFFD14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92949" y="2124501"/>
            <a:ext cx="4184649" cy="1281113"/>
          </a:xfrm>
        </p:spPr>
        <p:txBody>
          <a:bodyPr>
            <a:noAutofit/>
          </a:bodyPr>
          <a:lstStyle>
            <a:lvl1pPr marR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pt-BR" sz="3600" b="1" i="0" u="none" strike="noStrike" cap="none" spc="-100" baseline="0" dirty="0">
                <a:solidFill>
                  <a:schemeClr val="accent1"/>
                </a:solidFill>
                <a:latin typeface="+mj-lt"/>
                <a:ea typeface="Arial"/>
                <a:cs typeface="Arial"/>
                <a:sym typeface="Arial"/>
              </a:defRPr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11" name="Espaço Reservado para Texto 10">
            <a:extLst>
              <a:ext uri="{FF2B5EF4-FFF2-40B4-BE49-F238E27FC236}">
                <a16:creationId xmlns:a16="http://schemas.microsoft.com/office/drawing/2014/main" id="{9BFCA3B0-88F8-CAC6-A24A-936EBBE3472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092950" y="3817938"/>
            <a:ext cx="4184650" cy="1176337"/>
          </a:xfrm>
        </p:spPr>
        <p:txBody>
          <a:bodyPr>
            <a:normAutofit/>
          </a:bodyPr>
          <a:lstStyle>
            <a:lvl1pPr marR="0" algn="l" rtl="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pt-BR" sz="1200" b="0" i="0" u="none" strike="noStrike" cap="none" dirty="0" smtClean="0">
                <a:solidFill>
                  <a:schemeClr val="tx2"/>
                </a:solidFill>
                <a:latin typeface="+mn-lt"/>
                <a:ea typeface="Times New Roman" panose="02020603050405020304" pitchFamily="18" charset="0"/>
                <a:cs typeface="Arial"/>
                <a:sym typeface="Arial"/>
              </a:defRPr>
            </a:lvl1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14" name="Espaço Reservado para Texto 13">
            <a:extLst>
              <a:ext uri="{FF2B5EF4-FFF2-40B4-BE49-F238E27FC236}">
                <a16:creationId xmlns:a16="http://schemas.microsoft.com/office/drawing/2014/main" id="{637AC9F0-E48A-ACAF-2021-2D19AFEAF85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092950" y="1729890"/>
            <a:ext cx="4184650" cy="347663"/>
          </a:xfrm>
        </p:spPr>
        <p:txBody>
          <a:bodyPr>
            <a:normAutofit/>
          </a:bodyPr>
          <a:lstStyle>
            <a:lvl1pPr marR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pt-BR" sz="1100" b="0" i="0" u="none" strike="noStrike" cap="all" spc="100" baseline="0" dirty="0">
                <a:solidFill>
                  <a:schemeClr val="bg1">
                    <a:lumMod val="50000"/>
                  </a:schemeClr>
                </a:solidFill>
                <a:latin typeface="+mn-lt"/>
                <a:ea typeface="Times New Roman" panose="02020603050405020304" pitchFamily="18" charset="0"/>
                <a:cs typeface="Arial"/>
                <a:sym typeface="Arial"/>
              </a:defRPr>
            </a:lvl1pPr>
          </a:lstStyle>
          <a:p>
            <a:pPr lvl="0"/>
            <a:r>
              <a:rPr lang="pt-BR"/>
              <a:t>Clique para editar o texto</a:t>
            </a:r>
          </a:p>
        </p:txBody>
      </p:sp>
      <p:sp>
        <p:nvSpPr>
          <p:cNvPr id="8" name="Espaço Reservado para Gráfico 7">
            <a:extLst>
              <a:ext uri="{FF2B5EF4-FFF2-40B4-BE49-F238E27FC236}">
                <a16:creationId xmlns:a16="http://schemas.microsoft.com/office/drawing/2014/main" id="{525D5F98-DDB4-B94B-66E6-7FC4458751DE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1109663" y="2090738"/>
            <a:ext cx="4676775" cy="2674937"/>
          </a:xfrm>
        </p:spPr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011504676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áfico 1">
            <a:extLst>
              <a:ext uri="{FF2B5EF4-FFF2-40B4-BE49-F238E27FC236}">
                <a16:creationId xmlns:a16="http://schemas.microsoft.com/office/drawing/2014/main" id="{88C2BB54-28D0-7B69-03DE-35D0AF2305C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945802" y="1131464"/>
            <a:ext cx="1918548" cy="1918548"/>
          </a:xfrm>
          <a:prstGeom prst="rect">
            <a:avLst/>
          </a:prstGeom>
        </p:spPr>
      </p:pic>
      <p:sp>
        <p:nvSpPr>
          <p:cNvPr id="3" name="Oval 5">
            <a:extLst>
              <a:ext uri="{FF2B5EF4-FFF2-40B4-BE49-F238E27FC236}">
                <a16:creationId xmlns:a16="http://schemas.microsoft.com/office/drawing/2014/main" id="{43A55EDC-8B05-1E90-D19A-7CF6933CD13C}"/>
              </a:ext>
            </a:extLst>
          </p:cNvPr>
          <p:cNvSpPr/>
          <p:nvPr userDrawn="1"/>
        </p:nvSpPr>
        <p:spPr>
          <a:xfrm>
            <a:off x="1982364" y="1365250"/>
            <a:ext cx="3629025" cy="362902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sz="1351"/>
          </a:p>
        </p:txBody>
      </p:sp>
      <p:sp>
        <p:nvSpPr>
          <p:cNvPr id="4" name="Oval 6">
            <a:extLst>
              <a:ext uri="{FF2B5EF4-FFF2-40B4-BE49-F238E27FC236}">
                <a16:creationId xmlns:a16="http://schemas.microsoft.com/office/drawing/2014/main" id="{32D6C9E4-DEA1-2E9C-FC67-6A4B3C700A88}"/>
              </a:ext>
            </a:extLst>
          </p:cNvPr>
          <p:cNvSpPr/>
          <p:nvPr userDrawn="1"/>
        </p:nvSpPr>
        <p:spPr>
          <a:xfrm>
            <a:off x="245178" y="3817803"/>
            <a:ext cx="2398847" cy="2398847"/>
          </a:xfrm>
          <a:prstGeom prst="ellipse">
            <a:avLst/>
          </a:prstGeom>
          <a:solidFill>
            <a:srgbClr val="F461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sz="1351"/>
          </a:p>
        </p:txBody>
      </p:sp>
      <p:sp>
        <p:nvSpPr>
          <p:cNvPr id="12" name="Retângulo: Cantos Arredondados 11">
            <a:extLst>
              <a:ext uri="{FF2B5EF4-FFF2-40B4-BE49-F238E27FC236}">
                <a16:creationId xmlns:a16="http://schemas.microsoft.com/office/drawing/2014/main" id="{41749C37-0E1C-DA14-42C3-889AC06FF72F}"/>
              </a:ext>
            </a:extLst>
          </p:cNvPr>
          <p:cNvSpPr/>
          <p:nvPr userDrawn="1"/>
        </p:nvSpPr>
        <p:spPr>
          <a:xfrm>
            <a:off x="699837" y="2090737"/>
            <a:ext cx="5496426" cy="3400425"/>
          </a:xfrm>
          <a:prstGeom prst="roundRect">
            <a:avLst>
              <a:gd name="adj" fmla="val 7715"/>
            </a:avLst>
          </a:prstGeom>
          <a:solidFill>
            <a:schemeClr val="bg1"/>
          </a:solidFill>
          <a:ln>
            <a:noFill/>
          </a:ln>
          <a:effectLst>
            <a:outerShdw blurRad="177800" dist="38100" dir="8100000" algn="tr" rotWithShape="0">
              <a:prstClr val="black">
                <a:alpha val="2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351"/>
          </a:p>
        </p:txBody>
      </p:sp>
      <p:sp>
        <p:nvSpPr>
          <p:cNvPr id="8" name="Espaço Reservado para Gráfico 7">
            <a:extLst>
              <a:ext uri="{FF2B5EF4-FFF2-40B4-BE49-F238E27FC236}">
                <a16:creationId xmlns:a16="http://schemas.microsoft.com/office/drawing/2014/main" id="{525D5F98-DDB4-B94B-66E6-7FC4458751DE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1109663" y="2438030"/>
            <a:ext cx="4676775" cy="2674937"/>
          </a:xfrm>
        </p:spPr>
        <p:txBody>
          <a:bodyPr/>
          <a:lstStyle/>
          <a:p>
            <a:endParaRPr lang="pt-BR"/>
          </a:p>
        </p:txBody>
      </p:sp>
      <p:sp>
        <p:nvSpPr>
          <p:cNvPr id="13" name="Título 12">
            <a:extLst>
              <a:ext uri="{FF2B5EF4-FFF2-40B4-BE49-F238E27FC236}">
                <a16:creationId xmlns:a16="http://schemas.microsoft.com/office/drawing/2014/main" id="{ADF69FDE-B23B-9656-AB0E-FA565B8CC7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6102" y="655275"/>
            <a:ext cx="7160897" cy="476190"/>
          </a:xfrm>
        </p:spPr>
        <p:txBody>
          <a:bodyPr>
            <a:noAutofit/>
          </a:bodyPr>
          <a:lstStyle>
            <a:lvl1pPr>
              <a:defRPr sz="3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18" name="Espaço Reservado para Texto 9">
            <a:extLst>
              <a:ext uri="{FF2B5EF4-FFF2-40B4-BE49-F238E27FC236}">
                <a16:creationId xmlns:a16="http://schemas.microsoft.com/office/drawing/2014/main" id="{2AC255A1-9E21-0591-850C-D24AC51F842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092951" y="1862138"/>
            <a:ext cx="4184650" cy="4132846"/>
          </a:xfrm>
        </p:spPr>
        <p:txBody>
          <a:bodyPr>
            <a:noAutofit/>
          </a:bodyPr>
          <a:lstStyle>
            <a:lvl1pPr marL="0" indent="0">
              <a:lnSpc>
                <a:spcPct val="110000"/>
              </a:lnSpc>
              <a:spcBef>
                <a:spcPts val="2000"/>
              </a:spcBef>
              <a:spcAft>
                <a:spcPts val="500"/>
              </a:spcAft>
              <a:buFont typeface="Arial" panose="020B0604020202020204" pitchFamily="34" charset="0"/>
              <a:buNone/>
              <a:defRPr sz="1700" b="1" u="none">
                <a:solidFill>
                  <a:schemeClr val="accent2"/>
                </a:solidFill>
              </a:defRPr>
            </a:lvl1pPr>
            <a:lvl2pPr marL="0" indent="0">
              <a:lnSpc>
                <a:spcPct val="130000"/>
              </a:lnSpc>
              <a:spcBef>
                <a:spcPts val="0"/>
              </a:spcBef>
              <a:spcAft>
                <a:spcPts val="500"/>
              </a:spcAft>
              <a:buNone/>
              <a:defRPr sz="1400">
                <a:solidFill>
                  <a:schemeClr val="tx2"/>
                </a:solidFill>
              </a:defRPr>
            </a:lvl2pPr>
            <a:lvl3pPr marL="792000" indent="-288000">
              <a:lnSpc>
                <a:spcPct val="110000"/>
              </a:lnSpc>
              <a:spcBef>
                <a:spcPts val="500"/>
              </a:spcBef>
              <a:spcAft>
                <a:spcPts val="0"/>
              </a:spcAft>
              <a:buFontTx/>
              <a:buBlip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</a:buBlip>
              <a:defRPr sz="1400">
                <a:solidFill>
                  <a:schemeClr val="tx2"/>
                </a:solidFill>
              </a:defRPr>
            </a:lvl3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38484986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ço Reservado para Gráfico 7">
            <a:extLst>
              <a:ext uri="{FF2B5EF4-FFF2-40B4-BE49-F238E27FC236}">
                <a16:creationId xmlns:a16="http://schemas.microsoft.com/office/drawing/2014/main" id="{525D5F98-DDB4-B94B-66E6-7FC4458751DE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1109663" y="2438030"/>
            <a:ext cx="4676775" cy="2674937"/>
          </a:xfrm>
        </p:spPr>
        <p:txBody>
          <a:bodyPr/>
          <a:lstStyle/>
          <a:p>
            <a:endParaRPr lang="pt-BR"/>
          </a:p>
        </p:txBody>
      </p:sp>
      <p:sp>
        <p:nvSpPr>
          <p:cNvPr id="13" name="Título 12">
            <a:extLst>
              <a:ext uri="{FF2B5EF4-FFF2-40B4-BE49-F238E27FC236}">
                <a16:creationId xmlns:a16="http://schemas.microsoft.com/office/drawing/2014/main" id="{ADF69FDE-B23B-9656-AB0E-FA565B8CC7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4400" y="655275"/>
            <a:ext cx="7160897" cy="476190"/>
          </a:xfrm>
        </p:spPr>
        <p:txBody>
          <a:bodyPr>
            <a:noAutofit/>
          </a:bodyPr>
          <a:lstStyle>
            <a:lvl1pPr>
              <a:defRPr sz="3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18" name="Espaço Reservado para Texto 9">
            <a:extLst>
              <a:ext uri="{FF2B5EF4-FFF2-40B4-BE49-F238E27FC236}">
                <a16:creationId xmlns:a16="http://schemas.microsoft.com/office/drawing/2014/main" id="{2AC255A1-9E21-0591-850C-D24AC51F842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092951" y="1862138"/>
            <a:ext cx="4184650" cy="4132846"/>
          </a:xfrm>
        </p:spPr>
        <p:txBody>
          <a:bodyPr>
            <a:noAutofit/>
          </a:bodyPr>
          <a:lstStyle>
            <a:lvl1pPr marL="0" indent="0">
              <a:lnSpc>
                <a:spcPct val="110000"/>
              </a:lnSpc>
              <a:spcBef>
                <a:spcPts val="2000"/>
              </a:spcBef>
              <a:spcAft>
                <a:spcPts val="500"/>
              </a:spcAft>
              <a:buFont typeface="Arial" panose="020B0604020202020204" pitchFamily="34" charset="0"/>
              <a:buNone/>
              <a:defRPr sz="1700" b="1" u="none">
                <a:solidFill>
                  <a:schemeClr val="accent2"/>
                </a:solidFill>
              </a:defRPr>
            </a:lvl1pPr>
            <a:lvl2pPr marL="0" indent="0">
              <a:lnSpc>
                <a:spcPct val="130000"/>
              </a:lnSpc>
              <a:spcBef>
                <a:spcPts val="0"/>
              </a:spcBef>
              <a:spcAft>
                <a:spcPts val="500"/>
              </a:spcAft>
              <a:buNone/>
              <a:defRPr sz="1400">
                <a:solidFill>
                  <a:schemeClr val="tx2"/>
                </a:solidFill>
              </a:defRPr>
            </a:lvl2pPr>
            <a:lvl3pPr marL="792000" indent="-288000">
              <a:lnSpc>
                <a:spcPct val="110000"/>
              </a:lnSpc>
              <a:spcBef>
                <a:spcPts val="500"/>
              </a:spcBef>
              <a:spcAft>
                <a:spcPts val="0"/>
              </a:spcAft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400">
                <a:solidFill>
                  <a:schemeClr val="tx2"/>
                </a:solidFill>
              </a:defRPr>
            </a:lvl3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endParaRPr lang="pt-BR"/>
          </a:p>
        </p:txBody>
      </p:sp>
      <p:pic>
        <p:nvPicPr>
          <p:cNvPr id="5" name="Gráfico 4">
            <a:extLst>
              <a:ext uri="{FF2B5EF4-FFF2-40B4-BE49-F238E27FC236}">
                <a16:creationId xmlns:a16="http://schemas.microsoft.com/office/drawing/2014/main" id="{A55B6DD7-EF35-1A47-0682-FB0263AE46FD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828972" y="-1239748"/>
            <a:ext cx="2726056" cy="2726056"/>
          </a:xfrm>
          <a:prstGeom prst="rect">
            <a:avLst/>
          </a:prstGeom>
        </p:spPr>
      </p:pic>
      <p:pic>
        <p:nvPicPr>
          <p:cNvPr id="6" name="Gráfico 5">
            <a:extLst>
              <a:ext uri="{FF2B5EF4-FFF2-40B4-BE49-F238E27FC236}">
                <a16:creationId xmlns:a16="http://schemas.microsoft.com/office/drawing/2014/main" id="{6BB7C3AF-C957-8BE3-AA41-01756EF205A3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680864" y="6346864"/>
            <a:ext cx="1022272" cy="10222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5480262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ço Reservado para Gráfico 7">
            <a:extLst>
              <a:ext uri="{FF2B5EF4-FFF2-40B4-BE49-F238E27FC236}">
                <a16:creationId xmlns:a16="http://schemas.microsoft.com/office/drawing/2014/main" id="{525D5F98-DDB4-B94B-66E6-7FC4458751DE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1109663" y="2438030"/>
            <a:ext cx="4676775" cy="2674937"/>
          </a:xfrm>
        </p:spPr>
        <p:txBody>
          <a:bodyPr/>
          <a:lstStyle/>
          <a:p>
            <a:endParaRPr lang="pt-BR"/>
          </a:p>
        </p:txBody>
      </p:sp>
      <p:sp>
        <p:nvSpPr>
          <p:cNvPr id="13" name="Título 12">
            <a:extLst>
              <a:ext uri="{FF2B5EF4-FFF2-40B4-BE49-F238E27FC236}">
                <a16:creationId xmlns:a16="http://schemas.microsoft.com/office/drawing/2014/main" id="{ADF69FDE-B23B-9656-AB0E-FA565B8CC7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4400" y="655275"/>
            <a:ext cx="7160897" cy="476190"/>
          </a:xfrm>
        </p:spPr>
        <p:txBody>
          <a:bodyPr>
            <a:noAutofit/>
          </a:bodyPr>
          <a:lstStyle>
            <a:lvl1pPr>
              <a:defRPr sz="3000"/>
            </a:lvl1pPr>
          </a:lstStyle>
          <a:p>
            <a:r>
              <a:rPr lang="pt-BR"/>
              <a:t>Clique para editar o título Mestre</a:t>
            </a:r>
          </a:p>
        </p:txBody>
      </p:sp>
      <p:pic>
        <p:nvPicPr>
          <p:cNvPr id="5" name="Gráfico 4">
            <a:extLst>
              <a:ext uri="{FF2B5EF4-FFF2-40B4-BE49-F238E27FC236}">
                <a16:creationId xmlns:a16="http://schemas.microsoft.com/office/drawing/2014/main" id="{A55B6DD7-EF35-1A47-0682-FB0263AE46F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28972" y="-1239748"/>
            <a:ext cx="2726056" cy="2726056"/>
          </a:xfrm>
          <a:prstGeom prst="rect">
            <a:avLst/>
          </a:prstGeom>
        </p:spPr>
      </p:pic>
      <p:pic>
        <p:nvPicPr>
          <p:cNvPr id="6" name="Gráfico 5">
            <a:extLst>
              <a:ext uri="{FF2B5EF4-FFF2-40B4-BE49-F238E27FC236}">
                <a16:creationId xmlns:a16="http://schemas.microsoft.com/office/drawing/2014/main" id="{6BB7C3AF-C957-8BE3-AA41-01756EF205A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680864" y="6346864"/>
            <a:ext cx="1022272" cy="1022272"/>
          </a:xfrm>
          <a:prstGeom prst="rect">
            <a:avLst/>
          </a:prstGeom>
        </p:spPr>
      </p:pic>
      <p:sp>
        <p:nvSpPr>
          <p:cNvPr id="2" name="Espaço Reservado para Gráfico 7">
            <a:extLst>
              <a:ext uri="{FF2B5EF4-FFF2-40B4-BE49-F238E27FC236}">
                <a16:creationId xmlns:a16="http://schemas.microsoft.com/office/drawing/2014/main" id="{794511CE-6AEF-6FC7-2BBF-27E054E2A872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7096321" y="1365660"/>
            <a:ext cx="3298629" cy="1941860"/>
          </a:xfrm>
        </p:spPr>
        <p:txBody>
          <a:bodyPr/>
          <a:lstStyle/>
          <a:p>
            <a:endParaRPr lang="pt-BR"/>
          </a:p>
        </p:txBody>
      </p:sp>
      <p:sp>
        <p:nvSpPr>
          <p:cNvPr id="3" name="Espaço Reservado para Gráfico 7">
            <a:extLst>
              <a:ext uri="{FF2B5EF4-FFF2-40B4-BE49-F238E27FC236}">
                <a16:creationId xmlns:a16="http://schemas.microsoft.com/office/drawing/2014/main" id="{ABB453D1-8782-5B15-4AA3-58BC9064C3CB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096321" y="4274791"/>
            <a:ext cx="3298629" cy="1941860"/>
          </a:xfrm>
        </p:spPr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637031120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Espaço Reservado para Imagem 19">
            <a:extLst>
              <a:ext uri="{FF2B5EF4-FFF2-40B4-BE49-F238E27FC236}">
                <a16:creationId xmlns:a16="http://schemas.microsoft.com/office/drawing/2014/main" id="{F9F2879B-1708-B68F-540E-494C085AD71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28390" y="1527646"/>
            <a:ext cx="4170660" cy="4170660"/>
          </a:xfrm>
          <a:prstGeom prst="ellipse">
            <a:avLst/>
          </a:prstGeom>
        </p:spPr>
        <p:txBody>
          <a:bodyPr/>
          <a:lstStyle>
            <a:lvl1pPr algn="ctr">
              <a:defRPr/>
            </a:lvl1pPr>
          </a:lstStyle>
          <a:p>
            <a:endParaRPr lang="pt-BR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59647610-F492-48EE-CCB8-AD39FEEDC7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10300" y="2816225"/>
            <a:ext cx="5067300" cy="1281113"/>
          </a:xfrm>
        </p:spPr>
        <p:txBody>
          <a:bodyPr>
            <a:noAutofit/>
          </a:bodyPr>
          <a:lstStyle>
            <a:lvl1pPr>
              <a:lnSpc>
                <a:spcPct val="85000"/>
              </a:lnSpc>
              <a:defRPr lang="pt-BR" sz="4800" b="1" i="0" u="none" strike="noStrike" cap="none" dirty="0">
                <a:solidFill>
                  <a:schemeClr val="accent1"/>
                </a:solidFill>
                <a:latin typeface="+mj-lt"/>
                <a:ea typeface="Arial"/>
                <a:cs typeface="Poppins" panose="00000500000000000000" pitchFamily="2" charset="0"/>
                <a:sym typeface="Arial"/>
              </a:defRPr>
            </a:lvl1pPr>
          </a:lstStyle>
          <a:p>
            <a:r>
              <a:rPr lang="pt-BR"/>
              <a:t>Clique para editar o título</a:t>
            </a:r>
          </a:p>
        </p:txBody>
      </p:sp>
      <p:sp>
        <p:nvSpPr>
          <p:cNvPr id="3" name="Espaço Reservado para Data 2">
            <a:extLst>
              <a:ext uri="{FF2B5EF4-FFF2-40B4-BE49-F238E27FC236}">
                <a16:creationId xmlns:a16="http://schemas.microsoft.com/office/drawing/2014/main" id="{5AD957BC-C55B-0228-16B7-203A5986158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14400" y="6356350"/>
            <a:ext cx="2667000" cy="365125"/>
          </a:xfrm>
          <a:prstGeom prst="rect">
            <a:avLst/>
          </a:prstGeom>
        </p:spPr>
        <p:txBody>
          <a:bodyPr/>
          <a:lstStyle/>
          <a:p>
            <a:fld id="{3E6DD1D3-15F5-4616-A348-AC448C8A14AB}" type="datetimeFigureOut">
              <a:rPr lang="pt-BR" smtClean="0"/>
              <a:t>16/01/2026</a:t>
            </a:fld>
            <a:endParaRPr lang="pt-BR"/>
          </a:p>
        </p:txBody>
      </p:sp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54899489-77E4-8AF7-E1D1-B8CA56026A6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pt-BR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99760599-4CA6-3D27-2B73-A6CBCEE6EE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667000" cy="365125"/>
          </a:xfrm>
          <a:prstGeom prst="rect">
            <a:avLst/>
          </a:prstGeom>
        </p:spPr>
        <p:txBody>
          <a:bodyPr/>
          <a:lstStyle/>
          <a:p>
            <a:fld id="{F43D91A0-3E8E-4090-8D40-C0F9E742A5CB}" type="slidenum">
              <a:rPr lang="pt-BR" smtClean="0"/>
              <a:t>‹nº›</a:t>
            </a:fld>
            <a:endParaRPr lang="pt-BR"/>
          </a:p>
        </p:txBody>
      </p:sp>
      <p:sp>
        <p:nvSpPr>
          <p:cNvPr id="7" name="Círculo (Outline Foto)">
            <a:extLst>
              <a:ext uri="{FF2B5EF4-FFF2-40B4-BE49-F238E27FC236}">
                <a16:creationId xmlns:a16="http://schemas.microsoft.com/office/drawing/2014/main" id="{DEE7ED6F-280B-4BC1-CF9E-415E582F157A}"/>
              </a:ext>
            </a:extLst>
          </p:cNvPr>
          <p:cNvSpPr/>
          <p:nvPr userDrawn="1"/>
        </p:nvSpPr>
        <p:spPr>
          <a:xfrm>
            <a:off x="805218" y="1404474"/>
            <a:ext cx="4417004" cy="4417004"/>
          </a:xfrm>
          <a:prstGeom prst="ellipse">
            <a:avLst/>
          </a:prstGeom>
          <a:noFill/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933"/>
          </a:p>
        </p:txBody>
      </p:sp>
      <p:pic>
        <p:nvPicPr>
          <p:cNvPr id="10" name="Grafismo - Círculos">
            <a:extLst>
              <a:ext uri="{FF2B5EF4-FFF2-40B4-BE49-F238E27FC236}">
                <a16:creationId xmlns:a16="http://schemas.microsoft.com/office/drawing/2014/main" id="{B7C94C14-8C01-C13E-14B6-1ECF9CC7064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35889" y="274462"/>
            <a:ext cx="1837252" cy="2158772"/>
          </a:xfrm>
          <a:prstGeom prst="rect">
            <a:avLst/>
          </a:prstGeom>
        </p:spPr>
      </p:pic>
      <p:grpSp>
        <p:nvGrpSpPr>
          <p:cNvPr id="12" name="Grafismo - Topografia">
            <a:extLst>
              <a:ext uri="{FF2B5EF4-FFF2-40B4-BE49-F238E27FC236}">
                <a16:creationId xmlns:a16="http://schemas.microsoft.com/office/drawing/2014/main" id="{7CCC5CB8-61CD-43A9-DF2F-4F45D1B21138}"/>
              </a:ext>
            </a:extLst>
          </p:cNvPr>
          <p:cNvGrpSpPr/>
          <p:nvPr userDrawn="1"/>
        </p:nvGrpSpPr>
        <p:grpSpPr>
          <a:xfrm rot="10800000">
            <a:off x="161924" y="6509730"/>
            <a:ext cx="12030075" cy="475316"/>
            <a:chOff x="0" y="6347706"/>
            <a:chExt cx="11687627" cy="461786"/>
          </a:xfrm>
        </p:grpSpPr>
        <p:pic>
          <p:nvPicPr>
            <p:cNvPr id="13" name="Google Shape;108;p2">
              <a:extLst>
                <a:ext uri="{FF2B5EF4-FFF2-40B4-BE49-F238E27FC236}">
                  <a16:creationId xmlns:a16="http://schemas.microsoft.com/office/drawing/2014/main" id="{60B6082C-721D-B164-36FA-60EC2677FB63}"/>
                </a:ext>
              </a:extLst>
            </p:cNvPr>
            <p:cNvPicPr preferRelativeResize="0"/>
            <p:nvPr/>
          </p:nvPicPr>
          <p:blipFill rotWithShape="1">
            <a:blip r:embed="rId4">
              <a:alphaModFix/>
            </a:blip>
            <a:srcRect b="61474"/>
            <a:stretch/>
          </p:blipFill>
          <p:spPr>
            <a:xfrm>
              <a:off x="0" y="6347706"/>
              <a:ext cx="5849257" cy="461786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4" name="Google Shape;109;p2">
              <a:extLst>
                <a:ext uri="{FF2B5EF4-FFF2-40B4-BE49-F238E27FC236}">
                  <a16:creationId xmlns:a16="http://schemas.microsoft.com/office/drawing/2014/main" id="{780DA761-98CD-4A24-6B8B-363BFEA33EEB}"/>
                </a:ext>
              </a:extLst>
            </p:cNvPr>
            <p:cNvPicPr preferRelativeResize="0"/>
            <p:nvPr/>
          </p:nvPicPr>
          <p:blipFill rotWithShape="1">
            <a:blip r:embed="rId4">
              <a:alphaModFix/>
            </a:blip>
            <a:srcRect b="61474"/>
            <a:stretch/>
          </p:blipFill>
          <p:spPr>
            <a:xfrm>
              <a:off x="5838371" y="6347706"/>
              <a:ext cx="5849257" cy="461786"/>
            </a:xfrm>
            <a:prstGeom prst="rect">
              <a:avLst/>
            </a:prstGeom>
            <a:noFill/>
            <a:ln>
              <a:noFill/>
            </a:ln>
          </p:spPr>
        </p:pic>
      </p:grpSp>
      <p:pic>
        <p:nvPicPr>
          <p:cNvPr id="16" name="Logo">
            <a:extLst>
              <a:ext uri="{FF2B5EF4-FFF2-40B4-BE49-F238E27FC236}">
                <a16:creationId xmlns:a16="http://schemas.microsoft.com/office/drawing/2014/main" id="{1A7D77B8-D82B-EE46-59A3-B08122B3BBE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334286" y="1200983"/>
            <a:ext cx="1412714" cy="829797"/>
          </a:xfrm>
          <a:prstGeom prst="rect">
            <a:avLst/>
          </a:prstGeom>
        </p:spPr>
      </p:pic>
      <p:sp>
        <p:nvSpPr>
          <p:cNvPr id="18" name="Espaço Reservado para Texto 17">
            <a:extLst>
              <a:ext uri="{FF2B5EF4-FFF2-40B4-BE49-F238E27FC236}">
                <a16:creationId xmlns:a16="http://schemas.microsoft.com/office/drawing/2014/main" id="{A590A436-C4FC-90AF-4136-6CB7CD1825F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10300" y="4268788"/>
            <a:ext cx="5067300" cy="365125"/>
          </a:xfrm>
        </p:spPr>
        <p:txBody>
          <a:bodyPr>
            <a:normAutofit/>
          </a:bodyPr>
          <a:lstStyle>
            <a:lvl1pPr>
              <a:defRPr lang="pt-BR" sz="1100" b="0" i="0" u="none" strike="noStrike" kern="1200" cap="all" spc="1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Arial"/>
              </a:defRPr>
            </a:lvl1pPr>
          </a:lstStyle>
          <a:p>
            <a:pPr lvl="0"/>
            <a:r>
              <a:rPr lang="pt-BR"/>
              <a:t>Clique para editar o texto</a:t>
            </a:r>
          </a:p>
        </p:txBody>
      </p:sp>
      <p:sp>
        <p:nvSpPr>
          <p:cNvPr id="25" name="Espaço Reservado para Imagem 24">
            <a:extLst>
              <a:ext uri="{FF2B5EF4-FFF2-40B4-BE49-F238E27FC236}">
                <a16:creationId xmlns:a16="http://schemas.microsoft.com/office/drawing/2014/main" id="{00B443F9-E135-FF3E-E804-8FB8BE3E8195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14400" y="1862138"/>
            <a:ext cx="2419350" cy="2178050"/>
          </a:xfrm>
        </p:spPr>
        <p:txBody>
          <a:bodyPr/>
          <a:lstStyle>
            <a:lvl1pPr algn="ctr">
              <a:defRPr b="0">
                <a:solidFill>
                  <a:schemeClr val="accent2"/>
                </a:solidFill>
              </a:defRPr>
            </a:lvl1pPr>
          </a:lstStyle>
          <a:p>
            <a:r>
              <a:rPr lang="pt-BR"/>
              <a:t>Grafismo </a:t>
            </a:r>
            <a:br>
              <a:rPr lang="pt-BR"/>
            </a:br>
            <a:r>
              <a:rPr lang="pt-BR"/>
              <a:t>(opcional)</a:t>
            </a:r>
          </a:p>
        </p:txBody>
      </p:sp>
      <p:pic>
        <p:nvPicPr>
          <p:cNvPr id="26" name="Gráfico 25">
            <a:extLst>
              <a:ext uri="{FF2B5EF4-FFF2-40B4-BE49-F238E27FC236}">
                <a16:creationId xmlns:a16="http://schemas.microsoft.com/office/drawing/2014/main" id="{F1A091A3-AFD6-49CA-1829-37DA249DD2C8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-585919" y="-483062"/>
            <a:ext cx="1577057" cy="1853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917423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áfico 1">
            <a:extLst>
              <a:ext uri="{FF2B5EF4-FFF2-40B4-BE49-F238E27FC236}">
                <a16:creationId xmlns:a16="http://schemas.microsoft.com/office/drawing/2014/main" id="{88C2BB54-28D0-7B69-03DE-35D0AF2305C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945802" y="1758649"/>
            <a:ext cx="1918548" cy="1918548"/>
          </a:xfrm>
          <a:prstGeom prst="rect">
            <a:avLst/>
          </a:prstGeom>
        </p:spPr>
      </p:pic>
      <p:sp>
        <p:nvSpPr>
          <p:cNvPr id="3" name="Oval 5">
            <a:extLst>
              <a:ext uri="{FF2B5EF4-FFF2-40B4-BE49-F238E27FC236}">
                <a16:creationId xmlns:a16="http://schemas.microsoft.com/office/drawing/2014/main" id="{43A55EDC-8B05-1E90-D19A-7CF6933CD13C}"/>
              </a:ext>
            </a:extLst>
          </p:cNvPr>
          <p:cNvSpPr/>
          <p:nvPr userDrawn="1"/>
        </p:nvSpPr>
        <p:spPr>
          <a:xfrm>
            <a:off x="1982364" y="2691731"/>
            <a:ext cx="3629025" cy="362902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sz="1351"/>
          </a:p>
        </p:txBody>
      </p:sp>
      <p:sp>
        <p:nvSpPr>
          <p:cNvPr id="4" name="Oval 6">
            <a:extLst>
              <a:ext uri="{FF2B5EF4-FFF2-40B4-BE49-F238E27FC236}">
                <a16:creationId xmlns:a16="http://schemas.microsoft.com/office/drawing/2014/main" id="{32D6C9E4-DEA1-2E9C-FC67-6A4B3C700A88}"/>
              </a:ext>
            </a:extLst>
          </p:cNvPr>
          <p:cNvSpPr/>
          <p:nvPr userDrawn="1"/>
        </p:nvSpPr>
        <p:spPr>
          <a:xfrm>
            <a:off x="245178" y="2094225"/>
            <a:ext cx="2398847" cy="2398847"/>
          </a:xfrm>
          <a:prstGeom prst="ellipse">
            <a:avLst/>
          </a:prstGeom>
          <a:solidFill>
            <a:srgbClr val="F3ABA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ID"/>
          </a:p>
        </p:txBody>
      </p:sp>
      <p:sp>
        <p:nvSpPr>
          <p:cNvPr id="5" name="Retângulo: Cantos Arredondados 4">
            <a:extLst>
              <a:ext uri="{FF2B5EF4-FFF2-40B4-BE49-F238E27FC236}">
                <a16:creationId xmlns:a16="http://schemas.microsoft.com/office/drawing/2014/main" id="{C5BCF3B3-3544-DAA9-5634-21C61FEECDBC}"/>
              </a:ext>
            </a:extLst>
          </p:cNvPr>
          <p:cNvSpPr/>
          <p:nvPr userDrawn="1"/>
        </p:nvSpPr>
        <p:spPr>
          <a:xfrm>
            <a:off x="931579" y="2094225"/>
            <a:ext cx="5055268" cy="3629025"/>
          </a:xfrm>
          <a:prstGeom prst="roundRect">
            <a:avLst>
              <a:gd name="adj" fmla="val 7715"/>
            </a:avLst>
          </a:prstGeom>
          <a:solidFill>
            <a:schemeClr val="bg1"/>
          </a:solidFill>
          <a:ln>
            <a:noFill/>
          </a:ln>
          <a:effectLst>
            <a:outerShdw blurRad="177800" dist="38100" dir="8100000" algn="tr" rotWithShape="0">
              <a:prstClr val="black">
                <a:alpha val="2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351"/>
          </a:p>
        </p:txBody>
      </p:sp>
      <p:sp>
        <p:nvSpPr>
          <p:cNvPr id="7" name="Retângulo: Cantos Arredondados 6">
            <a:extLst>
              <a:ext uri="{FF2B5EF4-FFF2-40B4-BE49-F238E27FC236}">
                <a16:creationId xmlns:a16="http://schemas.microsoft.com/office/drawing/2014/main" id="{B5DF07B2-02A4-CB71-CA7E-52A98612C97F}"/>
              </a:ext>
            </a:extLst>
          </p:cNvPr>
          <p:cNvSpPr/>
          <p:nvPr userDrawn="1"/>
        </p:nvSpPr>
        <p:spPr>
          <a:xfrm>
            <a:off x="6223200" y="2094224"/>
            <a:ext cx="5054400" cy="3622265"/>
          </a:xfrm>
          <a:prstGeom prst="roundRect">
            <a:avLst>
              <a:gd name="adj" fmla="val 7715"/>
            </a:avLst>
          </a:prstGeom>
          <a:solidFill>
            <a:schemeClr val="bg1"/>
          </a:solidFill>
          <a:ln>
            <a:noFill/>
          </a:ln>
          <a:effectLst>
            <a:outerShdw blurRad="177800" dist="38100" dir="8100000" algn="tr" rotWithShape="0">
              <a:prstClr val="black">
                <a:alpha val="2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351"/>
          </a:p>
        </p:txBody>
      </p:sp>
      <p:sp>
        <p:nvSpPr>
          <p:cNvPr id="13" name="Título 8">
            <a:extLst>
              <a:ext uri="{FF2B5EF4-FFF2-40B4-BE49-F238E27FC236}">
                <a16:creationId xmlns:a16="http://schemas.microsoft.com/office/drawing/2014/main" id="{7CD44CD7-56CD-8EB0-6CDD-B78477F926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94509" y="641350"/>
            <a:ext cx="5969841" cy="921743"/>
          </a:xfrm>
        </p:spPr>
        <p:txBody>
          <a:bodyPr>
            <a:noAutofit/>
          </a:bodyPr>
          <a:lstStyle>
            <a:lvl1pPr marR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pt-BR" sz="3000" b="1" i="0" u="none" strike="noStrike" cap="none" spc="-100" dirty="0">
                <a:solidFill>
                  <a:schemeClr val="accent1"/>
                </a:solidFill>
                <a:latin typeface="+mj-lt"/>
                <a:ea typeface="Arial"/>
                <a:cs typeface="Arial"/>
                <a:sym typeface="Arial"/>
              </a:defRPr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17" name="Espaço Reservado para Conteúdo 16">
            <a:extLst>
              <a:ext uri="{FF2B5EF4-FFF2-40B4-BE49-F238E27FC236}">
                <a16:creationId xmlns:a16="http://schemas.microsoft.com/office/drawing/2014/main" id="{70EC372B-880B-D5C5-1EC1-C8E4283A3C5C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1210139" y="2344334"/>
            <a:ext cx="4498147" cy="3146829"/>
          </a:xfrm>
        </p:spPr>
        <p:txBody>
          <a:bodyPr/>
          <a:lstStyle>
            <a:lvl1pPr algn="ctr">
              <a:spcAft>
                <a:spcPts val="1200"/>
              </a:spcAft>
              <a:defRPr sz="1500"/>
            </a:lvl1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18" name="Espaço Reservado para Conteúdo 16">
            <a:extLst>
              <a:ext uri="{FF2B5EF4-FFF2-40B4-BE49-F238E27FC236}">
                <a16:creationId xmlns:a16="http://schemas.microsoft.com/office/drawing/2014/main" id="{DD68C171-7AB8-FCB5-8C97-0B242937AFC1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501326" y="2344334"/>
            <a:ext cx="4498147" cy="3146829"/>
          </a:xfrm>
        </p:spPr>
        <p:txBody>
          <a:bodyPr/>
          <a:lstStyle>
            <a:lvl1pPr algn="ctr">
              <a:spcAft>
                <a:spcPts val="1200"/>
              </a:spcAft>
              <a:defRPr sz="1500"/>
            </a:lvl1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</p:spTree>
    <p:extLst>
      <p:ext uri="{BB962C8B-B14F-4D97-AF65-F5344CB8AC3E}">
        <p14:creationId xmlns:p14="http://schemas.microsoft.com/office/powerpoint/2010/main" val="276469249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áfico 1">
            <a:extLst>
              <a:ext uri="{FF2B5EF4-FFF2-40B4-BE49-F238E27FC236}">
                <a16:creationId xmlns:a16="http://schemas.microsoft.com/office/drawing/2014/main" id="{88C2BB54-28D0-7B69-03DE-35D0AF2305C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945802" y="1131464"/>
            <a:ext cx="1918548" cy="1918548"/>
          </a:xfrm>
          <a:prstGeom prst="rect">
            <a:avLst/>
          </a:prstGeom>
        </p:spPr>
      </p:pic>
      <p:sp>
        <p:nvSpPr>
          <p:cNvPr id="3" name="Oval 5">
            <a:extLst>
              <a:ext uri="{FF2B5EF4-FFF2-40B4-BE49-F238E27FC236}">
                <a16:creationId xmlns:a16="http://schemas.microsoft.com/office/drawing/2014/main" id="{43A55EDC-8B05-1E90-D19A-7CF6933CD13C}"/>
              </a:ext>
            </a:extLst>
          </p:cNvPr>
          <p:cNvSpPr/>
          <p:nvPr userDrawn="1"/>
        </p:nvSpPr>
        <p:spPr>
          <a:xfrm>
            <a:off x="1982364" y="1365250"/>
            <a:ext cx="3629025" cy="362902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sz="1351"/>
          </a:p>
        </p:txBody>
      </p:sp>
      <p:sp>
        <p:nvSpPr>
          <p:cNvPr id="4" name="Oval 6">
            <a:extLst>
              <a:ext uri="{FF2B5EF4-FFF2-40B4-BE49-F238E27FC236}">
                <a16:creationId xmlns:a16="http://schemas.microsoft.com/office/drawing/2014/main" id="{32D6C9E4-DEA1-2E9C-FC67-6A4B3C700A88}"/>
              </a:ext>
            </a:extLst>
          </p:cNvPr>
          <p:cNvSpPr/>
          <p:nvPr userDrawn="1"/>
        </p:nvSpPr>
        <p:spPr>
          <a:xfrm>
            <a:off x="245178" y="3817803"/>
            <a:ext cx="2398847" cy="2398847"/>
          </a:xfrm>
          <a:prstGeom prst="ellipse">
            <a:avLst/>
          </a:prstGeom>
          <a:solidFill>
            <a:srgbClr val="F461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sz="1351"/>
          </a:p>
        </p:txBody>
      </p:sp>
      <p:sp>
        <p:nvSpPr>
          <p:cNvPr id="12" name="Retângulo: Cantos Arredondados 11">
            <a:extLst>
              <a:ext uri="{FF2B5EF4-FFF2-40B4-BE49-F238E27FC236}">
                <a16:creationId xmlns:a16="http://schemas.microsoft.com/office/drawing/2014/main" id="{41749C37-0E1C-DA14-42C3-889AC06FF72F}"/>
              </a:ext>
            </a:extLst>
          </p:cNvPr>
          <p:cNvSpPr/>
          <p:nvPr userDrawn="1"/>
        </p:nvSpPr>
        <p:spPr>
          <a:xfrm>
            <a:off x="699837" y="2090737"/>
            <a:ext cx="5496426" cy="3400425"/>
          </a:xfrm>
          <a:prstGeom prst="roundRect">
            <a:avLst>
              <a:gd name="adj" fmla="val 7715"/>
            </a:avLst>
          </a:prstGeom>
          <a:solidFill>
            <a:schemeClr val="bg1"/>
          </a:solidFill>
          <a:ln>
            <a:noFill/>
          </a:ln>
          <a:effectLst>
            <a:outerShdw blurRad="177800" dist="38100" dir="8100000" algn="tr" rotWithShape="0">
              <a:prstClr val="black">
                <a:alpha val="2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351"/>
          </a:p>
        </p:txBody>
      </p:sp>
      <p:sp>
        <p:nvSpPr>
          <p:cNvPr id="8" name="Espaço Reservado para Gráfico 7">
            <a:extLst>
              <a:ext uri="{FF2B5EF4-FFF2-40B4-BE49-F238E27FC236}">
                <a16:creationId xmlns:a16="http://schemas.microsoft.com/office/drawing/2014/main" id="{525D5F98-DDB4-B94B-66E6-7FC4458751DE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1109663" y="2438030"/>
            <a:ext cx="4676775" cy="2674937"/>
          </a:xfrm>
        </p:spPr>
        <p:txBody>
          <a:bodyPr/>
          <a:lstStyle/>
          <a:p>
            <a:endParaRPr lang="pt-BR"/>
          </a:p>
        </p:txBody>
      </p:sp>
      <p:sp>
        <p:nvSpPr>
          <p:cNvPr id="13" name="Título 12">
            <a:extLst>
              <a:ext uri="{FF2B5EF4-FFF2-40B4-BE49-F238E27FC236}">
                <a16:creationId xmlns:a16="http://schemas.microsoft.com/office/drawing/2014/main" id="{ADF69FDE-B23B-9656-AB0E-FA565B8CC7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6102" y="655275"/>
            <a:ext cx="7160897" cy="476190"/>
          </a:xfrm>
        </p:spPr>
        <p:txBody>
          <a:bodyPr>
            <a:noAutofit/>
          </a:bodyPr>
          <a:lstStyle>
            <a:lvl1pPr>
              <a:defRPr sz="3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18" name="Espaço Reservado para Texto 9">
            <a:extLst>
              <a:ext uri="{FF2B5EF4-FFF2-40B4-BE49-F238E27FC236}">
                <a16:creationId xmlns:a16="http://schemas.microsoft.com/office/drawing/2014/main" id="{2AC255A1-9E21-0591-850C-D24AC51F842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092951" y="1862138"/>
            <a:ext cx="4184650" cy="4132846"/>
          </a:xfrm>
        </p:spPr>
        <p:txBody>
          <a:bodyPr>
            <a:noAutofit/>
          </a:bodyPr>
          <a:lstStyle>
            <a:lvl1pPr marL="0" indent="0">
              <a:lnSpc>
                <a:spcPct val="110000"/>
              </a:lnSpc>
              <a:spcBef>
                <a:spcPts val="2000"/>
              </a:spcBef>
              <a:spcAft>
                <a:spcPts val="500"/>
              </a:spcAft>
              <a:buFont typeface="Arial" panose="020B0604020202020204" pitchFamily="34" charset="0"/>
              <a:buNone/>
              <a:defRPr sz="1700" b="1" u="none">
                <a:solidFill>
                  <a:schemeClr val="accent2"/>
                </a:solidFill>
              </a:defRPr>
            </a:lvl1pPr>
            <a:lvl2pPr marL="0" indent="0">
              <a:lnSpc>
                <a:spcPct val="130000"/>
              </a:lnSpc>
              <a:spcBef>
                <a:spcPts val="0"/>
              </a:spcBef>
              <a:spcAft>
                <a:spcPts val="500"/>
              </a:spcAft>
              <a:buNone/>
              <a:defRPr sz="1400">
                <a:solidFill>
                  <a:schemeClr val="tx2"/>
                </a:solidFill>
              </a:defRPr>
            </a:lvl2pPr>
            <a:lvl3pPr marL="792000" indent="-288000">
              <a:lnSpc>
                <a:spcPct val="110000"/>
              </a:lnSpc>
              <a:spcBef>
                <a:spcPts val="500"/>
              </a:spcBef>
              <a:spcAft>
                <a:spcPts val="0"/>
              </a:spcAft>
              <a:buFontTx/>
              <a:buBlip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</a:buBlip>
              <a:defRPr sz="1400">
                <a:solidFill>
                  <a:schemeClr val="tx2"/>
                </a:solidFill>
              </a:defRPr>
            </a:lvl3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550896980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lipse 10">
            <a:extLst>
              <a:ext uri="{FF2B5EF4-FFF2-40B4-BE49-F238E27FC236}">
                <a16:creationId xmlns:a16="http://schemas.microsoft.com/office/drawing/2014/main" id="{33D9D3EE-07B8-DDE0-D24C-617A25DF28E4}"/>
              </a:ext>
            </a:extLst>
          </p:cNvPr>
          <p:cNvSpPr>
            <a:spLocks noGrp="1" noRot="1" noChangeAspect="1" noMove="1" noResize="1" noEditPoints="1" noAdjustHandles="1" noChangeArrowheads="1" noChangeShapeType="1"/>
          </p:cNvSpPr>
          <p:nvPr userDrawn="1"/>
        </p:nvSpPr>
        <p:spPr>
          <a:xfrm>
            <a:off x="6178550" y="-394648"/>
            <a:ext cx="6228000" cy="62280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0" name="Espaço Reservado para Imagem 9">
            <a:extLst>
              <a:ext uri="{FF2B5EF4-FFF2-40B4-BE49-F238E27FC236}">
                <a16:creationId xmlns:a16="http://schemas.microsoft.com/office/drawing/2014/main" id="{FBBB0E18-BC75-0FC9-7E6F-94F735FD7A0A}"/>
              </a:ext>
            </a:extLst>
          </p:cNvPr>
          <p:cNvSpPr>
            <a:spLocks noGrp="1" noChangeAspect="1"/>
          </p:cNvSpPr>
          <p:nvPr>
            <p:ph type="pic" sz="quarter" idx="27"/>
          </p:nvPr>
        </p:nvSpPr>
        <p:spPr>
          <a:xfrm>
            <a:off x="6178335" y="-394649"/>
            <a:ext cx="6228231" cy="5890966"/>
          </a:xfrm>
          <a:custGeom>
            <a:avLst/>
            <a:gdLst>
              <a:gd name="connsiteX0" fmla="*/ 0 w 6228000"/>
              <a:gd name="connsiteY0" fmla="*/ 3114000 h 6228000"/>
              <a:gd name="connsiteX1" fmla="*/ 3114000 w 6228000"/>
              <a:gd name="connsiteY1" fmla="*/ 0 h 6228000"/>
              <a:gd name="connsiteX2" fmla="*/ 6228000 w 6228000"/>
              <a:gd name="connsiteY2" fmla="*/ 3114000 h 6228000"/>
              <a:gd name="connsiteX3" fmla="*/ 3114000 w 6228000"/>
              <a:gd name="connsiteY3" fmla="*/ 6228000 h 6228000"/>
              <a:gd name="connsiteX4" fmla="*/ 0 w 6228000"/>
              <a:gd name="connsiteY4" fmla="*/ 3114000 h 6228000"/>
              <a:gd name="connsiteX0" fmla="*/ 335458 w 6563458"/>
              <a:gd name="connsiteY0" fmla="*/ 3114000 h 6235728"/>
              <a:gd name="connsiteX1" fmla="*/ 3449458 w 6563458"/>
              <a:gd name="connsiteY1" fmla="*/ 0 h 6235728"/>
              <a:gd name="connsiteX2" fmla="*/ 6563458 w 6563458"/>
              <a:gd name="connsiteY2" fmla="*/ 3114000 h 6235728"/>
              <a:gd name="connsiteX3" fmla="*/ 3449458 w 6563458"/>
              <a:gd name="connsiteY3" fmla="*/ 6228000 h 6235728"/>
              <a:gd name="connsiteX4" fmla="*/ 436684 w 6563458"/>
              <a:gd name="connsiteY4" fmla="*/ 3971566 h 6235728"/>
              <a:gd name="connsiteX5" fmla="*/ 335458 w 6563458"/>
              <a:gd name="connsiteY5" fmla="*/ 3114000 h 6235728"/>
              <a:gd name="connsiteX0" fmla="*/ 198652 w 6426652"/>
              <a:gd name="connsiteY0" fmla="*/ 3114000 h 6235728"/>
              <a:gd name="connsiteX1" fmla="*/ 3312652 w 6426652"/>
              <a:gd name="connsiteY1" fmla="*/ 0 h 6235728"/>
              <a:gd name="connsiteX2" fmla="*/ 6426652 w 6426652"/>
              <a:gd name="connsiteY2" fmla="*/ 3114000 h 6235728"/>
              <a:gd name="connsiteX3" fmla="*/ 3312652 w 6426652"/>
              <a:gd name="connsiteY3" fmla="*/ 6228000 h 6235728"/>
              <a:gd name="connsiteX4" fmla="*/ 299878 w 6426652"/>
              <a:gd name="connsiteY4" fmla="*/ 3971566 h 6235728"/>
              <a:gd name="connsiteX5" fmla="*/ 198652 w 6426652"/>
              <a:gd name="connsiteY5" fmla="*/ 3114000 h 6235728"/>
              <a:gd name="connsiteX0" fmla="*/ 0 w 6228000"/>
              <a:gd name="connsiteY0" fmla="*/ 3114000 h 6235728"/>
              <a:gd name="connsiteX1" fmla="*/ 3114000 w 6228000"/>
              <a:gd name="connsiteY1" fmla="*/ 0 h 6235728"/>
              <a:gd name="connsiteX2" fmla="*/ 6228000 w 6228000"/>
              <a:gd name="connsiteY2" fmla="*/ 3114000 h 6235728"/>
              <a:gd name="connsiteX3" fmla="*/ 3114000 w 6228000"/>
              <a:gd name="connsiteY3" fmla="*/ 6228000 h 6235728"/>
              <a:gd name="connsiteX4" fmla="*/ 101226 w 6228000"/>
              <a:gd name="connsiteY4" fmla="*/ 3971566 h 6235728"/>
              <a:gd name="connsiteX5" fmla="*/ 0 w 6228000"/>
              <a:gd name="connsiteY5" fmla="*/ 3114000 h 6235728"/>
              <a:gd name="connsiteX0" fmla="*/ 3161 w 6231161"/>
              <a:gd name="connsiteY0" fmla="*/ 3114000 h 6235728"/>
              <a:gd name="connsiteX1" fmla="*/ 3117161 w 6231161"/>
              <a:gd name="connsiteY1" fmla="*/ 0 h 6235728"/>
              <a:gd name="connsiteX2" fmla="*/ 6231161 w 6231161"/>
              <a:gd name="connsiteY2" fmla="*/ 3114000 h 6235728"/>
              <a:gd name="connsiteX3" fmla="*/ 3117161 w 6231161"/>
              <a:gd name="connsiteY3" fmla="*/ 6228000 h 6235728"/>
              <a:gd name="connsiteX4" fmla="*/ 104387 w 6231161"/>
              <a:gd name="connsiteY4" fmla="*/ 3971566 h 6235728"/>
              <a:gd name="connsiteX5" fmla="*/ 3161 w 6231161"/>
              <a:gd name="connsiteY5" fmla="*/ 3114000 h 6235728"/>
              <a:gd name="connsiteX0" fmla="*/ 3161 w 6231161"/>
              <a:gd name="connsiteY0" fmla="*/ 3114000 h 6234127"/>
              <a:gd name="connsiteX1" fmla="*/ 3117161 w 6231161"/>
              <a:gd name="connsiteY1" fmla="*/ 0 h 6234127"/>
              <a:gd name="connsiteX2" fmla="*/ 6231161 w 6231161"/>
              <a:gd name="connsiteY2" fmla="*/ 3114000 h 6234127"/>
              <a:gd name="connsiteX3" fmla="*/ 3117161 w 6231161"/>
              <a:gd name="connsiteY3" fmla="*/ 6228000 h 6234127"/>
              <a:gd name="connsiteX4" fmla="*/ 104387 w 6231161"/>
              <a:gd name="connsiteY4" fmla="*/ 3971566 h 6234127"/>
              <a:gd name="connsiteX5" fmla="*/ 3161 w 6231161"/>
              <a:gd name="connsiteY5" fmla="*/ 3114000 h 6234127"/>
              <a:gd name="connsiteX0" fmla="*/ 232739 w 6460739"/>
              <a:gd name="connsiteY0" fmla="*/ 3114000 h 4134120"/>
              <a:gd name="connsiteX1" fmla="*/ 3346739 w 6460739"/>
              <a:gd name="connsiteY1" fmla="*/ 0 h 4134120"/>
              <a:gd name="connsiteX2" fmla="*/ 6460739 w 6460739"/>
              <a:gd name="connsiteY2" fmla="*/ 3114000 h 4134120"/>
              <a:gd name="connsiteX3" fmla="*/ 4624210 w 6460739"/>
              <a:gd name="connsiteY3" fmla="*/ 3968895 h 4134120"/>
              <a:gd name="connsiteX4" fmla="*/ 333965 w 6460739"/>
              <a:gd name="connsiteY4" fmla="*/ 3971566 h 4134120"/>
              <a:gd name="connsiteX5" fmla="*/ 232739 w 6460739"/>
              <a:gd name="connsiteY5" fmla="*/ 3114000 h 4134120"/>
              <a:gd name="connsiteX0" fmla="*/ 232739 w 6533426"/>
              <a:gd name="connsiteY0" fmla="*/ 3114000 h 4101226"/>
              <a:gd name="connsiteX1" fmla="*/ 3346739 w 6533426"/>
              <a:gd name="connsiteY1" fmla="*/ 0 h 4101226"/>
              <a:gd name="connsiteX2" fmla="*/ 6460739 w 6533426"/>
              <a:gd name="connsiteY2" fmla="*/ 3114000 h 4101226"/>
              <a:gd name="connsiteX3" fmla="*/ 5470743 w 6533426"/>
              <a:gd name="connsiteY3" fmla="*/ 4052249 h 4101226"/>
              <a:gd name="connsiteX4" fmla="*/ 4624210 w 6533426"/>
              <a:gd name="connsiteY4" fmla="*/ 3968895 h 4101226"/>
              <a:gd name="connsiteX5" fmla="*/ 333965 w 6533426"/>
              <a:gd name="connsiteY5" fmla="*/ 3971566 h 4101226"/>
              <a:gd name="connsiteX6" fmla="*/ 232739 w 6533426"/>
              <a:gd name="connsiteY6" fmla="*/ 3114000 h 4101226"/>
              <a:gd name="connsiteX0" fmla="*/ 232739 w 6507150"/>
              <a:gd name="connsiteY0" fmla="*/ 3114000 h 5929534"/>
              <a:gd name="connsiteX1" fmla="*/ 3346739 w 6507150"/>
              <a:gd name="connsiteY1" fmla="*/ 0 h 5929534"/>
              <a:gd name="connsiteX2" fmla="*/ 6460739 w 6507150"/>
              <a:gd name="connsiteY2" fmla="*/ 3114000 h 5929534"/>
              <a:gd name="connsiteX3" fmla="*/ 4731155 w 6507150"/>
              <a:gd name="connsiteY3" fmla="*/ 5921390 h 5929534"/>
              <a:gd name="connsiteX4" fmla="*/ 4624210 w 6507150"/>
              <a:gd name="connsiteY4" fmla="*/ 3968895 h 5929534"/>
              <a:gd name="connsiteX5" fmla="*/ 333965 w 6507150"/>
              <a:gd name="connsiteY5" fmla="*/ 3971566 h 5929534"/>
              <a:gd name="connsiteX6" fmla="*/ 232739 w 6507150"/>
              <a:gd name="connsiteY6" fmla="*/ 3114000 h 5929534"/>
              <a:gd name="connsiteX0" fmla="*/ 232739 w 6526554"/>
              <a:gd name="connsiteY0" fmla="*/ 3114000 h 5929534"/>
              <a:gd name="connsiteX1" fmla="*/ 3346739 w 6526554"/>
              <a:gd name="connsiteY1" fmla="*/ 0 h 5929534"/>
              <a:gd name="connsiteX2" fmla="*/ 6460739 w 6526554"/>
              <a:gd name="connsiteY2" fmla="*/ 3114000 h 5929534"/>
              <a:gd name="connsiteX3" fmla="*/ 4731155 w 6526554"/>
              <a:gd name="connsiteY3" fmla="*/ 5921390 h 5929534"/>
              <a:gd name="connsiteX4" fmla="*/ 4624210 w 6526554"/>
              <a:gd name="connsiteY4" fmla="*/ 3968895 h 5929534"/>
              <a:gd name="connsiteX5" fmla="*/ 333965 w 6526554"/>
              <a:gd name="connsiteY5" fmla="*/ 3971566 h 5929534"/>
              <a:gd name="connsiteX6" fmla="*/ 232739 w 6526554"/>
              <a:gd name="connsiteY6" fmla="*/ 3114000 h 5929534"/>
              <a:gd name="connsiteX0" fmla="*/ 232739 w 6526554"/>
              <a:gd name="connsiteY0" fmla="*/ 3114000 h 5929534"/>
              <a:gd name="connsiteX1" fmla="*/ 3346739 w 6526554"/>
              <a:gd name="connsiteY1" fmla="*/ 0 h 5929534"/>
              <a:gd name="connsiteX2" fmla="*/ 6460739 w 6526554"/>
              <a:gd name="connsiteY2" fmla="*/ 3114000 h 5929534"/>
              <a:gd name="connsiteX3" fmla="*/ 4731155 w 6526554"/>
              <a:gd name="connsiteY3" fmla="*/ 5921390 h 5929534"/>
              <a:gd name="connsiteX4" fmla="*/ 4624210 w 6526554"/>
              <a:gd name="connsiteY4" fmla="*/ 3968895 h 5929534"/>
              <a:gd name="connsiteX5" fmla="*/ 333965 w 6526554"/>
              <a:gd name="connsiteY5" fmla="*/ 3971566 h 5929534"/>
              <a:gd name="connsiteX6" fmla="*/ 232739 w 6526554"/>
              <a:gd name="connsiteY6" fmla="*/ 3114000 h 5929534"/>
              <a:gd name="connsiteX0" fmla="*/ 232739 w 6462699"/>
              <a:gd name="connsiteY0" fmla="*/ 3114000 h 5929534"/>
              <a:gd name="connsiteX1" fmla="*/ 3346739 w 6462699"/>
              <a:gd name="connsiteY1" fmla="*/ 0 h 5929534"/>
              <a:gd name="connsiteX2" fmla="*/ 6460739 w 6462699"/>
              <a:gd name="connsiteY2" fmla="*/ 3114000 h 5929534"/>
              <a:gd name="connsiteX3" fmla="*/ 4731155 w 6462699"/>
              <a:gd name="connsiteY3" fmla="*/ 5921390 h 5929534"/>
              <a:gd name="connsiteX4" fmla="*/ 4624210 w 6462699"/>
              <a:gd name="connsiteY4" fmla="*/ 3968895 h 5929534"/>
              <a:gd name="connsiteX5" fmla="*/ 333965 w 6462699"/>
              <a:gd name="connsiteY5" fmla="*/ 3971566 h 5929534"/>
              <a:gd name="connsiteX6" fmla="*/ 232739 w 6462699"/>
              <a:gd name="connsiteY6" fmla="*/ 3114000 h 5929534"/>
              <a:gd name="connsiteX0" fmla="*/ 232739 w 6462699"/>
              <a:gd name="connsiteY0" fmla="*/ 3114000 h 5929534"/>
              <a:gd name="connsiteX1" fmla="*/ 3346739 w 6462699"/>
              <a:gd name="connsiteY1" fmla="*/ 0 h 5929534"/>
              <a:gd name="connsiteX2" fmla="*/ 6460739 w 6462699"/>
              <a:gd name="connsiteY2" fmla="*/ 3114000 h 5929534"/>
              <a:gd name="connsiteX3" fmla="*/ 4731155 w 6462699"/>
              <a:gd name="connsiteY3" fmla="*/ 5921390 h 5929534"/>
              <a:gd name="connsiteX4" fmla="*/ 4624210 w 6462699"/>
              <a:gd name="connsiteY4" fmla="*/ 3968895 h 5929534"/>
              <a:gd name="connsiteX5" fmla="*/ 333965 w 6462699"/>
              <a:gd name="connsiteY5" fmla="*/ 3971566 h 5929534"/>
              <a:gd name="connsiteX6" fmla="*/ 232739 w 6462699"/>
              <a:gd name="connsiteY6" fmla="*/ 3114000 h 5929534"/>
              <a:gd name="connsiteX0" fmla="*/ 232739 w 6462699"/>
              <a:gd name="connsiteY0" fmla="*/ 3114000 h 5929534"/>
              <a:gd name="connsiteX1" fmla="*/ 3346739 w 6462699"/>
              <a:gd name="connsiteY1" fmla="*/ 0 h 5929534"/>
              <a:gd name="connsiteX2" fmla="*/ 6460739 w 6462699"/>
              <a:gd name="connsiteY2" fmla="*/ 3114000 h 5929534"/>
              <a:gd name="connsiteX3" fmla="*/ 4731155 w 6462699"/>
              <a:gd name="connsiteY3" fmla="*/ 5921390 h 5929534"/>
              <a:gd name="connsiteX4" fmla="*/ 4624210 w 6462699"/>
              <a:gd name="connsiteY4" fmla="*/ 3968895 h 5929534"/>
              <a:gd name="connsiteX5" fmla="*/ 333965 w 6462699"/>
              <a:gd name="connsiteY5" fmla="*/ 3971566 h 5929534"/>
              <a:gd name="connsiteX6" fmla="*/ 232739 w 6462699"/>
              <a:gd name="connsiteY6" fmla="*/ 3114000 h 5929534"/>
              <a:gd name="connsiteX0" fmla="*/ 232739 w 6462699"/>
              <a:gd name="connsiteY0" fmla="*/ 3114000 h 5929534"/>
              <a:gd name="connsiteX1" fmla="*/ 3346739 w 6462699"/>
              <a:gd name="connsiteY1" fmla="*/ 0 h 5929534"/>
              <a:gd name="connsiteX2" fmla="*/ 6460739 w 6462699"/>
              <a:gd name="connsiteY2" fmla="*/ 3114000 h 5929534"/>
              <a:gd name="connsiteX3" fmla="*/ 4731155 w 6462699"/>
              <a:gd name="connsiteY3" fmla="*/ 5921390 h 5929534"/>
              <a:gd name="connsiteX4" fmla="*/ 4624210 w 6462699"/>
              <a:gd name="connsiteY4" fmla="*/ 3968895 h 5929534"/>
              <a:gd name="connsiteX5" fmla="*/ 333965 w 6462699"/>
              <a:gd name="connsiteY5" fmla="*/ 3971566 h 5929534"/>
              <a:gd name="connsiteX6" fmla="*/ 232739 w 6462699"/>
              <a:gd name="connsiteY6" fmla="*/ 3114000 h 5929534"/>
              <a:gd name="connsiteX0" fmla="*/ 3162 w 6233122"/>
              <a:gd name="connsiteY0" fmla="*/ 3114000 h 5929534"/>
              <a:gd name="connsiteX1" fmla="*/ 3117162 w 6233122"/>
              <a:gd name="connsiteY1" fmla="*/ 0 h 5929534"/>
              <a:gd name="connsiteX2" fmla="*/ 6231162 w 6233122"/>
              <a:gd name="connsiteY2" fmla="*/ 3114000 h 5929534"/>
              <a:gd name="connsiteX3" fmla="*/ 4501578 w 6233122"/>
              <a:gd name="connsiteY3" fmla="*/ 5921390 h 5929534"/>
              <a:gd name="connsiteX4" fmla="*/ 4394633 w 6233122"/>
              <a:gd name="connsiteY4" fmla="*/ 3968895 h 5929534"/>
              <a:gd name="connsiteX5" fmla="*/ 104388 w 6233122"/>
              <a:gd name="connsiteY5" fmla="*/ 3971566 h 5929534"/>
              <a:gd name="connsiteX6" fmla="*/ 3162 w 6233122"/>
              <a:gd name="connsiteY6" fmla="*/ 3114000 h 5929534"/>
              <a:gd name="connsiteX0" fmla="*/ 5446 w 6235406"/>
              <a:gd name="connsiteY0" fmla="*/ 3114000 h 5929534"/>
              <a:gd name="connsiteX1" fmla="*/ 3119446 w 6235406"/>
              <a:gd name="connsiteY1" fmla="*/ 0 h 5929534"/>
              <a:gd name="connsiteX2" fmla="*/ 6233446 w 6235406"/>
              <a:gd name="connsiteY2" fmla="*/ 3114000 h 5929534"/>
              <a:gd name="connsiteX3" fmla="*/ 4503862 w 6235406"/>
              <a:gd name="connsiteY3" fmla="*/ 5921390 h 5929534"/>
              <a:gd name="connsiteX4" fmla="*/ 4396917 w 6235406"/>
              <a:gd name="connsiteY4" fmla="*/ 3968895 h 5929534"/>
              <a:gd name="connsiteX5" fmla="*/ 106672 w 6235406"/>
              <a:gd name="connsiteY5" fmla="*/ 3971566 h 5929534"/>
              <a:gd name="connsiteX6" fmla="*/ 5446 w 6235406"/>
              <a:gd name="connsiteY6" fmla="*/ 3114000 h 5929534"/>
              <a:gd name="connsiteX0" fmla="*/ 5446 w 6235406"/>
              <a:gd name="connsiteY0" fmla="*/ 3114000 h 5929534"/>
              <a:gd name="connsiteX1" fmla="*/ 3119446 w 6235406"/>
              <a:gd name="connsiteY1" fmla="*/ 0 h 5929534"/>
              <a:gd name="connsiteX2" fmla="*/ 6233446 w 6235406"/>
              <a:gd name="connsiteY2" fmla="*/ 3114000 h 5929534"/>
              <a:gd name="connsiteX3" fmla="*/ 4503862 w 6235406"/>
              <a:gd name="connsiteY3" fmla="*/ 5921390 h 5929534"/>
              <a:gd name="connsiteX4" fmla="*/ 4396917 w 6235406"/>
              <a:gd name="connsiteY4" fmla="*/ 3968895 h 5929534"/>
              <a:gd name="connsiteX5" fmla="*/ 106672 w 6235406"/>
              <a:gd name="connsiteY5" fmla="*/ 3971566 h 5929534"/>
              <a:gd name="connsiteX6" fmla="*/ 5446 w 6235406"/>
              <a:gd name="connsiteY6" fmla="*/ 3114000 h 5929534"/>
              <a:gd name="connsiteX0" fmla="*/ 5446 w 6235406"/>
              <a:gd name="connsiteY0" fmla="*/ 3114000 h 5929534"/>
              <a:gd name="connsiteX1" fmla="*/ 3119446 w 6235406"/>
              <a:gd name="connsiteY1" fmla="*/ 0 h 5929534"/>
              <a:gd name="connsiteX2" fmla="*/ 6233446 w 6235406"/>
              <a:gd name="connsiteY2" fmla="*/ 3114000 h 5929534"/>
              <a:gd name="connsiteX3" fmla="*/ 4503862 w 6235406"/>
              <a:gd name="connsiteY3" fmla="*/ 5921390 h 5929534"/>
              <a:gd name="connsiteX4" fmla="*/ 4396917 w 6235406"/>
              <a:gd name="connsiteY4" fmla="*/ 3968895 h 5929534"/>
              <a:gd name="connsiteX5" fmla="*/ 106672 w 6235406"/>
              <a:gd name="connsiteY5" fmla="*/ 3971566 h 5929534"/>
              <a:gd name="connsiteX6" fmla="*/ 5446 w 6235406"/>
              <a:gd name="connsiteY6" fmla="*/ 3114000 h 5929534"/>
              <a:gd name="connsiteX0" fmla="*/ 5446 w 6235406"/>
              <a:gd name="connsiteY0" fmla="*/ 3114000 h 5929534"/>
              <a:gd name="connsiteX1" fmla="*/ 3119446 w 6235406"/>
              <a:gd name="connsiteY1" fmla="*/ 0 h 5929534"/>
              <a:gd name="connsiteX2" fmla="*/ 6233446 w 6235406"/>
              <a:gd name="connsiteY2" fmla="*/ 3114000 h 5929534"/>
              <a:gd name="connsiteX3" fmla="*/ 4503862 w 6235406"/>
              <a:gd name="connsiteY3" fmla="*/ 5921390 h 5929534"/>
              <a:gd name="connsiteX4" fmla="*/ 4396917 w 6235406"/>
              <a:gd name="connsiteY4" fmla="*/ 3968895 h 5929534"/>
              <a:gd name="connsiteX5" fmla="*/ 106672 w 6235406"/>
              <a:gd name="connsiteY5" fmla="*/ 3971566 h 5929534"/>
              <a:gd name="connsiteX6" fmla="*/ 5446 w 6235406"/>
              <a:gd name="connsiteY6" fmla="*/ 3114000 h 5929534"/>
              <a:gd name="connsiteX0" fmla="*/ 5446 w 6235406"/>
              <a:gd name="connsiteY0" fmla="*/ 3114000 h 5929534"/>
              <a:gd name="connsiteX1" fmla="*/ 3119446 w 6235406"/>
              <a:gd name="connsiteY1" fmla="*/ 0 h 5929534"/>
              <a:gd name="connsiteX2" fmla="*/ 6233446 w 6235406"/>
              <a:gd name="connsiteY2" fmla="*/ 3114000 h 5929534"/>
              <a:gd name="connsiteX3" fmla="*/ 4503862 w 6235406"/>
              <a:gd name="connsiteY3" fmla="*/ 5921390 h 5929534"/>
              <a:gd name="connsiteX4" fmla="*/ 4396917 w 6235406"/>
              <a:gd name="connsiteY4" fmla="*/ 3968895 h 5929534"/>
              <a:gd name="connsiteX5" fmla="*/ 106672 w 6235406"/>
              <a:gd name="connsiteY5" fmla="*/ 3971566 h 5929534"/>
              <a:gd name="connsiteX6" fmla="*/ 5446 w 6235406"/>
              <a:gd name="connsiteY6" fmla="*/ 3114000 h 5929534"/>
              <a:gd name="connsiteX0" fmla="*/ 5446 w 6235406"/>
              <a:gd name="connsiteY0" fmla="*/ 3114000 h 5929650"/>
              <a:gd name="connsiteX1" fmla="*/ 3119446 w 6235406"/>
              <a:gd name="connsiteY1" fmla="*/ 0 h 5929650"/>
              <a:gd name="connsiteX2" fmla="*/ 6233446 w 6235406"/>
              <a:gd name="connsiteY2" fmla="*/ 3114000 h 5929650"/>
              <a:gd name="connsiteX3" fmla="*/ 4503862 w 6235406"/>
              <a:gd name="connsiteY3" fmla="*/ 5921390 h 5929650"/>
              <a:gd name="connsiteX4" fmla="*/ 4396917 w 6235406"/>
              <a:gd name="connsiteY4" fmla="*/ 3968895 h 5929650"/>
              <a:gd name="connsiteX5" fmla="*/ 106672 w 6235406"/>
              <a:gd name="connsiteY5" fmla="*/ 3971566 h 5929650"/>
              <a:gd name="connsiteX6" fmla="*/ 5446 w 6235406"/>
              <a:gd name="connsiteY6" fmla="*/ 3114000 h 5929650"/>
              <a:gd name="connsiteX0" fmla="*/ 5446 w 6235406"/>
              <a:gd name="connsiteY0" fmla="*/ 3114000 h 5929650"/>
              <a:gd name="connsiteX1" fmla="*/ 3119446 w 6235406"/>
              <a:gd name="connsiteY1" fmla="*/ 0 h 5929650"/>
              <a:gd name="connsiteX2" fmla="*/ 6233446 w 6235406"/>
              <a:gd name="connsiteY2" fmla="*/ 3114000 h 5929650"/>
              <a:gd name="connsiteX3" fmla="*/ 4503862 w 6235406"/>
              <a:gd name="connsiteY3" fmla="*/ 5921390 h 5929650"/>
              <a:gd name="connsiteX4" fmla="*/ 4396917 w 6235406"/>
              <a:gd name="connsiteY4" fmla="*/ 3968895 h 5929650"/>
              <a:gd name="connsiteX5" fmla="*/ 106672 w 6235406"/>
              <a:gd name="connsiteY5" fmla="*/ 3971566 h 5929650"/>
              <a:gd name="connsiteX6" fmla="*/ 5446 w 6235406"/>
              <a:gd name="connsiteY6" fmla="*/ 3114000 h 5929650"/>
              <a:gd name="connsiteX0" fmla="*/ 5446 w 6235406"/>
              <a:gd name="connsiteY0" fmla="*/ 3114000 h 5929650"/>
              <a:gd name="connsiteX1" fmla="*/ 3119446 w 6235406"/>
              <a:gd name="connsiteY1" fmla="*/ 0 h 5929650"/>
              <a:gd name="connsiteX2" fmla="*/ 6233446 w 6235406"/>
              <a:gd name="connsiteY2" fmla="*/ 3114000 h 5929650"/>
              <a:gd name="connsiteX3" fmla="*/ 4503862 w 6235406"/>
              <a:gd name="connsiteY3" fmla="*/ 5921390 h 5929650"/>
              <a:gd name="connsiteX4" fmla="*/ 4396917 w 6235406"/>
              <a:gd name="connsiteY4" fmla="*/ 3968895 h 5929650"/>
              <a:gd name="connsiteX5" fmla="*/ 106672 w 6235406"/>
              <a:gd name="connsiteY5" fmla="*/ 3971566 h 5929650"/>
              <a:gd name="connsiteX6" fmla="*/ 5446 w 6235406"/>
              <a:gd name="connsiteY6" fmla="*/ 3114000 h 5929650"/>
              <a:gd name="connsiteX0" fmla="*/ 5446 w 6235406"/>
              <a:gd name="connsiteY0" fmla="*/ 3114000 h 5921390"/>
              <a:gd name="connsiteX1" fmla="*/ 3119446 w 6235406"/>
              <a:gd name="connsiteY1" fmla="*/ 0 h 5921390"/>
              <a:gd name="connsiteX2" fmla="*/ 6233446 w 6235406"/>
              <a:gd name="connsiteY2" fmla="*/ 3114000 h 5921390"/>
              <a:gd name="connsiteX3" fmla="*/ 4503862 w 6235406"/>
              <a:gd name="connsiteY3" fmla="*/ 5921390 h 5921390"/>
              <a:gd name="connsiteX4" fmla="*/ 4396917 w 6235406"/>
              <a:gd name="connsiteY4" fmla="*/ 3968895 h 5921390"/>
              <a:gd name="connsiteX5" fmla="*/ 106672 w 6235406"/>
              <a:gd name="connsiteY5" fmla="*/ 3971566 h 5921390"/>
              <a:gd name="connsiteX6" fmla="*/ 5446 w 6235406"/>
              <a:gd name="connsiteY6" fmla="*/ 3114000 h 5921390"/>
              <a:gd name="connsiteX0" fmla="*/ 5446 w 6235406"/>
              <a:gd name="connsiteY0" fmla="*/ 3114000 h 5921390"/>
              <a:gd name="connsiteX1" fmla="*/ 3119446 w 6235406"/>
              <a:gd name="connsiteY1" fmla="*/ 0 h 5921390"/>
              <a:gd name="connsiteX2" fmla="*/ 6233446 w 6235406"/>
              <a:gd name="connsiteY2" fmla="*/ 3114000 h 5921390"/>
              <a:gd name="connsiteX3" fmla="*/ 4503862 w 6235406"/>
              <a:gd name="connsiteY3" fmla="*/ 5921390 h 5921390"/>
              <a:gd name="connsiteX4" fmla="*/ 4396917 w 6235406"/>
              <a:gd name="connsiteY4" fmla="*/ 3968895 h 5921390"/>
              <a:gd name="connsiteX5" fmla="*/ 106672 w 6235406"/>
              <a:gd name="connsiteY5" fmla="*/ 3971566 h 5921390"/>
              <a:gd name="connsiteX6" fmla="*/ 5446 w 6235406"/>
              <a:gd name="connsiteY6" fmla="*/ 3114000 h 5921390"/>
              <a:gd name="connsiteX0" fmla="*/ 5446 w 6235406"/>
              <a:gd name="connsiteY0" fmla="*/ 3114000 h 5921390"/>
              <a:gd name="connsiteX1" fmla="*/ 3119446 w 6235406"/>
              <a:gd name="connsiteY1" fmla="*/ 0 h 5921390"/>
              <a:gd name="connsiteX2" fmla="*/ 6233446 w 6235406"/>
              <a:gd name="connsiteY2" fmla="*/ 3114000 h 5921390"/>
              <a:gd name="connsiteX3" fmla="*/ 4503862 w 6235406"/>
              <a:gd name="connsiteY3" fmla="*/ 5921390 h 5921390"/>
              <a:gd name="connsiteX4" fmla="*/ 4396917 w 6235406"/>
              <a:gd name="connsiteY4" fmla="*/ 3968895 h 5921390"/>
              <a:gd name="connsiteX5" fmla="*/ 106672 w 6235406"/>
              <a:gd name="connsiteY5" fmla="*/ 3971566 h 5921390"/>
              <a:gd name="connsiteX6" fmla="*/ 5446 w 6235406"/>
              <a:gd name="connsiteY6" fmla="*/ 3114000 h 5921390"/>
              <a:gd name="connsiteX0" fmla="*/ 5446 w 6235406"/>
              <a:gd name="connsiteY0" fmla="*/ 3114000 h 5938745"/>
              <a:gd name="connsiteX1" fmla="*/ 3119446 w 6235406"/>
              <a:gd name="connsiteY1" fmla="*/ 0 h 5938745"/>
              <a:gd name="connsiteX2" fmla="*/ 6233446 w 6235406"/>
              <a:gd name="connsiteY2" fmla="*/ 3114000 h 5938745"/>
              <a:gd name="connsiteX3" fmla="*/ 4503862 w 6235406"/>
              <a:gd name="connsiteY3" fmla="*/ 5921390 h 5938745"/>
              <a:gd name="connsiteX4" fmla="*/ 4455038 w 6235406"/>
              <a:gd name="connsiteY4" fmla="*/ 4284366 h 5938745"/>
              <a:gd name="connsiteX5" fmla="*/ 4396917 w 6235406"/>
              <a:gd name="connsiteY5" fmla="*/ 3968895 h 5938745"/>
              <a:gd name="connsiteX6" fmla="*/ 106672 w 6235406"/>
              <a:gd name="connsiteY6" fmla="*/ 3971566 h 5938745"/>
              <a:gd name="connsiteX7" fmla="*/ 5446 w 6235406"/>
              <a:gd name="connsiteY7" fmla="*/ 3114000 h 5938745"/>
              <a:gd name="connsiteX0" fmla="*/ 5446 w 6235406"/>
              <a:gd name="connsiteY0" fmla="*/ 3114000 h 5938745"/>
              <a:gd name="connsiteX1" fmla="*/ 3119446 w 6235406"/>
              <a:gd name="connsiteY1" fmla="*/ 0 h 5938745"/>
              <a:gd name="connsiteX2" fmla="*/ 6233446 w 6235406"/>
              <a:gd name="connsiteY2" fmla="*/ 3114000 h 5938745"/>
              <a:gd name="connsiteX3" fmla="*/ 4503862 w 6235406"/>
              <a:gd name="connsiteY3" fmla="*/ 5921390 h 5938745"/>
              <a:gd name="connsiteX4" fmla="*/ 4455038 w 6235406"/>
              <a:gd name="connsiteY4" fmla="*/ 4284366 h 5938745"/>
              <a:gd name="connsiteX5" fmla="*/ 4396917 w 6235406"/>
              <a:gd name="connsiteY5" fmla="*/ 3968895 h 5938745"/>
              <a:gd name="connsiteX6" fmla="*/ 106672 w 6235406"/>
              <a:gd name="connsiteY6" fmla="*/ 3971566 h 5938745"/>
              <a:gd name="connsiteX7" fmla="*/ 5446 w 6235406"/>
              <a:gd name="connsiteY7" fmla="*/ 3114000 h 5938745"/>
              <a:gd name="connsiteX0" fmla="*/ 5446 w 6235406"/>
              <a:gd name="connsiteY0" fmla="*/ 3114000 h 5938745"/>
              <a:gd name="connsiteX1" fmla="*/ 3119446 w 6235406"/>
              <a:gd name="connsiteY1" fmla="*/ 0 h 5938745"/>
              <a:gd name="connsiteX2" fmla="*/ 6233446 w 6235406"/>
              <a:gd name="connsiteY2" fmla="*/ 3114000 h 5938745"/>
              <a:gd name="connsiteX3" fmla="*/ 4503862 w 6235406"/>
              <a:gd name="connsiteY3" fmla="*/ 5921390 h 5938745"/>
              <a:gd name="connsiteX4" fmla="*/ 4483173 w 6235406"/>
              <a:gd name="connsiteY4" fmla="*/ 4284366 h 5938745"/>
              <a:gd name="connsiteX5" fmla="*/ 4396917 w 6235406"/>
              <a:gd name="connsiteY5" fmla="*/ 3968895 h 5938745"/>
              <a:gd name="connsiteX6" fmla="*/ 106672 w 6235406"/>
              <a:gd name="connsiteY6" fmla="*/ 3971566 h 5938745"/>
              <a:gd name="connsiteX7" fmla="*/ 5446 w 6235406"/>
              <a:gd name="connsiteY7" fmla="*/ 3114000 h 5938745"/>
              <a:gd name="connsiteX0" fmla="*/ 5446 w 6235406"/>
              <a:gd name="connsiteY0" fmla="*/ 3114000 h 5938818"/>
              <a:gd name="connsiteX1" fmla="*/ 3119446 w 6235406"/>
              <a:gd name="connsiteY1" fmla="*/ 0 h 5938818"/>
              <a:gd name="connsiteX2" fmla="*/ 6233446 w 6235406"/>
              <a:gd name="connsiteY2" fmla="*/ 3114000 h 5938818"/>
              <a:gd name="connsiteX3" fmla="*/ 4503862 w 6235406"/>
              <a:gd name="connsiteY3" fmla="*/ 5921390 h 5938818"/>
              <a:gd name="connsiteX4" fmla="*/ 4483173 w 6235406"/>
              <a:gd name="connsiteY4" fmla="*/ 4284366 h 5938818"/>
              <a:gd name="connsiteX5" fmla="*/ 4396917 w 6235406"/>
              <a:gd name="connsiteY5" fmla="*/ 3968895 h 5938818"/>
              <a:gd name="connsiteX6" fmla="*/ 106672 w 6235406"/>
              <a:gd name="connsiteY6" fmla="*/ 3971566 h 5938818"/>
              <a:gd name="connsiteX7" fmla="*/ 5446 w 6235406"/>
              <a:gd name="connsiteY7" fmla="*/ 3114000 h 5938818"/>
              <a:gd name="connsiteX0" fmla="*/ 5446 w 6235406"/>
              <a:gd name="connsiteY0" fmla="*/ 3114000 h 5938818"/>
              <a:gd name="connsiteX1" fmla="*/ 3119446 w 6235406"/>
              <a:gd name="connsiteY1" fmla="*/ 0 h 5938818"/>
              <a:gd name="connsiteX2" fmla="*/ 6233446 w 6235406"/>
              <a:gd name="connsiteY2" fmla="*/ 3114000 h 5938818"/>
              <a:gd name="connsiteX3" fmla="*/ 4503862 w 6235406"/>
              <a:gd name="connsiteY3" fmla="*/ 5921390 h 5938818"/>
              <a:gd name="connsiteX4" fmla="*/ 4483173 w 6235406"/>
              <a:gd name="connsiteY4" fmla="*/ 4284366 h 5938818"/>
              <a:gd name="connsiteX5" fmla="*/ 4396917 w 6235406"/>
              <a:gd name="connsiteY5" fmla="*/ 3968895 h 5938818"/>
              <a:gd name="connsiteX6" fmla="*/ 106672 w 6235406"/>
              <a:gd name="connsiteY6" fmla="*/ 3971566 h 5938818"/>
              <a:gd name="connsiteX7" fmla="*/ 5446 w 6235406"/>
              <a:gd name="connsiteY7" fmla="*/ 3114000 h 5938818"/>
              <a:gd name="connsiteX0" fmla="*/ 5446 w 6235406"/>
              <a:gd name="connsiteY0" fmla="*/ 3114000 h 5938818"/>
              <a:gd name="connsiteX1" fmla="*/ 3119446 w 6235406"/>
              <a:gd name="connsiteY1" fmla="*/ 0 h 5938818"/>
              <a:gd name="connsiteX2" fmla="*/ 6233446 w 6235406"/>
              <a:gd name="connsiteY2" fmla="*/ 3114000 h 5938818"/>
              <a:gd name="connsiteX3" fmla="*/ 4503862 w 6235406"/>
              <a:gd name="connsiteY3" fmla="*/ 5921390 h 5938818"/>
              <a:gd name="connsiteX4" fmla="*/ 4483173 w 6235406"/>
              <a:gd name="connsiteY4" fmla="*/ 4284366 h 5938818"/>
              <a:gd name="connsiteX5" fmla="*/ 4396917 w 6235406"/>
              <a:gd name="connsiteY5" fmla="*/ 3968895 h 5938818"/>
              <a:gd name="connsiteX6" fmla="*/ 106672 w 6235406"/>
              <a:gd name="connsiteY6" fmla="*/ 3971566 h 5938818"/>
              <a:gd name="connsiteX7" fmla="*/ 5446 w 6235406"/>
              <a:gd name="connsiteY7" fmla="*/ 3114000 h 5938818"/>
              <a:gd name="connsiteX0" fmla="*/ 5446 w 6235406"/>
              <a:gd name="connsiteY0" fmla="*/ 3114000 h 5938818"/>
              <a:gd name="connsiteX1" fmla="*/ 3119446 w 6235406"/>
              <a:gd name="connsiteY1" fmla="*/ 0 h 5938818"/>
              <a:gd name="connsiteX2" fmla="*/ 6233446 w 6235406"/>
              <a:gd name="connsiteY2" fmla="*/ 3114000 h 5938818"/>
              <a:gd name="connsiteX3" fmla="*/ 4503862 w 6235406"/>
              <a:gd name="connsiteY3" fmla="*/ 5921390 h 5938818"/>
              <a:gd name="connsiteX4" fmla="*/ 4483173 w 6235406"/>
              <a:gd name="connsiteY4" fmla="*/ 4284366 h 5938818"/>
              <a:gd name="connsiteX5" fmla="*/ 4396917 w 6235406"/>
              <a:gd name="connsiteY5" fmla="*/ 3968895 h 5938818"/>
              <a:gd name="connsiteX6" fmla="*/ 106672 w 6235406"/>
              <a:gd name="connsiteY6" fmla="*/ 3971566 h 5938818"/>
              <a:gd name="connsiteX7" fmla="*/ 5446 w 6235406"/>
              <a:gd name="connsiteY7" fmla="*/ 3114000 h 5938818"/>
              <a:gd name="connsiteX0" fmla="*/ 5446 w 6235406"/>
              <a:gd name="connsiteY0" fmla="*/ 3114000 h 5921941"/>
              <a:gd name="connsiteX1" fmla="*/ 3119446 w 6235406"/>
              <a:gd name="connsiteY1" fmla="*/ 0 h 5921941"/>
              <a:gd name="connsiteX2" fmla="*/ 6233446 w 6235406"/>
              <a:gd name="connsiteY2" fmla="*/ 3114000 h 5921941"/>
              <a:gd name="connsiteX3" fmla="*/ 4490214 w 6235406"/>
              <a:gd name="connsiteY3" fmla="*/ 5904331 h 5921941"/>
              <a:gd name="connsiteX4" fmla="*/ 4483173 w 6235406"/>
              <a:gd name="connsiteY4" fmla="*/ 4284366 h 5921941"/>
              <a:gd name="connsiteX5" fmla="*/ 4396917 w 6235406"/>
              <a:gd name="connsiteY5" fmla="*/ 3968895 h 5921941"/>
              <a:gd name="connsiteX6" fmla="*/ 106672 w 6235406"/>
              <a:gd name="connsiteY6" fmla="*/ 3971566 h 5921941"/>
              <a:gd name="connsiteX7" fmla="*/ 5446 w 6235406"/>
              <a:gd name="connsiteY7" fmla="*/ 3114000 h 5921941"/>
              <a:gd name="connsiteX0" fmla="*/ 5446 w 6235406"/>
              <a:gd name="connsiteY0" fmla="*/ 3114000 h 5921941"/>
              <a:gd name="connsiteX1" fmla="*/ 3119446 w 6235406"/>
              <a:gd name="connsiteY1" fmla="*/ 0 h 5921941"/>
              <a:gd name="connsiteX2" fmla="*/ 6233446 w 6235406"/>
              <a:gd name="connsiteY2" fmla="*/ 3114000 h 5921941"/>
              <a:gd name="connsiteX3" fmla="*/ 4490214 w 6235406"/>
              <a:gd name="connsiteY3" fmla="*/ 5904331 h 5921941"/>
              <a:gd name="connsiteX4" fmla="*/ 4483173 w 6235406"/>
              <a:gd name="connsiteY4" fmla="*/ 4284366 h 5921941"/>
              <a:gd name="connsiteX5" fmla="*/ 4396917 w 6235406"/>
              <a:gd name="connsiteY5" fmla="*/ 3968895 h 5921941"/>
              <a:gd name="connsiteX6" fmla="*/ 106672 w 6235406"/>
              <a:gd name="connsiteY6" fmla="*/ 3971566 h 5921941"/>
              <a:gd name="connsiteX7" fmla="*/ 5446 w 6235406"/>
              <a:gd name="connsiteY7" fmla="*/ 3114000 h 5921941"/>
              <a:gd name="connsiteX0" fmla="*/ 5446 w 6235406"/>
              <a:gd name="connsiteY0" fmla="*/ 3114000 h 5904331"/>
              <a:gd name="connsiteX1" fmla="*/ 3119446 w 6235406"/>
              <a:gd name="connsiteY1" fmla="*/ 0 h 5904331"/>
              <a:gd name="connsiteX2" fmla="*/ 6233446 w 6235406"/>
              <a:gd name="connsiteY2" fmla="*/ 3114000 h 5904331"/>
              <a:gd name="connsiteX3" fmla="*/ 4490214 w 6235406"/>
              <a:gd name="connsiteY3" fmla="*/ 5904331 h 5904331"/>
              <a:gd name="connsiteX4" fmla="*/ 4483173 w 6235406"/>
              <a:gd name="connsiteY4" fmla="*/ 4284366 h 5904331"/>
              <a:gd name="connsiteX5" fmla="*/ 4396917 w 6235406"/>
              <a:gd name="connsiteY5" fmla="*/ 3968895 h 5904331"/>
              <a:gd name="connsiteX6" fmla="*/ 106672 w 6235406"/>
              <a:gd name="connsiteY6" fmla="*/ 3971566 h 5904331"/>
              <a:gd name="connsiteX7" fmla="*/ 5446 w 6235406"/>
              <a:gd name="connsiteY7" fmla="*/ 3114000 h 5904331"/>
              <a:gd name="connsiteX0" fmla="*/ 5446 w 6235406"/>
              <a:gd name="connsiteY0" fmla="*/ 3114000 h 5904331"/>
              <a:gd name="connsiteX1" fmla="*/ 3119446 w 6235406"/>
              <a:gd name="connsiteY1" fmla="*/ 0 h 5904331"/>
              <a:gd name="connsiteX2" fmla="*/ 6233446 w 6235406"/>
              <a:gd name="connsiteY2" fmla="*/ 3114000 h 5904331"/>
              <a:gd name="connsiteX3" fmla="*/ 4490214 w 6235406"/>
              <a:gd name="connsiteY3" fmla="*/ 5904331 h 5904331"/>
              <a:gd name="connsiteX4" fmla="*/ 4483173 w 6235406"/>
              <a:gd name="connsiteY4" fmla="*/ 4284366 h 5904331"/>
              <a:gd name="connsiteX5" fmla="*/ 4396917 w 6235406"/>
              <a:gd name="connsiteY5" fmla="*/ 3968895 h 5904331"/>
              <a:gd name="connsiteX6" fmla="*/ 106672 w 6235406"/>
              <a:gd name="connsiteY6" fmla="*/ 3971566 h 5904331"/>
              <a:gd name="connsiteX7" fmla="*/ 5446 w 6235406"/>
              <a:gd name="connsiteY7" fmla="*/ 3114000 h 5904331"/>
              <a:gd name="connsiteX0" fmla="*/ 5446 w 6235406"/>
              <a:gd name="connsiteY0" fmla="*/ 3114000 h 5904331"/>
              <a:gd name="connsiteX1" fmla="*/ 3119446 w 6235406"/>
              <a:gd name="connsiteY1" fmla="*/ 0 h 5904331"/>
              <a:gd name="connsiteX2" fmla="*/ 6233446 w 6235406"/>
              <a:gd name="connsiteY2" fmla="*/ 3114000 h 5904331"/>
              <a:gd name="connsiteX3" fmla="*/ 4490214 w 6235406"/>
              <a:gd name="connsiteY3" fmla="*/ 5904331 h 5904331"/>
              <a:gd name="connsiteX4" fmla="*/ 4483173 w 6235406"/>
              <a:gd name="connsiteY4" fmla="*/ 4284366 h 5904331"/>
              <a:gd name="connsiteX5" fmla="*/ 4396917 w 6235406"/>
              <a:gd name="connsiteY5" fmla="*/ 3968895 h 5904331"/>
              <a:gd name="connsiteX6" fmla="*/ 106672 w 6235406"/>
              <a:gd name="connsiteY6" fmla="*/ 3971566 h 5904331"/>
              <a:gd name="connsiteX7" fmla="*/ 5446 w 6235406"/>
              <a:gd name="connsiteY7" fmla="*/ 3114000 h 5904331"/>
              <a:gd name="connsiteX0" fmla="*/ 5446 w 6235406"/>
              <a:gd name="connsiteY0" fmla="*/ 3114000 h 5904331"/>
              <a:gd name="connsiteX1" fmla="*/ 3119446 w 6235406"/>
              <a:gd name="connsiteY1" fmla="*/ 0 h 5904331"/>
              <a:gd name="connsiteX2" fmla="*/ 6233446 w 6235406"/>
              <a:gd name="connsiteY2" fmla="*/ 3114000 h 5904331"/>
              <a:gd name="connsiteX3" fmla="*/ 4490214 w 6235406"/>
              <a:gd name="connsiteY3" fmla="*/ 5904331 h 5904331"/>
              <a:gd name="connsiteX4" fmla="*/ 4483173 w 6235406"/>
              <a:gd name="connsiteY4" fmla="*/ 4284366 h 5904331"/>
              <a:gd name="connsiteX5" fmla="*/ 4396917 w 6235406"/>
              <a:gd name="connsiteY5" fmla="*/ 3968895 h 5904331"/>
              <a:gd name="connsiteX6" fmla="*/ 106672 w 6235406"/>
              <a:gd name="connsiteY6" fmla="*/ 3971566 h 5904331"/>
              <a:gd name="connsiteX7" fmla="*/ 5446 w 6235406"/>
              <a:gd name="connsiteY7" fmla="*/ 3114000 h 5904331"/>
              <a:gd name="connsiteX0" fmla="*/ 5446 w 6235406"/>
              <a:gd name="connsiteY0" fmla="*/ 3114000 h 5904331"/>
              <a:gd name="connsiteX1" fmla="*/ 3119446 w 6235406"/>
              <a:gd name="connsiteY1" fmla="*/ 0 h 5904331"/>
              <a:gd name="connsiteX2" fmla="*/ 6233446 w 6235406"/>
              <a:gd name="connsiteY2" fmla="*/ 3114000 h 5904331"/>
              <a:gd name="connsiteX3" fmla="*/ 4490214 w 6235406"/>
              <a:gd name="connsiteY3" fmla="*/ 5904331 h 5904331"/>
              <a:gd name="connsiteX4" fmla="*/ 4486585 w 6235406"/>
              <a:gd name="connsiteY4" fmla="*/ 4137653 h 5904331"/>
              <a:gd name="connsiteX5" fmla="*/ 4396917 w 6235406"/>
              <a:gd name="connsiteY5" fmla="*/ 3968895 h 5904331"/>
              <a:gd name="connsiteX6" fmla="*/ 106672 w 6235406"/>
              <a:gd name="connsiteY6" fmla="*/ 3971566 h 5904331"/>
              <a:gd name="connsiteX7" fmla="*/ 5446 w 6235406"/>
              <a:gd name="connsiteY7" fmla="*/ 3114000 h 5904331"/>
              <a:gd name="connsiteX0" fmla="*/ 5446 w 6235406"/>
              <a:gd name="connsiteY0" fmla="*/ 3114000 h 5904331"/>
              <a:gd name="connsiteX1" fmla="*/ 3119446 w 6235406"/>
              <a:gd name="connsiteY1" fmla="*/ 0 h 5904331"/>
              <a:gd name="connsiteX2" fmla="*/ 6233446 w 6235406"/>
              <a:gd name="connsiteY2" fmla="*/ 3114000 h 5904331"/>
              <a:gd name="connsiteX3" fmla="*/ 4490214 w 6235406"/>
              <a:gd name="connsiteY3" fmla="*/ 5904331 h 5904331"/>
              <a:gd name="connsiteX4" fmla="*/ 4486585 w 6235406"/>
              <a:gd name="connsiteY4" fmla="*/ 4147888 h 5904331"/>
              <a:gd name="connsiteX5" fmla="*/ 4396917 w 6235406"/>
              <a:gd name="connsiteY5" fmla="*/ 3968895 h 5904331"/>
              <a:gd name="connsiteX6" fmla="*/ 106672 w 6235406"/>
              <a:gd name="connsiteY6" fmla="*/ 3971566 h 5904331"/>
              <a:gd name="connsiteX7" fmla="*/ 5446 w 6235406"/>
              <a:gd name="connsiteY7" fmla="*/ 3114000 h 5904331"/>
              <a:gd name="connsiteX0" fmla="*/ 5446 w 6235406"/>
              <a:gd name="connsiteY0" fmla="*/ 3114000 h 5904331"/>
              <a:gd name="connsiteX1" fmla="*/ 3119446 w 6235406"/>
              <a:gd name="connsiteY1" fmla="*/ 0 h 5904331"/>
              <a:gd name="connsiteX2" fmla="*/ 6233446 w 6235406"/>
              <a:gd name="connsiteY2" fmla="*/ 3114000 h 5904331"/>
              <a:gd name="connsiteX3" fmla="*/ 4490214 w 6235406"/>
              <a:gd name="connsiteY3" fmla="*/ 5904331 h 5904331"/>
              <a:gd name="connsiteX4" fmla="*/ 4486585 w 6235406"/>
              <a:gd name="connsiteY4" fmla="*/ 4147888 h 5904331"/>
              <a:gd name="connsiteX5" fmla="*/ 4396917 w 6235406"/>
              <a:gd name="connsiteY5" fmla="*/ 3968895 h 5904331"/>
              <a:gd name="connsiteX6" fmla="*/ 106672 w 6235406"/>
              <a:gd name="connsiteY6" fmla="*/ 3971566 h 5904331"/>
              <a:gd name="connsiteX7" fmla="*/ 5446 w 6235406"/>
              <a:gd name="connsiteY7" fmla="*/ 3114000 h 5904331"/>
              <a:gd name="connsiteX0" fmla="*/ 120811 w 6350771"/>
              <a:gd name="connsiteY0" fmla="*/ 3114000 h 5904331"/>
              <a:gd name="connsiteX1" fmla="*/ 3234811 w 6350771"/>
              <a:gd name="connsiteY1" fmla="*/ 0 h 5904331"/>
              <a:gd name="connsiteX2" fmla="*/ 6348811 w 6350771"/>
              <a:gd name="connsiteY2" fmla="*/ 3114000 h 5904331"/>
              <a:gd name="connsiteX3" fmla="*/ 4605579 w 6350771"/>
              <a:gd name="connsiteY3" fmla="*/ 5904331 h 5904331"/>
              <a:gd name="connsiteX4" fmla="*/ 4601950 w 6350771"/>
              <a:gd name="connsiteY4" fmla="*/ 4147888 h 5904331"/>
              <a:gd name="connsiteX5" fmla="*/ 4512282 w 6350771"/>
              <a:gd name="connsiteY5" fmla="*/ 3968895 h 5904331"/>
              <a:gd name="connsiteX6" fmla="*/ 293688 w 6350771"/>
              <a:gd name="connsiteY6" fmla="*/ 3968154 h 5904331"/>
              <a:gd name="connsiteX7" fmla="*/ 120811 w 6350771"/>
              <a:gd name="connsiteY7" fmla="*/ 3114000 h 5904331"/>
              <a:gd name="connsiteX0" fmla="*/ 120811 w 6350771"/>
              <a:gd name="connsiteY0" fmla="*/ 3114000 h 5904331"/>
              <a:gd name="connsiteX1" fmla="*/ 3234811 w 6350771"/>
              <a:gd name="connsiteY1" fmla="*/ 0 h 5904331"/>
              <a:gd name="connsiteX2" fmla="*/ 6348811 w 6350771"/>
              <a:gd name="connsiteY2" fmla="*/ 3114000 h 5904331"/>
              <a:gd name="connsiteX3" fmla="*/ 4605579 w 6350771"/>
              <a:gd name="connsiteY3" fmla="*/ 5904331 h 5904331"/>
              <a:gd name="connsiteX4" fmla="*/ 4601950 w 6350771"/>
              <a:gd name="connsiteY4" fmla="*/ 4147888 h 5904331"/>
              <a:gd name="connsiteX5" fmla="*/ 4512282 w 6350771"/>
              <a:gd name="connsiteY5" fmla="*/ 3968895 h 5904331"/>
              <a:gd name="connsiteX6" fmla="*/ 293688 w 6350771"/>
              <a:gd name="connsiteY6" fmla="*/ 3968154 h 5904331"/>
              <a:gd name="connsiteX7" fmla="*/ 120811 w 6350771"/>
              <a:gd name="connsiteY7" fmla="*/ 3114000 h 5904331"/>
              <a:gd name="connsiteX0" fmla="*/ 12 w 6229972"/>
              <a:gd name="connsiteY0" fmla="*/ 3114000 h 5904331"/>
              <a:gd name="connsiteX1" fmla="*/ 3114012 w 6229972"/>
              <a:gd name="connsiteY1" fmla="*/ 0 h 5904331"/>
              <a:gd name="connsiteX2" fmla="*/ 6228012 w 6229972"/>
              <a:gd name="connsiteY2" fmla="*/ 3114000 h 5904331"/>
              <a:gd name="connsiteX3" fmla="*/ 4484780 w 6229972"/>
              <a:gd name="connsiteY3" fmla="*/ 5904331 h 5904331"/>
              <a:gd name="connsiteX4" fmla="*/ 4481151 w 6229972"/>
              <a:gd name="connsiteY4" fmla="*/ 4147888 h 5904331"/>
              <a:gd name="connsiteX5" fmla="*/ 4391483 w 6229972"/>
              <a:gd name="connsiteY5" fmla="*/ 3968895 h 5904331"/>
              <a:gd name="connsiteX6" fmla="*/ 172889 w 6229972"/>
              <a:gd name="connsiteY6" fmla="*/ 3968154 h 5904331"/>
              <a:gd name="connsiteX7" fmla="*/ 12 w 6229972"/>
              <a:gd name="connsiteY7" fmla="*/ 3114000 h 5904331"/>
              <a:gd name="connsiteX0" fmla="*/ 12 w 6229972"/>
              <a:gd name="connsiteY0" fmla="*/ 3114000 h 5904331"/>
              <a:gd name="connsiteX1" fmla="*/ 3114012 w 6229972"/>
              <a:gd name="connsiteY1" fmla="*/ 0 h 5904331"/>
              <a:gd name="connsiteX2" fmla="*/ 6228012 w 6229972"/>
              <a:gd name="connsiteY2" fmla="*/ 3114000 h 5904331"/>
              <a:gd name="connsiteX3" fmla="*/ 4484780 w 6229972"/>
              <a:gd name="connsiteY3" fmla="*/ 5904331 h 5904331"/>
              <a:gd name="connsiteX4" fmla="*/ 4481151 w 6229972"/>
              <a:gd name="connsiteY4" fmla="*/ 4147888 h 5904331"/>
              <a:gd name="connsiteX5" fmla="*/ 4391483 w 6229972"/>
              <a:gd name="connsiteY5" fmla="*/ 3968895 h 5904331"/>
              <a:gd name="connsiteX6" fmla="*/ 172889 w 6229972"/>
              <a:gd name="connsiteY6" fmla="*/ 3968154 h 5904331"/>
              <a:gd name="connsiteX7" fmla="*/ 12 w 6229972"/>
              <a:gd name="connsiteY7" fmla="*/ 3114000 h 5904331"/>
              <a:gd name="connsiteX0" fmla="*/ 12 w 6229972"/>
              <a:gd name="connsiteY0" fmla="*/ 3114000 h 5904331"/>
              <a:gd name="connsiteX1" fmla="*/ 3114012 w 6229972"/>
              <a:gd name="connsiteY1" fmla="*/ 0 h 5904331"/>
              <a:gd name="connsiteX2" fmla="*/ 6228012 w 6229972"/>
              <a:gd name="connsiteY2" fmla="*/ 3114000 h 5904331"/>
              <a:gd name="connsiteX3" fmla="*/ 4484780 w 6229972"/>
              <a:gd name="connsiteY3" fmla="*/ 5904331 h 5904331"/>
              <a:gd name="connsiteX4" fmla="*/ 4481151 w 6229972"/>
              <a:gd name="connsiteY4" fmla="*/ 4147888 h 5904331"/>
              <a:gd name="connsiteX5" fmla="*/ 4391483 w 6229972"/>
              <a:gd name="connsiteY5" fmla="*/ 3968895 h 5904331"/>
              <a:gd name="connsiteX6" fmla="*/ 172889 w 6229972"/>
              <a:gd name="connsiteY6" fmla="*/ 3968154 h 5904331"/>
              <a:gd name="connsiteX7" fmla="*/ 12 w 6229972"/>
              <a:gd name="connsiteY7" fmla="*/ 3114000 h 5904331"/>
              <a:gd name="connsiteX0" fmla="*/ 165707 w 6395667"/>
              <a:gd name="connsiteY0" fmla="*/ 3114000 h 5904331"/>
              <a:gd name="connsiteX1" fmla="*/ 3279707 w 6395667"/>
              <a:gd name="connsiteY1" fmla="*/ 0 h 5904331"/>
              <a:gd name="connsiteX2" fmla="*/ 6393707 w 6395667"/>
              <a:gd name="connsiteY2" fmla="*/ 3114000 h 5904331"/>
              <a:gd name="connsiteX3" fmla="*/ 4650475 w 6395667"/>
              <a:gd name="connsiteY3" fmla="*/ 5904331 h 5904331"/>
              <a:gd name="connsiteX4" fmla="*/ 4646846 w 6395667"/>
              <a:gd name="connsiteY4" fmla="*/ 4147888 h 5904331"/>
              <a:gd name="connsiteX5" fmla="*/ 4557178 w 6395667"/>
              <a:gd name="connsiteY5" fmla="*/ 3968895 h 5904331"/>
              <a:gd name="connsiteX6" fmla="*/ 338584 w 6395667"/>
              <a:gd name="connsiteY6" fmla="*/ 3968154 h 5904331"/>
              <a:gd name="connsiteX7" fmla="*/ 418664 w 6395667"/>
              <a:gd name="connsiteY7" fmla="*/ 3789530 h 5904331"/>
              <a:gd name="connsiteX8" fmla="*/ 165707 w 6395667"/>
              <a:gd name="connsiteY8" fmla="*/ 3114000 h 5904331"/>
              <a:gd name="connsiteX0" fmla="*/ 165707 w 6395667"/>
              <a:gd name="connsiteY0" fmla="*/ 3114000 h 5904331"/>
              <a:gd name="connsiteX1" fmla="*/ 3279707 w 6395667"/>
              <a:gd name="connsiteY1" fmla="*/ 0 h 5904331"/>
              <a:gd name="connsiteX2" fmla="*/ 6393707 w 6395667"/>
              <a:gd name="connsiteY2" fmla="*/ 3114000 h 5904331"/>
              <a:gd name="connsiteX3" fmla="*/ 4650475 w 6395667"/>
              <a:gd name="connsiteY3" fmla="*/ 5904331 h 5904331"/>
              <a:gd name="connsiteX4" fmla="*/ 4646846 w 6395667"/>
              <a:gd name="connsiteY4" fmla="*/ 4147888 h 5904331"/>
              <a:gd name="connsiteX5" fmla="*/ 4557178 w 6395667"/>
              <a:gd name="connsiteY5" fmla="*/ 3968895 h 5904331"/>
              <a:gd name="connsiteX6" fmla="*/ 338584 w 6395667"/>
              <a:gd name="connsiteY6" fmla="*/ 3968154 h 5904331"/>
              <a:gd name="connsiteX7" fmla="*/ 418664 w 6395667"/>
              <a:gd name="connsiteY7" fmla="*/ 3789530 h 5904331"/>
              <a:gd name="connsiteX8" fmla="*/ 165707 w 6395667"/>
              <a:gd name="connsiteY8" fmla="*/ 3114000 h 5904331"/>
              <a:gd name="connsiteX0" fmla="*/ 187804 w 6417764"/>
              <a:gd name="connsiteY0" fmla="*/ 3114000 h 5904331"/>
              <a:gd name="connsiteX1" fmla="*/ 3301804 w 6417764"/>
              <a:gd name="connsiteY1" fmla="*/ 0 h 5904331"/>
              <a:gd name="connsiteX2" fmla="*/ 6415804 w 6417764"/>
              <a:gd name="connsiteY2" fmla="*/ 3114000 h 5904331"/>
              <a:gd name="connsiteX3" fmla="*/ 4672572 w 6417764"/>
              <a:gd name="connsiteY3" fmla="*/ 5904331 h 5904331"/>
              <a:gd name="connsiteX4" fmla="*/ 4668943 w 6417764"/>
              <a:gd name="connsiteY4" fmla="*/ 4147888 h 5904331"/>
              <a:gd name="connsiteX5" fmla="*/ 4579275 w 6417764"/>
              <a:gd name="connsiteY5" fmla="*/ 3968895 h 5904331"/>
              <a:gd name="connsiteX6" fmla="*/ 360681 w 6417764"/>
              <a:gd name="connsiteY6" fmla="*/ 3968154 h 5904331"/>
              <a:gd name="connsiteX7" fmla="*/ 317931 w 6417764"/>
              <a:gd name="connsiteY7" fmla="*/ 3984011 h 5904331"/>
              <a:gd name="connsiteX8" fmla="*/ 187804 w 6417764"/>
              <a:gd name="connsiteY8" fmla="*/ 3114000 h 5904331"/>
              <a:gd name="connsiteX0" fmla="*/ 187804 w 6417764"/>
              <a:gd name="connsiteY0" fmla="*/ 3114000 h 5904331"/>
              <a:gd name="connsiteX1" fmla="*/ 3301804 w 6417764"/>
              <a:gd name="connsiteY1" fmla="*/ 0 h 5904331"/>
              <a:gd name="connsiteX2" fmla="*/ 6415804 w 6417764"/>
              <a:gd name="connsiteY2" fmla="*/ 3114000 h 5904331"/>
              <a:gd name="connsiteX3" fmla="*/ 4672572 w 6417764"/>
              <a:gd name="connsiteY3" fmla="*/ 5904331 h 5904331"/>
              <a:gd name="connsiteX4" fmla="*/ 4668943 w 6417764"/>
              <a:gd name="connsiteY4" fmla="*/ 4147888 h 5904331"/>
              <a:gd name="connsiteX5" fmla="*/ 4579275 w 6417764"/>
              <a:gd name="connsiteY5" fmla="*/ 3968895 h 5904331"/>
              <a:gd name="connsiteX6" fmla="*/ 360681 w 6417764"/>
              <a:gd name="connsiteY6" fmla="*/ 3968154 h 5904331"/>
              <a:gd name="connsiteX7" fmla="*/ 317931 w 6417764"/>
              <a:gd name="connsiteY7" fmla="*/ 3984011 h 5904331"/>
              <a:gd name="connsiteX8" fmla="*/ 187804 w 6417764"/>
              <a:gd name="connsiteY8" fmla="*/ 3114000 h 5904331"/>
              <a:gd name="connsiteX0" fmla="*/ 183019 w 6412979"/>
              <a:gd name="connsiteY0" fmla="*/ 3114000 h 5904331"/>
              <a:gd name="connsiteX1" fmla="*/ 3297019 w 6412979"/>
              <a:gd name="connsiteY1" fmla="*/ 0 h 5904331"/>
              <a:gd name="connsiteX2" fmla="*/ 6411019 w 6412979"/>
              <a:gd name="connsiteY2" fmla="*/ 3114000 h 5904331"/>
              <a:gd name="connsiteX3" fmla="*/ 4667787 w 6412979"/>
              <a:gd name="connsiteY3" fmla="*/ 5904331 h 5904331"/>
              <a:gd name="connsiteX4" fmla="*/ 4664158 w 6412979"/>
              <a:gd name="connsiteY4" fmla="*/ 4147888 h 5904331"/>
              <a:gd name="connsiteX5" fmla="*/ 4574490 w 6412979"/>
              <a:gd name="connsiteY5" fmla="*/ 3968895 h 5904331"/>
              <a:gd name="connsiteX6" fmla="*/ 355896 w 6412979"/>
              <a:gd name="connsiteY6" fmla="*/ 3968154 h 5904331"/>
              <a:gd name="connsiteX7" fmla="*/ 313146 w 6412979"/>
              <a:gd name="connsiteY7" fmla="*/ 3984011 h 5904331"/>
              <a:gd name="connsiteX8" fmla="*/ 183019 w 6412979"/>
              <a:gd name="connsiteY8" fmla="*/ 3114000 h 5904331"/>
              <a:gd name="connsiteX0" fmla="*/ 144151 w 6374111"/>
              <a:gd name="connsiteY0" fmla="*/ 3114000 h 5904331"/>
              <a:gd name="connsiteX1" fmla="*/ 3258151 w 6374111"/>
              <a:gd name="connsiteY1" fmla="*/ 0 h 5904331"/>
              <a:gd name="connsiteX2" fmla="*/ 6372151 w 6374111"/>
              <a:gd name="connsiteY2" fmla="*/ 3114000 h 5904331"/>
              <a:gd name="connsiteX3" fmla="*/ 4628919 w 6374111"/>
              <a:gd name="connsiteY3" fmla="*/ 5904331 h 5904331"/>
              <a:gd name="connsiteX4" fmla="*/ 4625290 w 6374111"/>
              <a:gd name="connsiteY4" fmla="*/ 4147888 h 5904331"/>
              <a:gd name="connsiteX5" fmla="*/ 4535622 w 6374111"/>
              <a:gd name="connsiteY5" fmla="*/ 3968895 h 5904331"/>
              <a:gd name="connsiteX6" fmla="*/ 317028 w 6374111"/>
              <a:gd name="connsiteY6" fmla="*/ 3968154 h 5904331"/>
              <a:gd name="connsiteX7" fmla="*/ 274278 w 6374111"/>
              <a:gd name="connsiteY7" fmla="*/ 3984011 h 5904331"/>
              <a:gd name="connsiteX8" fmla="*/ 144151 w 6374111"/>
              <a:gd name="connsiteY8" fmla="*/ 3114000 h 5904331"/>
              <a:gd name="connsiteX0" fmla="*/ 141340 w 6371300"/>
              <a:gd name="connsiteY0" fmla="*/ 3114000 h 5904331"/>
              <a:gd name="connsiteX1" fmla="*/ 3255340 w 6371300"/>
              <a:gd name="connsiteY1" fmla="*/ 0 h 5904331"/>
              <a:gd name="connsiteX2" fmla="*/ 6369340 w 6371300"/>
              <a:gd name="connsiteY2" fmla="*/ 3114000 h 5904331"/>
              <a:gd name="connsiteX3" fmla="*/ 4626108 w 6371300"/>
              <a:gd name="connsiteY3" fmla="*/ 5904331 h 5904331"/>
              <a:gd name="connsiteX4" fmla="*/ 4622479 w 6371300"/>
              <a:gd name="connsiteY4" fmla="*/ 4147888 h 5904331"/>
              <a:gd name="connsiteX5" fmla="*/ 4532811 w 6371300"/>
              <a:gd name="connsiteY5" fmla="*/ 3968895 h 5904331"/>
              <a:gd name="connsiteX6" fmla="*/ 314217 w 6371300"/>
              <a:gd name="connsiteY6" fmla="*/ 3968154 h 5904331"/>
              <a:gd name="connsiteX7" fmla="*/ 281702 w 6371300"/>
              <a:gd name="connsiteY7" fmla="*/ 3987423 h 5904331"/>
              <a:gd name="connsiteX8" fmla="*/ 141340 w 6371300"/>
              <a:gd name="connsiteY8" fmla="*/ 3114000 h 5904331"/>
              <a:gd name="connsiteX0" fmla="*/ 181 w 6230141"/>
              <a:gd name="connsiteY0" fmla="*/ 3114000 h 5904331"/>
              <a:gd name="connsiteX1" fmla="*/ 3114181 w 6230141"/>
              <a:gd name="connsiteY1" fmla="*/ 0 h 5904331"/>
              <a:gd name="connsiteX2" fmla="*/ 6228181 w 6230141"/>
              <a:gd name="connsiteY2" fmla="*/ 3114000 h 5904331"/>
              <a:gd name="connsiteX3" fmla="*/ 4484949 w 6230141"/>
              <a:gd name="connsiteY3" fmla="*/ 5904331 h 5904331"/>
              <a:gd name="connsiteX4" fmla="*/ 4481320 w 6230141"/>
              <a:gd name="connsiteY4" fmla="*/ 4147888 h 5904331"/>
              <a:gd name="connsiteX5" fmla="*/ 4391652 w 6230141"/>
              <a:gd name="connsiteY5" fmla="*/ 3968895 h 5904331"/>
              <a:gd name="connsiteX6" fmla="*/ 173058 w 6230141"/>
              <a:gd name="connsiteY6" fmla="*/ 3968154 h 5904331"/>
              <a:gd name="connsiteX7" fmla="*/ 140543 w 6230141"/>
              <a:gd name="connsiteY7" fmla="*/ 3987423 h 5904331"/>
              <a:gd name="connsiteX8" fmla="*/ 181 w 6230141"/>
              <a:gd name="connsiteY8" fmla="*/ 3114000 h 5904331"/>
              <a:gd name="connsiteX0" fmla="*/ 199 w 6230159"/>
              <a:gd name="connsiteY0" fmla="*/ 3114000 h 5904331"/>
              <a:gd name="connsiteX1" fmla="*/ 3114199 w 6230159"/>
              <a:gd name="connsiteY1" fmla="*/ 0 h 5904331"/>
              <a:gd name="connsiteX2" fmla="*/ 6228199 w 6230159"/>
              <a:gd name="connsiteY2" fmla="*/ 3114000 h 5904331"/>
              <a:gd name="connsiteX3" fmla="*/ 4484967 w 6230159"/>
              <a:gd name="connsiteY3" fmla="*/ 5904331 h 5904331"/>
              <a:gd name="connsiteX4" fmla="*/ 4481338 w 6230159"/>
              <a:gd name="connsiteY4" fmla="*/ 4147888 h 5904331"/>
              <a:gd name="connsiteX5" fmla="*/ 4391670 w 6230159"/>
              <a:gd name="connsiteY5" fmla="*/ 3968895 h 5904331"/>
              <a:gd name="connsiteX6" fmla="*/ 173076 w 6230159"/>
              <a:gd name="connsiteY6" fmla="*/ 3968154 h 5904331"/>
              <a:gd name="connsiteX7" fmla="*/ 126914 w 6230159"/>
              <a:gd name="connsiteY7" fmla="*/ 3990835 h 5904331"/>
              <a:gd name="connsiteX8" fmla="*/ 199 w 6230159"/>
              <a:gd name="connsiteY8" fmla="*/ 3114000 h 5904331"/>
              <a:gd name="connsiteX0" fmla="*/ 199 w 6230159"/>
              <a:gd name="connsiteY0" fmla="*/ 3114000 h 5904331"/>
              <a:gd name="connsiteX1" fmla="*/ 3114199 w 6230159"/>
              <a:gd name="connsiteY1" fmla="*/ 0 h 5904331"/>
              <a:gd name="connsiteX2" fmla="*/ 6228199 w 6230159"/>
              <a:gd name="connsiteY2" fmla="*/ 3114000 h 5904331"/>
              <a:gd name="connsiteX3" fmla="*/ 4484967 w 6230159"/>
              <a:gd name="connsiteY3" fmla="*/ 5904331 h 5904331"/>
              <a:gd name="connsiteX4" fmla="*/ 4481338 w 6230159"/>
              <a:gd name="connsiteY4" fmla="*/ 4147888 h 5904331"/>
              <a:gd name="connsiteX5" fmla="*/ 4391670 w 6230159"/>
              <a:gd name="connsiteY5" fmla="*/ 3968895 h 5904331"/>
              <a:gd name="connsiteX6" fmla="*/ 173076 w 6230159"/>
              <a:gd name="connsiteY6" fmla="*/ 3968154 h 5904331"/>
              <a:gd name="connsiteX7" fmla="*/ 126914 w 6230159"/>
              <a:gd name="connsiteY7" fmla="*/ 3990835 h 5904331"/>
              <a:gd name="connsiteX8" fmla="*/ 199 w 6230159"/>
              <a:gd name="connsiteY8" fmla="*/ 3114000 h 5904331"/>
              <a:gd name="connsiteX0" fmla="*/ 199 w 6230159"/>
              <a:gd name="connsiteY0" fmla="*/ 3114000 h 5904331"/>
              <a:gd name="connsiteX1" fmla="*/ 3114199 w 6230159"/>
              <a:gd name="connsiteY1" fmla="*/ 0 h 5904331"/>
              <a:gd name="connsiteX2" fmla="*/ 6228199 w 6230159"/>
              <a:gd name="connsiteY2" fmla="*/ 3114000 h 5904331"/>
              <a:gd name="connsiteX3" fmla="*/ 4484967 w 6230159"/>
              <a:gd name="connsiteY3" fmla="*/ 5904331 h 5904331"/>
              <a:gd name="connsiteX4" fmla="*/ 4481338 w 6230159"/>
              <a:gd name="connsiteY4" fmla="*/ 4147888 h 5904331"/>
              <a:gd name="connsiteX5" fmla="*/ 4391670 w 6230159"/>
              <a:gd name="connsiteY5" fmla="*/ 3968895 h 5904331"/>
              <a:gd name="connsiteX6" fmla="*/ 194243 w 6230159"/>
              <a:gd name="connsiteY6" fmla="*/ 3968154 h 5904331"/>
              <a:gd name="connsiteX7" fmla="*/ 126914 w 6230159"/>
              <a:gd name="connsiteY7" fmla="*/ 3990835 h 5904331"/>
              <a:gd name="connsiteX8" fmla="*/ 199 w 6230159"/>
              <a:gd name="connsiteY8" fmla="*/ 3114000 h 5904331"/>
              <a:gd name="connsiteX0" fmla="*/ 199 w 6228217"/>
              <a:gd name="connsiteY0" fmla="*/ 3114000 h 5904331"/>
              <a:gd name="connsiteX1" fmla="*/ 3114199 w 6228217"/>
              <a:gd name="connsiteY1" fmla="*/ 0 h 5904331"/>
              <a:gd name="connsiteX2" fmla="*/ 6228199 w 6228217"/>
              <a:gd name="connsiteY2" fmla="*/ 3114000 h 5904331"/>
              <a:gd name="connsiteX3" fmla="*/ 4484967 w 6228217"/>
              <a:gd name="connsiteY3" fmla="*/ 5904331 h 5904331"/>
              <a:gd name="connsiteX4" fmla="*/ 4481338 w 6228217"/>
              <a:gd name="connsiteY4" fmla="*/ 4147888 h 5904331"/>
              <a:gd name="connsiteX5" fmla="*/ 4391670 w 6228217"/>
              <a:gd name="connsiteY5" fmla="*/ 3968895 h 5904331"/>
              <a:gd name="connsiteX6" fmla="*/ 194243 w 6228217"/>
              <a:gd name="connsiteY6" fmla="*/ 3968154 h 5904331"/>
              <a:gd name="connsiteX7" fmla="*/ 126914 w 6228217"/>
              <a:gd name="connsiteY7" fmla="*/ 3990835 h 5904331"/>
              <a:gd name="connsiteX8" fmla="*/ 199 w 6228217"/>
              <a:gd name="connsiteY8" fmla="*/ 3114000 h 5904331"/>
              <a:gd name="connsiteX0" fmla="*/ 199 w 6228217"/>
              <a:gd name="connsiteY0" fmla="*/ 3114000 h 5904331"/>
              <a:gd name="connsiteX1" fmla="*/ 3114199 w 6228217"/>
              <a:gd name="connsiteY1" fmla="*/ 0 h 5904331"/>
              <a:gd name="connsiteX2" fmla="*/ 6228199 w 6228217"/>
              <a:gd name="connsiteY2" fmla="*/ 3114000 h 5904331"/>
              <a:gd name="connsiteX3" fmla="*/ 4484967 w 6228217"/>
              <a:gd name="connsiteY3" fmla="*/ 5904331 h 5904331"/>
              <a:gd name="connsiteX4" fmla="*/ 4481338 w 6228217"/>
              <a:gd name="connsiteY4" fmla="*/ 4147888 h 5904331"/>
              <a:gd name="connsiteX5" fmla="*/ 4391670 w 6228217"/>
              <a:gd name="connsiteY5" fmla="*/ 3968895 h 5904331"/>
              <a:gd name="connsiteX6" fmla="*/ 194243 w 6228217"/>
              <a:gd name="connsiteY6" fmla="*/ 3968154 h 5904331"/>
              <a:gd name="connsiteX7" fmla="*/ 126914 w 6228217"/>
              <a:gd name="connsiteY7" fmla="*/ 3990835 h 5904331"/>
              <a:gd name="connsiteX8" fmla="*/ 199 w 6228217"/>
              <a:gd name="connsiteY8" fmla="*/ 3114000 h 5904331"/>
              <a:gd name="connsiteX0" fmla="*/ 199 w 6228217"/>
              <a:gd name="connsiteY0" fmla="*/ 3114000 h 5904331"/>
              <a:gd name="connsiteX1" fmla="*/ 3114199 w 6228217"/>
              <a:gd name="connsiteY1" fmla="*/ 0 h 5904331"/>
              <a:gd name="connsiteX2" fmla="*/ 6228199 w 6228217"/>
              <a:gd name="connsiteY2" fmla="*/ 3114000 h 5904331"/>
              <a:gd name="connsiteX3" fmla="*/ 4484967 w 6228217"/>
              <a:gd name="connsiteY3" fmla="*/ 5904331 h 5904331"/>
              <a:gd name="connsiteX4" fmla="*/ 4481338 w 6228217"/>
              <a:gd name="connsiteY4" fmla="*/ 4147888 h 5904331"/>
              <a:gd name="connsiteX5" fmla="*/ 4391670 w 6228217"/>
              <a:gd name="connsiteY5" fmla="*/ 3968895 h 5904331"/>
              <a:gd name="connsiteX6" fmla="*/ 194243 w 6228217"/>
              <a:gd name="connsiteY6" fmla="*/ 3968154 h 5904331"/>
              <a:gd name="connsiteX7" fmla="*/ 126914 w 6228217"/>
              <a:gd name="connsiteY7" fmla="*/ 3990835 h 5904331"/>
              <a:gd name="connsiteX8" fmla="*/ 199 w 6228217"/>
              <a:gd name="connsiteY8" fmla="*/ 3114000 h 5904331"/>
              <a:gd name="connsiteX0" fmla="*/ 199 w 6228216"/>
              <a:gd name="connsiteY0" fmla="*/ 3114000 h 5904331"/>
              <a:gd name="connsiteX1" fmla="*/ 3114199 w 6228216"/>
              <a:gd name="connsiteY1" fmla="*/ 0 h 5904331"/>
              <a:gd name="connsiteX2" fmla="*/ 6228199 w 6228216"/>
              <a:gd name="connsiteY2" fmla="*/ 3114000 h 5904331"/>
              <a:gd name="connsiteX3" fmla="*/ 4474456 w 6228216"/>
              <a:gd name="connsiteY3" fmla="*/ 5904331 h 5904331"/>
              <a:gd name="connsiteX4" fmla="*/ 4481338 w 6228216"/>
              <a:gd name="connsiteY4" fmla="*/ 4147888 h 5904331"/>
              <a:gd name="connsiteX5" fmla="*/ 4391670 w 6228216"/>
              <a:gd name="connsiteY5" fmla="*/ 3968895 h 5904331"/>
              <a:gd name="connsiteX6" fmla="*/ 194243 w 6228216"/>
              <a:gd name="connsiteY6" fmla="*/ 3968154 h 5904331"/>
              <a:gd name="connsiteX7" fmla="*/ 126914 w 6228216"/>
              <a:gd name="connsiteY7" fmla="*/ 3990835 h 5904331"/>
              <a:gd name="connsiteX8" fmla="*/ 199 w 6228216"/>
              <a:gd name="connsiteY8" fmla="*/ 3114000 h 5904331"/>
              <a:gd name="connsiteX0" fmla="*/ 199 w 6228216"/>
              <a:gd name="connsiteY0" fmla="*/ 3114000 h 5915833"/>
              <a:gd name="connsiteX1" fmla="*/ 3114199 w 6228216"/>
              <a:gd name="connsiteY1" fmla="*/ 0 h 5915833"/>
              <a:gd name="connsiteX2" fmla="*/ 6228199 w 6228216"/>
              <a:gd name="connsiteY2" fmla="*/ 3114000 h 5915833"/>
              <a:gd name="connsiteX3" fmla="*/ 4480207 w 6228216"/>
              <a:gd name="connsiteY3" fmla="*/ 5915833 h 5915833"/>
              <a:gd name="connsiteX4" fmla="*/ 4481338 w 6228216"/>
              <a:gd name="connsiteY4" fmla="*/ 4147888 h 5915833"/>
              <a:gd name="connsiteX5" fmla="*/ 4391670 w 6228216"/>
              <a:gd name="connsiteY5" fmla="*/ 3968895 h 5915833"/>
              <a:gd name="connsiteX6" fmla="*/ 194243 w 6228216"/>
              <a:gd name="connsiteY6" fmla="*/ 3968154 h 5915833"/>
              <a:gd name="connsiteX7" fmla="*/ 126914 w 6228216"/>
              <a:gd name="connsiteY7" fmla="*/ 3990835 h 5915833"/>
              <a:gd name="connsiteX8" fmla="*/ 199 w 6228216"/>
              <a:gd name="connsiteY8" fmla="*/ 3114000 h 5915833"/>
              <a:gd name="connsiteX0" fmla="*/ 199 w 6228216"/>
              <a:gd name="connsiteY0" fmla="*/ 3114000 h 5927335"/>
              <a:gd name="connsiteX1" fmla="*/ 3114199 w 6228216"/>
              <a:gd name="connsiteY1" fmla="*/ 0 h 5927335"/>
              <a:gd name="connsiteX2" fmla="*/ 6228199 w 6228216"/>
              <a:gd name="connsiteY2" fmla="*/ 3114000 h 5927335"/>
              <a:gd name="connsiteX3" fmla="*/ 4480207 w 6228216"/>
              <a:gd name="connsiteY3" fmla="*/ 5927335 h 5927335"/>
              <a:gd name="connsiteX4" fmla="*/ 4481338 w 6228216"/>
              <a:gd name="connsiteY4" fmla="*/ 4147888 h 5927335"/>
              <a:gd name="connsiteX5" fmla="*/ 4391670 w 6228216"/>
              <a:gd name="connsiteY5" fmla="*/ 3968895 h 5927335"/>
              <a:gd name="connsiteX6" fmla="*/ 194243 w 6228216"/>
              <a:gd name="connsiteY6" fmla="*/ 3968154 h 5927335"/>
              <a:gd name="connsiteX7" fmla="*/ 126914 w 6228216"/>
              <a:gd name="connsiteY7" fmla="*/ 3990835 h 5927335"/>
              <a:gd name="connsiteX8" fmla="*/ 199 w 6228216"/>
              <a:gd name="connsiteY8" fmla="*/ 3114000 h 5927335"/>
              <a:gd name="connsiteX0" fmla="*/ 199 w 6228216"/>
              <a:gd name="connsiteY0" fmla="*/ 3114000 h 5927335"/>
              <a:gd name="connsiteX1" fmla="*/ 3114199 w 6228216"/>
              <a:gd name="connsiteY1" fmla="*/ 0 h 5927335"/>
              <a:gd name="connsiteX2" fmla="*/ 6228199 w 6228216"/>
              <a:gd name="connsiteY2" fmla="*/ 3114000 h 5927335"/>
              <a:gd name="connsiteX3" fmla="*/ 4480207 w 6228216"/>
              <a:gd name="connsiteY3" fmla="*/ 5927335 h 5927335"/>
              <a:gd name="connsiteX4" fmla="*/ 4481338 w 6228216"/>
              <a:gd name="connsiteY4" fmla="*/ 4147888 h 5927335"/>
              <a:gd name="connsiteX5" fmla="*/ 4391670 w 6228216"/>
              <a:gd name="connsiteY5" fmla="*/ 3968895 h 5927335"/>
              <a:gd name="connsiteX6" fmla="*/ 194243 w 6228216"/>
              <a:gd name="connsiteY6" fmla="*/ 3968154 h 5927335"/>
              <a:gd name="connsiteX7" fmla="*/ 126914 w 6228216"/>
              <a:gd name="connsiteY7" fmla="*/ 3990835 h 5927335"/>
              <a:gd name="connsiteX8" fmla="*/ 199 w 6228216"/>
              <a:gd name="connsiteY8" fmla="*/ 3114000 h 5927335"/>
              <a:gd name="connsiteX0" fmla="*/ 199 w 6228216"/>
              <a:gd name="connsiteY0" fmla="*/ 3114000 h 5927335"/>
              <a:gd name="connsiteX1" fmla="*/ 3114199 w 6228216"/>
              <a:gd name="connsiteY1" fmla="*/ 0 h 5927335"/>
              <a:gd name="connsiteX2" fmla="*/ 6228199 w 6228216"/>
              <a:gd name="connsiteY2" fmla="*/ 3114000 h 5927335"/>
              <a:gd name="connsiteX3" fmla="*/ 4476649 w 6228216"/>
              <a:gd name="connsiteY3" fmla="*/ 5927335 h 5927335"/>
              <a:gd name="connsiteX4" fmla="*/ 4481338 w 6228216"/>
              <a:gd name="connsiteY4" fmla="*/ 4147888 h 5927335"/>
              <a:gd name="connsiteX5" fmla="*/ 4391670 w 6228216"/>
              <a:gd name="connsiteY5" fmla="*/ 3968895 h 5927335"/>
              <a:gd name="connsiteX6" fmla="*/ 194243 w 6228216"/>
              <a:gd name="connsiteY6" fmla="*/ 3968154 h 5927335"/>
              <a:gd name="connsiteX7" fmla="*/ 126914 w 6228216"/>
              <a:gd name="connsiteY7" fmla="*/ 3990835 h 5927335"/>
              <a:gd name="connsiteX8" fmla="*/ 199 w 6228216"/>
              <a:gd name="connsiteY8" fmla="*/ 3114000 h 5927335"/>
              <a:gd name="connsiteX0" fmla="*/ 199 w 6228217"/>
              <a:gd name="connsiteY0" fmla="*/ 3114000 h 5927335"/>
              <a:gd name="connsiteX1" fmla="*/ 3114199 w 6228217"/>
              <a:gd name="connsiteY1" fmla="*/ 0 h 5927335"/>
              <a:gd name="connsiteX2" fmla="*/ 6228199 w 6228217"/>
              <a:gd name="connsiteY2" fmla="*/ 3114000 h 5927335"/>
              <a:gd name="connsiteX3" fmla="*/ 4476649 w 6228217"/>
              <a:gd name="connsiteY3" fmla="*/ 5927335 h 5927335"/>
              <a:gd name="connsiteX4" fmla="*/ 4481338 w 6228217"/>
              <a:gd name="connsiteY4" fmla="*/ 4147888 h 5927335"/>
              <a:gd name="connsiteX5" fmla="*/ 4391670 w 6228217"/>
              <a:gd name="connsiteY5" fmla="*/ 3968895 h 5927335"/>
              <a:gd name="connsiteX6" fmla="*/ 194243 w 6228217"/>
              <a:gd name="connsiteY6" fmla="*/ 3968154 h 5927335"/>
              <a:gd name="connsiteX7" fmla="*/ 126914 w 6228217"/>
              <a:gd name="connsiteY7" fmla="*/ 3990835 h 5927335"/>
              <a:gd name="connsiteX8" fmla="*/ 199 w 6228217"/>
              <a:gd name="connsiteY8" fmla="*/ 3114000 h 5927335"/>
              <a:gd name="connsiteX0" fmla="*/ 199 w 6228217"/>
              <a:gd name="connsiteY0" fmla="*/ 3114000 h 5927335"/>
              <a:gd name="connsiteX1" fmla="*/ 3114199 w 6228217"/>
              <a:gd name="connsiteY1" fmla="*/ 0 h 5927335"/>
              <a:gd name="connsiteX2" fmla="*/ 6228199 w 6228217"/>
              <a:gd name="connsiteY2" fmla="*/ 3114000 h 5927335"/>
              <a:gd name="connsiteX3" fmla="*/ 4494439 w 6228217"/>
              <a:gd name="connsiteY3" fmla="*/ 5927335 h 5927335"/>
              <a:gd name="connsiteX4" fmla="*/ 4481338 w 6228217"/>
              <a:gd name="connsiteY4" fmla="*/ 4147888 h 5927335"/>
              <a:gd name="connsiteX5" fmla="*/ 4391670 w 6228217"/>
              <a:gd name="connsiteY5" fmla="*/ 3968895 h 5927335"/>
              <a:gd name="connsiteX6" fmla="*/ 194243 w 6228217"/>
              <a:gd name="connsiteY6" fmla="*/ 3968154 h 5927335"/>
              <a:gd name="connsiteX7" fmla="*/ 126914 w 6228217"/>
              <a:gd name="connsiteY7" fmla="*/ 3990835 h 5927335"/>
              <a:gd name="connsiteX8" fmla="*/ 199 w 6228217"/>
              <a:gd name="connsiteY8" fmla="*/ 3114000 h 5927335"/>
              <a:gd name="connsiteX0" fmla="*/ 199 w 6228217"/>
              <a:gd name="connsiteY0" fmla="*/ 3114000 h 5927335"/>
              <a:gd name="connsiteX1" fmla="*/ 3114199 w 6228217"/>
              <a:gd name="connsiteY1" fmla="*/ 0 h 5927335"/>
              <a:gd name="connsiteX2" fmla="*/ 6228199 w 6228217"/>
              <a:gd name="connsiteY2" fmla="*/ 3114000 h 5927335"/>
              <a:gd name="connsiteX3" fmla="*/ 4480207 w 6228217"/>
              <a:gd name="connsiteY3" fmla="*/ 5927335 h 5927335"/>
              <a:gd name="connsiteX4" fmla="*/ 4481338 w 6228217"/>
              <a:gd name="connsiteY4" fmla="*/ 4147888 h 5927335"/>
              <a:gd name="connsiteX5" fmla="*/ 4391670 w 6228217"/>
              <a:gd name="connsiteY5" fmla="*/ 3968895 h 5927335"/>
              <a:gd name="connsiteX6" fmla="*/ 194243 w 6228217"/>
              <a:gd name="connsiteY6" fmla="*/ 3968154 h 5927335"/>
              <a:gd name="connsiteX7" fmla="*/ 126914 w 6228217"/>
              <a:gd name="connsiteY7" fmla="*/ 3990835 h 5927335"/>
              <a:gd name="connsiteX8" fmla="*/ 199 w 6228217"/>
              <a:gd name="connsiteY8" fmla="*/ 3114000 h 5927335"/>
              <a:gd name="connsiteX0" fmla="*/ 199 w 6228217"/>
              <a:gd name="connsiteY0" fmla="*/ 3114000 h 5952241"/>
              <a:gd name="connsiteX1" fmla="*/ 3114199 w 6228217"/>
              <a:gd name="connsiteY1" fmla="*/ 0 h 5952241"/>
              <a:gd name="connsiteX2" fmla="*/ 6228199 w 6228217"/>
              <a:gd name="connsiteY2" fmla="*/ 3114000 h 5952241"/>
              <a:gd name="connsiteX3" fmla="*/ 4476649 w 6228217"/>
              <a:gd name="connsiteY3" fmla="*/ 5952241 h 5952241"/>
              <a:gd name="connsiteX4" fmla="*/ 4481338 w 6228217"/>
              <a:gd name="connsiteY4" fmla="*/ 4147888 h 5952241"/>
              <a:gd name="connsiteX5" fmla="*/ 4391670 w 6228217"/>
              <a:gd name="connsiteY5" fmla="*/ 3968895 h 5952241"/>
              <a:gd name="connsiteX6" fmla="*/ 194243 w 6228217"/>
              <a:gd name="connsiteY6" fmla="*/ 3968154 h 5952241"/>
              <a:gd name="connsiteX7" fmla="*/ 126914 w 6228217"/>
              <a:gd name="connsiteY7" fmla="*/ 3990835 h 5952241"/>
              <a:gd name="connsiteX8" fmla="*/ 199 w 6228217"/>
              <a:gd name="connsiteY8" fmla="*/ 3114000 h 5952241"/>
              <a:gd name="connsiteX0" fmla="*/ 199 w 6228216"/>
              <a:gd name="connsiteY0" fmla="*/ 3114000 h 5977146"/>
              <a:gd name="connsiteX1" fmla="*/ 3114199 w 6228216"/>
              <a:gd name="connsiteY1" fmla="*/ 0 h 5977146"/>
              <a:gd name="connsiteX2" fmla="*/ 6228199 w 6228216"/>
              <a:gd name="connsiteY2" fmla="*/ 3114000 h 5977146"/>
              <a:gd name="connsiteX3" fmla="*/ 4469533 w 6228216"/>
              <a:gd name="connsiteY3" fmla="*/ 5977146 h 5977146"/>
              <a:gd name="connsiteX4" fmla="*/ 4481338 w 6228216"/>
              <a:gd name="connsiteY4" fmla="*/ 4147888 h 5977146"/>
              <a:gd name="connsiteX5" fmla="*/ 4391670 w 6228216"/>
              <a:gd name="connsiteY5" fmla="*/ 3968895 h 5977146"/>
              <a:gd name="connsiteX6" fmla="*/ 194243 w 6228216"/>
              <a:gd name="connsiteY6" fmla="*/ 3968154 h 5977146"/>
              <a:gd name="connsiteX7" fmla="*/ 126914 w 6228216"/>
              <a:gd name="connsiteY7" fmla="*/ 3990835 h 5977146"/>
              <a:gd name="connsiteX8" fmla="*/ 199 w 6228216"/>
              <a:gd name="connsiteY8" fmla="*/ 3114000 h 5977146"/>
              <a:gd name="connsiteX0" fmla="*/ 199 w 6228216"/>
              <a:gd name="connsiteY0" fmla="*/ 3114000 h 5927335"/>
              <a:gd name="connsiteX1" fmla="*/ 3114199 w 6228216"/>
              <a:gd name="connsiteY1" fmla="*/ 0 h 5927335"/>
              <a:gd name="connsiteX2" fmla="*/ 6228199 w 6228216"/>
              <a:gd name="connsiteY2" fmla="*/ 3114000 h 5927335"/>
              <a:gd name="connsiteX3" fmla="*/ 4473091 w 6228216"/>
              <a:gd name="connsiteY3" fmla="*/ 5927335 h 5927335"/>
              <a:gd name="connsiteX4" fmla="*/ 4481338 w 6228216"/>
              <a:gd name="connsiteY4" fmla="*/ 4147888 h 5927335"/>
              <a:gd name="connsiteX5" fmla="*/ 4391670 w 6228216"/>
              <a:gd name="connsiteY5" fmla="*/ 3968895 h 5927335"/>
              <a:gd name="connsiteX6" fmla="*/ 194243 w 6228216"/>
              <a:gd name="connsiteY6" fmla="*/ 3968154 h 5927335"/>
              <a:gd name="connsiteX7" fmla="*/ 126914 w 6228216"/>
              <a:gd name="connsiteY7" fmla="*/ 3990835 h 5927335"/>
              <a:gd name="connsiteX8" fmla="*/ 199 w 6228216"/>
              <a:gd name="connsiteY8" fmla="*/ 3114000 h 5927335"/>
              <a:gd name="connsiteX0" fmla="*/ 199 w 6228216"/>
              <a:gd name="connsiteY0" fmla="*/ 3114000 h 5927335"/>
              <a:gd name="connsiteX1" fmla="*/ 3114199 w 6228216"/>
              <a:gd name="connsiteY1" fmla="*/ 0 h 5927335"/>
              <a:gd name="connsiteX2" fmla="*/ 6228199 w 6228216"/>
              <a:gd name="connsiteY2" fmla="*/ 3114000 h 5927335"/>
              <a:gd name="connsiteX3" fmla="*/ 4473091 w 6228216"/>
              <a:gd name="connsiteY3" fmla="*/ 5927335 h 5927335"/>
              <a:gd name="connsiteX4" fmla="*/ 4481338 w 6228216"/>
              <a:gd name="connsiteY4" fmla="*/ 4147888 h 5927335"/>
              <a:gd name="connsiteX5" fmla="*/ 4391670 w 6228216"/>
              <a:gd name="connsiteY5" fmla="*/ 3968895 h 5927335"/>
              <a:gd name="connsiteX6" fmla="*/ 194243 w 6228216"/>
              <a:gd name="connsiteY6" fmla="*/ 3968154 h 5927335"/>
              <a:gd name="connsiteX7" fmla="*/ 126914 w 6228216"/>
              <a:gd name="connsiteY7" fmla="*/ 3990835 h 5927335"/>
              <a:gd name="connsiteX8" fmla="*/ 199 w 6228216"/>
              <a:gd name="connsiteY8" fmla="*/ 3114000 h 5927335"/>
              <a:gd name="connsiteX0" fmla="*/ 199 w 6228215"/>
              <a:gd name="connsiteY0" fmla="*/ 3114000 h 5927335"/>
              <a:gd name="connsiteX1" fmla="*/ 3114199 w 6228215"/>
              <a:gd name="connsiteY1" fmla="*/ 0 h 5927335"/>
              <a:gd name="connsiteX2" fmla="*/ 6228199 w 6228215"/>
              <a:gd name="connsiteY2" fmla="*/ 3114000 h 5927335"/>
              <a:gd name="connsiteX3" fmla="*/ 4473091 w 6228215"/>
              <a:gd name="connsiteY3" fmla="*/ 5927335 h 5927335"/>
              <a:gd name="connsiteX4" fmla="*/ 4481338 w 6228215"/>
              <a:gd name="connsiteY4" fmla="*/ 4147888 h 5927335"/>
              <a:gd name="connsiteX5" fmla="*/ 4391670 w 6228215"/>
              <a:gd name="connsiteY5" fmla="*/ 3968895 h 5927335"/>
              <a:gd name="connsiteX6" fmla="*/ 194243 w 6228215"/>
              <a:gd name="connsiteY6" fmla="*/ 3968154 h 5927335"/>
              <a:gd name="connsiteX7" fmla="*/ 126914 w 6228215"/>
              <a:gd name="connsiteY7" fmla="*/ 3990835 h 5927335"/>
              <a:gd name="connsiteX8" fmla="*/ 199 w 6228215"/>
              <a:gd name="connsiteY8" fmla="*/ 3114000 h 5927335"/>
              <a:gd name="connsiteX0" fmla="*/ 199 w 6228216"/>
              <a:gd name="connsiteY0" fmla="*/ 3114000 h 5911748"/>
              <a:gd name="connsiteX1" fmla="*/ 3114199 w 6228216"/>
              <a:gd name="connsiteY1" fmla="*/ 0 h 5911748"/>
              <a:gd name="connsiteX2" fmla="*/ 6228199 w 6228216"/>
              <a:gd name="connsiteY2" fmla="*/ 3114000 h 5911748"/>
              <a:gd name="connsiteX3" fmla="*/ 4483482 w 6228216"/>
              <a:gd name="connsiteY3" fmla="*/ 5911748 h 5911748"/>
              <a:gd name="connsiteX4" fmla="*/ 4481338 w 6228216"/>
              <a:gd name="connsiteY4" fmla="*/ 4147888 h 5911748"/>
              <a:gd name="connsiteX5" fmla="*/ 4391670 w 6228216"/>
              <a:gd name="connsiteY5" fmla="*/ 3968895 h 5911748"/>
              <a:gd name="connsiteX6" fmla="*/ 194243 w 6228216"/>
              <a:gd name="connsiteY6" fmla="*/ 3968154 h 5911748"/>
              <a:gd name="connsiteX7" fmla="*/ 126914 w 6228216"/>
              <a:gd name="connsiteY7" fmla="*/ 3990835 h 5911748"/>
              <a:gd name="connsiteX8" fmla="*/ 199 w 6228216"/>
              <a:gd name="connsiteY8" fmla="*/ 3114000 h 5911748"/>
              <a:gd name="connsiteX0" fmla="*/ 199 w 6228216"/>
              <a:gd name="connsiteY0" fmla="*/ 3114000 h 5896162"/>
              <a:gd name="connsiteX1" fmla="*/ 3114199 w 6228216"/>
              <a:gd name="connsiteY1" fmla="*/ 0 h 5896162"/>
              <a:gd name="connsiteX2" fmla="*/ 6228199 w 6228216"/>
              <a:gd name="connsiteY2" fmla="*/ 3114000 h 5896162"/>
              <a:gd name="connsiteX3" fmla="*/ 4483482 w 6228216"/>
              <a:gd name="connsiteY3" fmla="*/ 5896162 h 5896162"/>
              <a:gd name="connsiteX4" fmla="*/ 4481338 w 6228216"/>
              <a:gd name="connsiteY4" fmla="*/ 4147888 h 5896162"/>
              <a:gd name="connsiteX5" fmla="*/ 4391670 w 6228216"/>
              <a:gd name="connsiteY5" fmla="*/ 3968895 h 5896162"/>
              <a:gd name="connsiteX6" fmla="*/ 194243 w 6228216"/>
              <a:gd name="connsiteY6" fmla="*/ 3968154 h 5896162"/>
              <a:gd name="connsiteX7" fmla="*/ 126914 w 6228216"/>
              <a:gd name="connsiteY7" fmla="*/ 3990835 h 5896162"/>
              <a:gd name="connsiteX8" fmla="*/ 199 w 6228216"/>
              <a:gd name="connsiteY8" fmla="*/ 3114000 h 5896162"/>
              <a:gd name="connsiteX0" fmla="*/ 199 w 6228216"/>
              <a:gd name="connsiteY0" fmla="*/ 3114000 h 5880575"/>
              <a:gd name="connsiteX1" fmla="*/ 3114199 w 6228216"/>
              <a:gd name="connsiteY1" fmla="*/ 0 h 5880575"/>
              <a:gd name="connsiteX2" fmla="*/ 6228199 w 6228216"/>
              <a:gd name="connsiteY2" fmla="*/ 3114000 h 5880575"/>
              <a:gd name="connsiteX3" fmla="*/ 4488677 w 6228216"/>
              <a:gd name="connsiteY3" fmla="*/ 5880575 h 5880575"/>
              <a:gd name="connsiteX4" fmla="*/ 4481338 w 6228216"/>
              <a:gd name="connsiteY4" fmla="*/ 4147888 h 5880575"/>
              <a:gd name="connsiteX5" fmla="*/ 4391670 w 6228216"/>
              <a:gd name="connsiteY5" fmla="*/ 3968895 h 5880575"/>
              <a:gd name="connsiteX6" fmla="*/ 194243 w 6228216"/>
              <a:gd name="connsiteY6" fmla="*/ 3968154 h 5880575"/>
              <a:gd name="connsiteX7" fmla="*/ 126914 w 6228216"/>
              <a:gd name="connsiteY7" fmla="*/ 3990835 h 5880575"/>
              <a:gd name="connsiteX8" fmla="*/ 199 w 6228216"/>
              <a:gd name="connsiteY8" fmla="*/ 3114000 h 5880575"/>
              <a:gd name="connsiteX0" fmla="*/ 199 w 6228216"/>
              <a:gd name="connsiteY0" fmla="*/ 3114000 h 5890966"/>
              <a:gd name="connsiteX1" fmla="*/ 3114199 w 6228216"/>
              <a:gd name="connsiteY1" fmla="*/ 0 h 5890966"/>
              <a:gd name="connsiteX2" fmla="*/ 6228199 w 6228216"/>
              <a:gd name="connsiteY2" fmla="*/ 3114000 h 5890966"/>
              <a:gd name="connsiteX3" fmla="*/ 4483481 w 6228216"/>
              <a:gd name="connsiteY3" fmla="*/ 5890966 h 5890966"/>
              <a:gd name="connsiteX4" fmla="*/ 4481338 w 6228216"/>
              <a:gd name="connsiteY4" fmla="*/ 4147888 h 5890966"/>
              <a:gd name="connsiteX5" fmla="*/ 4391670 w 6228216"/>
              <a:gd name="connsiteY5" fmla="*/ 3968895 h 5890966"/>
              <a:gd name="connsiteX6" fmla="*/ 194243 w 6228216"/>
              <a:gd name="connsiteY6" fmla="*/ 3968154 h 5890966"/>
              <a:gd name="connsiteX7" fmla="*/ 126914 w 6228216"/>
              <a:gd name="connsiteY7" fmla="*/ 3990835 h 5890966"/>
              <a:gd name="connsiteX8" fmla="*/ 199 w 6228216"/>
              <a:gd name="connsiteY8" fmla="*/ 3114000 h 5890966"/>
              <a:gd name="connsiteX0" fmla="*/ 207 w 6228224"/>
              <a:gd name="connsiteY0" fmla="*/ 3114000 h 5890966"/>
              <a:gd name="connsiteX1" fmla="*/ 3114207 w 6228224"/>
              <a:gd name="connsiteY1" fmla="*/ 0 h 5890966"/>
              <a:gd name="connsiteX2" fmla="*/ 6228207 w 6228224"/>
              <a:gd name="connsiteY2" fmla="*/ 3114000 h 5890966"/>
              <a:gd name="connsiteX3" fmla="*/ 4483489 w 6228224"/>
              <a:gd name="connsiteY3" fmla="*/ 5890966 h 5890966"/>
              <a:gd name="connsiteX4" fmla="*/ 4481346 w 6228224"/>
              <a:gd name="connsiteY4" fmla="*/ 4147888 h 5890966"/>
              <a:gd name="connsiteX5" fmla="*/ 4391678 w 6228224"/>
              <a:gd name="connsiteY5" fmla="*/ 3968895 h 5890966"/>
              <a:gd name="connsiteX6" fmla="*/ 194251 w 6228224"/>
              <a:gd name="connsiteY6" fmla="*/ 3968154 h 5890966"/>
              <a:gd name="connsiteX7" fmla="*/ 121726 w 6228224"/>
              <a:gd name="connsiteY7" fmla="*/ 3970053 h 5890966"/>
              <a:gd name="connsiteX8" fmla="*/ 207 w 6228224"/>
              <a:gd name="connsiteY8" fmla="*/ 3114000 h 5890966"/>
              <a:gd name="connsiteX0" fmla="*/ 207 w 6228224"/>
              <a:gd name="connsiteY0" fmla="*/ 3114000 h 5890966"/>
              <a:gd name="connsiteX1" fmla="*/ 3114207 w 6228224"/>
              <a:gd name="connsiteY1" fmla="*/ 0 h 5890966"/>
              <a:gd name="connsiteX2" fmla="*/ 6228207 w 6228224"/>
              <a:gd name="connsiteY2" fmla="*/ 3114000 h 5890966"/>
              <a:gd name="connsiteX3" fmla="*/ 4483489 w 6228224"/>
              <a:gd name="connsiteY3" fmla="*/ 5890966 h 5890966"/>
              <a:gd name="connsiteX4" fmla="*/ 4481346 w 6228224"/>
              <a:gd name="connsiteY4" fmla="*/ 4147888 h 5890966"/>
              <a:gd name="connsiteX5" fmla="*/ 4391678 w 6228224"/>
              <a:gd name="connsiteY5" fmla="*/ 3968895 h 5890966"/>
              <a:gd name="connsiteX6" fmla="*/ 199447 w 6228224"/>
              <a:gd name="connsiteY6" fmla="*/ 3947372 h 5890966"/>
              <a:gd name="connsiteX7" fmla="*/ 121726 w 6228224"/>
              <a:gd name="connsiteY7" fmla="*/ 3970053 h 5890966"/>
              <a:gd name="connsiteX8" fmla="*/ 207 w 6228224"/>
              <a:gd name="connsiteY8" fmla="*/ 3114000 h 5890966"/>
              <a:gd name="connsiteX0" fmla="*/ 207 w 6228224"/>
              <a:gd name="connsiteY0" fmla="*/ 3114000 h 5890966"/>
              <a:gd name="connsiteX1" fmla="*/ 3114207 w 6228224"/>
              <a:gd name="connsiteY1" fmla="*/ 0 h 5890966"/>
              <a:gd name="connsiteX2" fmla="*/ 6228207 w 6228224"/>
              <a:gd name="connsiteY2" fmla="*/ 3114000 h 5890966"/>
              <a:gd name="connsiteX3" fmla="*/ 4483489 w 6228224"/>
              <a:gd name="connsiteY3" fmla="*/ 5890966 h 5890966"/>
              <a:gd name="connsiteX4" fmla="*/ 4481346 w 6228224"/>
              <a:gd name="connsiteY4" fmla="*/ 4147888 h 5890966"/>
              <a:gd name="connsiteX5" fmla="*/ 4370896 w 6228224"/>
              <a:gd name="connsiteY5" fmla="*/ 3953309 h 5890966"/>
              <a:gd name="connsiteX6" fmla="*/ 199447 w 6228224"/>
              <a:gd name="connsiteY6" fmla="*/ 3947372 h 5890966"/>
              <a:gd name="connsiteX7" fmla="*/ 121726 w 6228224"/>
              <a:gd name="connsiteY7" fmla="*/ 3970053 h 5890966"/>
              <a:gd name="connsiteX8" fmla="*/ 207 w 6228224"/>
              <a:gd name="connsiteY8" fmla="*/ 3114000 h 5890966"/>
              <a:gd name="connsiteX0" fmla="*/ 207 w 6228224"/>
              <a:gd name="connsiteY0" fmla="*/ 3114000 h 5890966"/>
              <a:gd name="connsiteX1" fmla="*/ 3114207 w 6228224"/>
              <a:gd name="connsiteY1" fmla="*/ 0 h 5890966"/>
              <a:gd name="connsiteX2" fmla="*/ 6228207 w 6228224"/>
              <a:gd name="connsiteY2" fmla="*/ 3114000 h 5890966"/>
              <a:gd name="connsiteX3" fmla="*/ 4483489 w 6228224"/>
              <a:gd name="connsiteY3" fmla="*/ 5890966 h 5890966"/>
              <a:gd name="connsiteX4" fmla="*/ 4481346 w 6228224"/>
              <a:gd name="connsiteY4" fmla="*/ 4147888 h 5890966"/>
              <a:gd name="connsiteX5" fmla="*/ 4370896 w 6228224"/>
              <a:gd name="connsiteY5" fmla="*/ 3953309 h 5890966"/>
              <a:gd name="connsiteX6" fmla="*/ 199447 w 6228224"/>
              <a:gd name="connsiteY6" fmla="*/ 3947372 h 5890966"/>
              <a:gd name="connsiteX7" fmla="*/ 121726 w 6228224"/>
              <a:gd name="connsiteY7" fmla="*/ 3970053 h 5890966"/>
              <a:gd name="connsiteX8" fmla="*/ 207 w 6228224"/>
              <a:gd name="connsiteY8" fmla="*/ 3114000 h 5890966"/>
              <a:gd name="connsiteX0" fmla="*/ 207 w 6228224"/>
              <a:gd name="connsiteY0" fmla="*/ 3114000 h 5890966"/>
              <a:gd name="connsiteX1" fmla="*/ 3114207 w 6228224"/>
              <a:gd name="connsiteY1" fmla="*/ 0 h 5890966"/>
              <a:gd name="connsiteX2" fmla="*/ 6228207 w 6228224"/>
              <a:gd name="connsiteY2" fmla="*/ 3114000 h 5890966"/>
              <a:gd name="connsiteX3" fmla="*/ 4483489 w 6228224"/>
              <a:gd name="connsiteY3" fmla="*/ 5890966 h 5890966"/>
              <a:gd name="connsiteX4" fmla="*/ 4481346 w 6228224"/>
              <a:gd name="connsiteY4" fmla="*/ 4147888 h 5890966"/>
              <a:gd name="connsiteX5" fmla="*/ 4370896 w 6228224"/>
              <a:gd name="connsiteY5" fmla="*/ 3953309 h 5890966"/>
              <a:gd name="connsiteX6" fmla="*/ 199447 w 6228224"/>
              <a:gd name="connsiteY6" fmla="*/ 3947372 h 5890966"/>
              <a:gd name="connsiteX7" fmla="*/ 121726 w 6228224"/>
              <a:gd name="connsiteY7" fmla="*/ 3970053 h 5890966"/>
              <a:gd name="connsiteX8" fmla="*/ 207 w 6228224"/>
              <a:gd name="connsiteY8" fmla="*/ 3114000 h 5890966"/>
              <a:gd name="connsiteX0" fmla="*/ 207 w 6228224"/>
              <a:gd name="connsiteY0" fmla="*/ 3114000 h 5890966"/>
              <a:gd name="connsiteX1" fmla="*/ 3114207 w 6228224"/>
              <a:gd name="connsiteY1" fmla="*/ 0 h 5890966"/>
              <a:gd name="connsiteX2" fmla="*/ 6228207 w 6228224"/>
              <a:gd name="connsiteY2" fmla="*/ 3114000 h 5890966"/>
              <a:gd name="connsiteX3" fmla="*/ 4483489 w 6228224"/>
              <a:gd name="connsiteY3" fmla="*/ 5890966 h 5890966"/>
              <a:gd name="connsiteX4" fmla="*/ 4481346 w 6228224"/>
              <a:gd name="connsiteY4" fmla="*/ 4147888 h 5890966"/>
              <a:gd name="connsiteX5" fmla="*/ 4370896 w 6228224"/>
              <a:gd name="connsiteY5" fmla="*/ 3953309 h 5890966"/>
              <a:gd name="connsiteX6" fmla="*/ 213232 w 6228224"/>
              <a:gd name="connsiteY6" fmla="*/ 3947372 h 5890966"/>
              <a:gd name="connsiteX7" fmla="*/ 121726 w 6228224"/>
              <a:gd name="connsiteY7" fmla="*/ 3970053 h 5890966"/>
              <a:gd name="connsiteX8" fmla="*/ 207 w 6228224"/>
              <a:gd name="connsiteY8" fmla="*/ 3114000 h 5890966"/>
              <a:gd name="connsiteX0" fmla="*/ 207 w 6228224"/>
              <a:gd name="connsiteY0" fmla="*/ 3114000 h 5890966"/>
              <a:gd name="connsiteX1" fmla="*/ 3114207 w 6228224"/>
              <a:gd name="connsiteY1" fmla="*/ 0 h 5890966"/>
              <a:gd name="connsiteX2" fmla="*/ 6228207 w 6228224"/>
              <a:gd name="connsiteY2" fmla="*/ 3114000 h 5890966"/>
              <a:gd name="connsiteX3" fmla="*/ 4483489 w 6228224"/>
              <a:gd name="connsiteY3" fmla="*/ 5890966 h 5890966"/>
              <a:gd name="connsiteX4" fmla="*/ 4481346 w 6228224"/>
              <a:gd name="connsiteY4" fmla="*/ 4147888 h 5890966"/>
              <a:gd name="connsiteX5" fmla="*/ 4370896 w 6228224"/>
              <a:gd name="connsiteY5" fmla="*/ 3953309 h 5890966"/>
              <a:gd name="connsiteX6" fmla="*/ 213232 w 6228224"/>
              <a:gd name="connsiteY6" fmla="*/ 3947372 h 5890966"/>
              <a:gd name="connsiteX7" fmla="*/ 121726 w 6228224"/>
              <a:gd name="connsiteY7" fmla="*/ 3970053 h 5890966"/>
              <a:gd name="connsiteX8" fmla="*/ 207 w 6228224"/>
              <a:gd name="connsiteY8" fmla="*/ 3114000 h 5890966"/>
              <a:gd name="connsiteX0" fmla="*/ 207 w 6228224"/>
              <a:gd name="connsiteY0" fmla="*/ 3114000 h 5890966"/>
              <a:gd name="connsiteX1" fmla="*/ 3114207 w 6228224"/>
              <a:gd name="connsiteY1" fmla="*/ 0 h 5890966"/>
              <a:gd name="connsiteX2" fmla="*/ 6228207 w 6228224"/>
              <a:gd name="connsiteY2" fmla="*/ 3114000 h 5890966"/>
              <a:gd name="connsiteX3" fmla="*/ 4483489 w 6228224"/>
              <a:gd name="connsiteY3" fmla="*/ 5890966 h 5890966"/>
              <a:gd name="connsiteX4" fmla="*/ 4481346 w 6228224"/>
              <a:gd name="connsiteY4" fmla="*/ 4147888 h 5890966"/>
              <a:gd name="connsiteX5" fmla="*/ 4370896 w 6228224"/>
              <a:gd name="connsiteY5" fmla="*/ 3953309 h 5890966"/>
              <a:gd name="connsiteX6" fmla="*/ 227017 w 6228224"/>
              <a:gd name="connsiteY6" fmla="*/ 3938182 h 5890966"/>
              <a:gd name="connsiteX7" fmla="*/ 121726 w 6228224"/>
              <a:gd name="connsiteY7" fmla="*/ 3970053 h 5890966"/>
              <a:gd name="connsiteX8" fmla="*/ 207 w 6228224"/>
              <a:gd name="connsiteY8" fmla="*/ 3114000 h 5890966"/>
              <a:gd name="connsiteX0" fmla="*/ 207 w 6228224"/>
              <a:gd name="connsiteY0" fmla="*/ 3114000 h 5890966"/>
              <a:gd name="connsiteX1" fmla="*/ 3114207 w 6228224"/>
              <a:gd name="connsiteY1" fmla="*/ 0 h 5890966"/>
              <a:gd name="connsiteX2" fmla="*/ 6228207 w 6228224"/>
              <a:gd name="connsiteY2" fmla="*/ 3114000 h 5890966"/>
              <a:gd name="connsiteX3" fmla="*/ 4483489 w 6228224"/>
              <a:gd name="connsiteY3" fmla="*/ 5890966 h 5890966"/>
              <a:gd name="connsiteX4" fmla="*/ 4481346 w 6228224"/>
              <a:gd name="connsiteY4" fmla="*/ 4147888 h 5890966"/>
              <a:gd name="connsiteX5" fmla="*/ 4370896 w 6228224"/>
              <a:gd name="connsiteY5" fmla="*/ 3953309 h 5890966"/>
              <a:gd name="connsiteX6" fmla="*/ 227017 w 6228224"/>
              <a:gd name="connsiteY6" fmla="*/ 3938182 h 5890966"/>
              <a:gd name="connsiteX7" fmla="*/ 121726 w 6228224"/>
              <a:gd name="connsiteY7" fmla="*/ 3965458 h 5890966"/>
              <a:gd name="connsiteX8" fmla="*/ 207 w 6228224"/>
              <a:gd name="connsiteY8" fmla="*/ 3114000 h 5890966"/>
              <a:gd name="connsiteX0" fmla="*/ 207 w 6228224"/>
              <a:gd name="connsiteY0" fmla="*/ 3114000 h 5890966"/>
              <a:gd name="connsiteX1" fmla="*/ 3114207 w 6228224"/>
              <a:gd name="connsiteY1" fmla="*/ 0 h 5890966"/>
              <a:gd name="connsiteX2" fmla="*/ 6228207 w 6228224"/>
              <a:gd name="connsiteY2" fmla="*/ 3114000 h 5890966"/>
              <a:gd name="connsiteX3" fmla="*/ 4483489 w 6228224"/>
              <a:gd name="connsiteY3" fmla="*/ 5890966 h 5890966"/>
              <a:gd name="connsiteX4" fmla="*/ 4481346 w 6228224"/>
              <a:gd name="connsiteY4" fmla="*/ 4147888 h 5890966"/>
              <a:gd name="connsiteX5" fmla="*/ 4370896 w 6228224"/>
              <a:gd name="connsiteY5" fmla="*/ 3953309 h 5890966"/>
              <a:gd name="connsiteX6" fmla="*/ 227017 w 6228224"/>
              <a:gd name="connsiteY6" fmla="*/ 3938182 h 5890966"/>
              <a:gd name="connsiteX7" fmla="*/ 121726 w 6228224"/>
              <a:gd name="connsiteY7" fmla="*/ 3965458 h 5890966"/>
              <a:gd name="connsiteX8" fmla="*/ 207 w 6228224"/>
              <a:gd name="connsiteY8" fmla="*/ 3114000 h 5890966"/>
              <a:gd name="connsiteX0" fmla="*/ 214 w 6228231"/>
              <a:gd name="connsiteY0" fmla="*/ 3114000 h 5890966"/>
              <a:gd name="connsiteX1" fmla="*/ 3114214 w 6228231"/>
              <a:gd name="connsiteY1" fmla="*/ 0 h 5890966"/>
              <a:gd name="connsiteX2" fmla="*/ 6228214 w 6228231"/>
              <a:gd name="connsiteY2" fmla="*/ 3114000 h 5890966"/>
              <a:gd name="connsiteX3" fmla="*/ 4483496 w 6228231"/>
              <a:gd name="connsiteY3" fmla="*/ 5890966 h 5890966"/>
              <a:gd name="connsiteX4" fmla="*/ 4481353 w 6228231"/>
              <a:gd name="connsiteY4" fmla="*/ 4147888 h 5890966"/>
              <a:gd name="connsiteX5" fmla="*/ 4370903 w 6228231"/>
              <a:gd name="connsiteY5" fmla="*/ 3953309 h 5890966"/>
              <a:gd name="connsiteX6" fmla="*/ 227024 w 6228231"/>
              <a:gd name="connsiteY6" fmla="*/ 3938182 h 5890966"/>
              <a:gd name="connsiteX7" fmla="*/ 117138 w 6228231"/>
              <a:gd name="connsiteY7" fmla="*/ 3956268 h 5890966"/>
              <a:gd name="connsiteX8" fmla="*/ 214 w 6228231"/>
              <a:gd name="connsiteY8" fmla="*/ 3114000 h 58909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228231" h="5890966">
                <a:moveTo>
                  <a:pt x="214" y="3114000"/>
                </a:moveTo>
                <a:cubicBezTo>
                  <a:pt x="-4330" y="1411998"/>
                  <a:pt x="1394399" y="0"/>
                  <a:pt x="3114214" y="0"/>
                </a:cubicBezTo>
                <a:cubicBezTo>
                  <a:pt x="4834029" y="0"/>
                  <a:pt x="6228009" y="1324528"/>
                  <a:pt x="6228214" y="3114000"/>
                </a:cubicBezTo>
                <a:cubicBezTo>
                  <a:pt x="6232591" y="4448745"/>
                  <a:pt x="5391347" y="5466913"/>
                  <a:pt x="4483496" y="5890966"/>
                </a:cubicBezTo>
                <a:cubicBezTo>
                  <a:pt x="4470286" y="5884723"/>
                  <a:pt x="4490830" y="4173263"/>
                  <a:pt x="4481353" y="4147888"/>
                </a:cubicBezTo>
                <a:cubicBezTo>
                  <a:pt x="4476337" y="4153536"/>
                  <a:pt x="4500847" y="3989338"/>
                  <a:pt x="4370903" y="3953309"/>
                </a:cubicBezTo>
                <a:lnTo>
                  <a:pt x="227024" y="3938182"/>
                </a:lnTo>
                <a:cubicBezTo>
                  <a:pt x="229896" y="3935584"/>
                  <a:pt x="121453" y="3950046"/>
                  <a:pt x="117138" y="3956268"/>
                </a:cubicBezTo>
                <a:cubicBezTo>
                  <a:pt x="115621" y="3943562"/>
                  <a:pt x="-5779" y="3527224"/>
                  <a:pt x="214" y="3114000"/>
                </a:cubicBezTo>
                <a:close/>
              </a:path>
            </a:pathLst>
          </a:custGeom>
        </p:spPr>
        <p:txBody>
          <a:bodyPr/>
          <a:lstStyle>
            <a:lvl1pPr algn="ctr">
              <a:defRPr sz="1400" b="0">
                <a:solidFill>
                  <a:schemeClr val="bg1"/>
                </a:solidFill>
              </a:defRPr>
            </a:lvl1pPr>
          </a:lstStyle>
          <a:p>
            <a:endParaRPr lang="pt-BR"/>
          </a:p>
          <a:p>
            <a:r>
              <a:rPr lang="pt-BR"/>
              <a:t>Imagem</a:t>
            </a:r>
            <a:br>
              <a:rPr lang="pt-BR"/>
            </a:br>
            <a:r>
              <a:rPr lang="pt-BR"/>
              <a:t>(opcional)</a:t>
            </a:r>
          </a:p>
        </p:txBody>
      </p:sp>
      <p:sp>
        <p:nvSpPr>
          <p:cNvPr id="45" name="Espaço Reservado para Texto 44">
            <a:extLst>
              <a:ext uri="{FF2B5EF4-FFF2-40B4-BE49-F238E27FC236}">
                <a16:creationId xmlns:a16="http://schemas.microsoft.com/office/drawing/2014/main" id="{06E30179-074A-9B58-6298-46634017239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7238366" y="1329766"/>
            <a:ext cx="3385184" cy="1534684"/>
          </a:xfrm>
        </p:spPr>
        <p:txBody>
          <a:bodyPr>
            <a:noAutofit/>
          </a:bodyPr>
          <a:lstStyle>
            <a:lvl1pPr>
              <a:lnSpc>
                <a:spcPct val="120000"/>
              </a:lnSpc>
              <a:defRPr lang="pt-BR" sz="1200" b="0" i="0" u="none" strike="noStrike" kern="1200" cap="none" dirty="0" smtClean="0">
                <a:solidFill>
                  <a:schemeClr val="bg1"/>
                </a:solidFill>
                <a:latin typeface="+mn-lt"/>
                <a:ea typeface="Times New Roman" panose="02020603050405020304" pitchFamily="18" charset="0"/>
                <a:cs typeface="Arial"/>
                <a:sym typeface="Arial"/>
              </a:defRPr>
            </a:lvl1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7" name="Freeform: Shape 24">
            <a:extLst>
              <a:ext uri="{FF2B5EF4-FFF2-40B4-BE49-F238E27FC236}">
                <a16:creationId xmlns:a16="http://schemas.microsoft.com/office/drawing/2014/main" id="{FD415740-21AF-903C-1A5A-37F7E5CC6A3C}"/>
              </a:ext>
            </a:extLst>
          </p:cNvPr>
          <p:cNvSpPr/>
          <p:nvPr userDrawn="1"/>
        </p:nvSpPr>
        <p:spPr>
          <a:xfrm>
            <a:off x="2" y="3886414"/>
            <a:ext cx="2848573" cy="2965721"/>
          </a:xfrm>
          <a:custGeom>
            <a:avLst/>
            <a:gdLst>
              <a:gd name="connsiteX0" fmla="*/ 1162912 w 2848573"/>
              <a:gd name="connsiteY0" fmla="*/ 0 h 2965721"/>
              <a:gd name="connsiteX1" fmla="*/ 2848573 w 2848573"/>
              <a:gd name="connsiteY1" fmla="*/ 1685661 h 2965721"/>
              <a:gd name="connsiteX2" fmla="*/ 2354855 w 2848573"/>
              <a:gd name="connsiteY2" fmla="*/ 2877604 h 2965721"/>
              <a:gd name="connsiteX3" fmla="*/ 2257901 w 2848573"/>
              <a:gd name="connsiteY3" fmla="*/ 2965721 h 2965721"/>
              <a:gd name="connsiteX4" fmla="*/ 67924 w 2848573"/>
              <a:gd name="connsiteY4" fmla="*/ 2965721 h 2965721"/>
              <a:gd name="connsiteX5" fmla="*/ 0 w 2848573"/>
              <a:gd name="connsiteY5" fmla="*/ 2903988 h 2965721"/>
              <a:gd name="connsiteX6" fmla="*/ 0 w 2848573"/>
              <a:gd name="connsiteY6" fmla="*/ 467334 h 2965721"/>
              <a:gd name="connsiteX7" fmla="*/ 90675 w 2848573"/>
              <a:gd name="connsiteY7" fmla="*/ 384923 h 2965721"/>
              <a:gd name="connsiteX8" fmla="*/ 1162912 w 2848573"/>
              <a:gd name="connsiteY8" fmla="*/ 0 h 29657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848573" h="2965721">
                <a:moveTo>
                  <a:pt x="1162912" y="0"/>
                </a:moveTo>
                <a:cubicBezTo>
                  <a:pt x="2093877" y="0"/>
                  <a:pt x="2848573" y="754696"/>
                  <a:pt x="2848573" y="1685661"/>
                </a:cubicBezTo>
                <a:cubicBezTo>
                  <a:pt x="2848573" y="2151144"/>
                  <a:pt x="2659899" y="2572559"/>
                  <a:pt x="2354855" y="2877604"/>
                </a:cubicBezTo>
                <a:lnTo>
                  <a:pt x="2257901" y="2965721"/>
                </a:lnTo>
                <a:lnTo>
                  <a:pt x="67924" y="2965721"/>
                </a:lnTo>
                <a:lnTo>
                  <a:pt x="0" y="2903988"/>
                </a:lnTo>
                <a:lnTo>
                  <a:pt x="0" y="467334"/>
                </a:lnTo>
                <a:lnTo>
                  <a:pt x="90675" y="384923"/>
                </a:lnTo>
                <a:cubicBezTo>
                  <a:pt x="382057" y="144454"/>
                  <a:pt x="755615" y="0"/>
                  <a:pt x="1162912" y="0"/>
                </a:cubicBezTo>
                <a:close/>
              </a:path>
            </a:pathLst>
          </a:custGeom>
          <a:solidFill>
            <a:schemeClr val="accent2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 sz="1351"/>
          </a:p>
        </p:txBody>
      </p:sp>
      <p:sp>
        <p:nvSpPr>
          <p:cNvPr id="28" name="Espaço Reservado para Imagem 27">
            <a:extLst>
              <a:ext uri="{FF2B5EF4-FFF2-40B4-BE49-F238E27FC236}">
                <a16:creationId xmlns:a16="http://schemas.microsoft.com/office/drawing/2014/main" id="{548B2331-2676-10C2-7E01-D10F6FB4AAA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481687" y="995363"/>
            <a:ext cx="793750" cy="793750"/>
          </a:xfrm>
        </p:spPr>
        <p:txBody>
          <a:bodyPr>
            <a:normAutofit/>
          </a:bodyPr>
          <a:lstStyle>
            <a:lvl1pPr algn="ctr">
              <a:defRPr sz="1400">
                <a:solidFill>
                  <a:schemeClr val="tx1"/>
                </a:solidFill>
              </a:defRPr>
            </a:lvl1pPr>
          </a:lstStyle>
          <a:p>
            <a:r>
              <a:rPr lang="pt-BR"/>
              <a:t>Ícone</a:t>
            </a:r>
          </a:p>
        </p:txBody>
      </p:sp>
      <p:sp>
        <p:nvSpPr>
          <p:cNvPr id="38" name="Título">
            <a:extLst>
              <a:ext uri="{FF2B5EF4-FFF2-40B4-BE49-F238E27FC236}">
                <a16:creationId xmlns:a16="http://schemas.microsoft.com/office/drawing/2014/main" id="{ADB15B2B-2001-9E64-8B66-5FAC0E2E52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23244" y="1270707"/>
            <a:ext cx="4158456" cy="1281113"/>
          </a:xfrm>
        </p:spPr>
        <p:txBody>
          <a:bodyPr>
            <a:noAutofit/>
          </a:bodyPr>
          <a:lstStyle>
            <a:lvl1pPr marR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pt-BR" sz="3600" b="1" i="0" u="none" strike="noStrike" cap="none" spc="-100" dirty="0">
                <a:solidFill>
                  <a:schemeClr val="accent1"/>
                </a:solidFill>
                <a:latin typeface="+mj-lt"/>
                <a:ea typeface="Arial"/>
                <a:cs typeface="Arial"/>
                <a:sym typeface="Arial"/>
              </a:defRPr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40" name="Espaço Reservado para Texto 39">
            <a:extLst>
              <a:ext uri="{FF2B5EF4-FFF2-40B4-BE49-F238E27FC236}">
                <a16:creationId xmlns:a16="http://schemas.microsoft.com/office/drawing/2014/main" id="{A1760A25-CD4E-1960-08EE-258535BF939F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1823244" y="926629"/>
            <a:ext cx="4180096" cy="323211"/>
          </a:xfrm>
        </p:spPr>
        <p:txBody>
          <a:bodyPr lIns="126000">
            <a:noAutofit/>
          </a:bodyPr>
          <a:lstStyle>
            <a:lvl1pPr>
              <a:defRPr lang="pt-BR" sz="1100" b="0" i="0" u="none" strike="noStrike" kern="1200" cap="all" spc="100" baseline="0" dirty="0" smtClean="0">
                <a:solidFill>
                  <a:schemeClr val="tx2"/>
                </a:solidFill>
                <a:latin typeface="+mn-lt"/>
                <a:ea typeface="Times New Roman" panose="02020603050405020304" pitchFamily="18" charset="0"/>
                <a:cs typeface="Arial"/>
                <a:sym typeface="Arial"/>
              </a:defRPr>
            </a:lvl1pPr>
          </a:lstStyle>
          <a:p>
            <a:pPr lvl="0"/>
            <a:r>
              <a:rPr lang="pt-BR"/>
              <a:t>Clique para editar os estilos</a:t>
            </a:r>
          </a:p>
        </p:txBody>
      </p:sp>
      <p:sp>
        <p:nvSpPr>
          <p:cNvPr id="8" name="Rectangle: Rounded Corners 9">
            <a:extLst>
              <a:ext uri="{FF2B5EF4-FFF2-40B4-BE49-F238E27FC236}">
                <a16:creationId xmlns:a16="http://schemas.microsoft.com/office/drawing/2014/main" id="{19FBD3DF-538E-7884-58FD-04DC57DB7E80}"/>
              </a:ext>
            </a:extLst>
          </p:cNvPr>
          <p:cNvSpPr/>
          <p:nvPr userDrawn="1"/>
        </p:nvSpPr>
        <p:spPr>
          <a:xfrm>
            <a:off x="1568450" y="3571620"/>
            <a:ext cx="4434893" cy="2405063"/>
          </a:xfrm>
          <a:prstGeom prst="roundRect">
            <a:avLst>
              <a:gd name="adj" fmla="val 6259"/>
            </a:avLst>
          </a:prstGeom>
          <a:solidFill>
            <a:schemeClr val="bg1"/>
          </a:solidFill>
          <a:ln>
            <a:noFill/>
          </a:ln>
          <a:effectLst>
            <a:outerShdw blurRad="177800" dist="38100" dir="8100000" algn="tr" rotWithShape="0">
              <a:prstClr val="black">
                <a:alpha val="2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sz="1351"/>
          </a:p>
        </p:txBody>
      </p:sp>
      <p:sp>
        <p:nvSpPr>
          <p:cNvPr id="9" name="Rectangle: Rounded Corners 10">
            <a:extLst>
              <a:ext uri="{FF2B5EF4-FFF2-40B4-BE49-F238E27FC236}">
                <a16:creationId xmlns:a16="http://schemas.microsoft.com/office/drawing/2014/main" id="{AE95629A-85FB-D0D9-6F6F-A142203545A5}"/>
              </a:ext>
            </a:extLst>
          </p:cNvPr>
          <p:cNvSpPr/>
          <p:nvPr userDrawn="1"/>
        </p:nvSpPr>
        <p:spPr>
          <a:xfrm>
            <a:off x="6222183" y="3545643"/>
            <a:ext cx="4435200" cy="2431040"/>
          </a:xfrm>
          <a:custGeom>
            <a:avLst/>
            <a:gdLst>
              <a:gd name="connsiteX0" fmla="*/ 0 w 4435200"/>
              <a:gd name="connsiteY0" fmla="*/ 150533 h 2405063"/>
              <a:gd name="connsiteX1" fmla="*/ 150533 w 4435200"/>
              <a:gd name="connsiteY1" fmla="*/ 0 h 2405063"/>
              <a:gd name="connsiteX2" fmla="*/ 4284667 w 4435200"/>
              <a:gd name="connsiteY2" fmla="*/ 0 h 2405063"/>
              <a:gd name="connsiteX3" fmla="*/ 4435200 w 4435200"/>
              <a:gd name="connsiteY3" fmla="*/ 150533 h 2405063"/>
              <a:gd name="connsiteX4" fmla="*/ 4435200 w 4435200"/>
              <a:gd name="connsiteY4" fmla="*/ 2254530 h 2405063"/>
              <a:gd name="connsiteX5" fmla="*/ 4284667 w 4435200"/>
              <a:gd name="connsiteY5" fmla="*/ 2405063 h 2405063"/>
              <a:gd name="connsiteX6" fmla="*/ 150533 w 4435200"/>
              <a:gd name="connsiteY6" fmla="*/ 2405063 h 2405063"/>
              <a:gd name="connsiteX7" fmla="*/ 0 w 4435200"/>
              <a:gd name="connsiteY7" fmla="*/ 2254530 h 2405063"/>
              <a:gd name="connsiteX8" fmla="*/ 0 w 4435200"/>
              <a:gd name="connsiteY8" fmla="*/ 150533 h 2405063"/>
              <a:gd name="connsiteX0" fmla="*/ 0 w 4435200"/>
              <a:gd name="connsiteY0" fmla="*/ 150533 h 2405063"/>
              <a:gd name="connsiteX1" fmla="*/ 150533 w 4435200"/>
              <a:gd name="connsiteY1" fmla="*/ 0 h 2405063"/>
              <a:gd name="connsiteX2" fmla="*/ 4279472 w 4435200"/>
              <a:gd name="connsiteY2" fmla="*/ 0 h 2405063"/>
              <a:gd name="connsiteX3" fmla="*/ 4435200 w 4435200"/>
              <a:gd name="connsiteY3" fmla="*/ 150533 h 2405063"/>
              <a:gd name="connsiteX4" fmla="*/ 4435200 w 4435200"/>
              <a:gd name="connsiteY4" fmla="*/ 2254530 h 2405063"/>
              <a:gd name="connsiteX5" fmla="*/ 4284667 w 4435200"/>
              <a:gd name="connsiteY5" fmla="*/ 2405063 h 2405063"/>
              <a:gd name="connsiteX6" fmla="*/ 150533 w 4435200"/>
              <a:gd name="connsiteY6" fmla="*/ 2405063 h 2405063"/>
              <a:gd name="connsiteX7" fmla="*/ 0 w 4435200"/>
              <a:gd name="connsiteY7" fmla="*/ 2254530 h 2405063"/>
              <a:gd name="connsiteX8" fmla="*/ 0 w 4435200"/>
              <a:gd name="connsiteY8" fmla="*/ 150533 h 2405063"/>
              <a:gd name="connsiteX0" fmla="*/ 0 w 4435200"/>
              <a:gd name="connsiteY0" fmla="*/ 150533 h 2405063"/>
              <a:gd name="connsiteX1" fmla="*/ 150533 w 4435200"/>
              <a:gd name="connsiteY1" fmla="*/ 0 h 2405063"/>
              <a:gd name="connsiteX2" fmla="*/ 4253494 w 4435200"/>
              <a:gd name="connsiteY2" fmla="*/ 10391 h 2405063"/>
              <a:gd name="connsiteX3" fmla="*/ 4435200 w 4435200"/>
              <a:gd name="connsiteY3" fmla="*/ 150533 h 2405063"/>
              <a:gd name="connsiteX4" fmla="*/ 4435200 w 4435200"/>
              <a:gd name="connsiteY4" fmla="*/ 2254530 h 2405063"/>
              <a:gd name="connsiteX5" fmla="*/ 4284667 w 4435200"/>
              <a:gd name="connsiteY5" fmla="*/ 2405063 h 2405063"/>
              <a:gd name="connsiteX6" fmla="*/ 150533 w 4435200"/>
              <a:gd name="connsiteY6" fmla="*/ 2405063 h 2405063"/>
              <a:gd name="connsiteX7" fmla="*/ 0 w 4435200"/>
              <a:gd name="connsiteY7" fmla="*/ 2254530 h 2405063"/>
              <a:gd name="connsiteX8" fmla="*/ 0 w 4435200"/>
              <a:gd name="connsiteY8" fmla="*/ 150533 h 2405063"/>
              <a:gd name="connsiteX0" fmla="*/ 0 w 4435200"/>
              <a:gd name="connsiteY0" fmla="*/ 150533 h 2405063"/>
              <a:gd name="connsiteX1" fmla="*/ 150533 w 4435200"/>
              <a:gd name="connsiteY1" fmla="*/ 0 h 2405063"/>
              <a:gd name="connsiteX2" fmla="*/ 4295058 w 4435200"/>
              <a:gd name="connsiteY2" fmla="*/ 5195 h 2405063"/>
              <a:gd name="connsiteX3" fmla="*/ 4435200 w 4435200"/>
              <a:gd name="connsiteY3" fmla="*/ 150533 h 2405063"/>
              <a:gd name="connsiteX4" fmla="*/ 4435200 w 4435200"/>
              <a:gd name="connsiteY4" fmla="*/ 2254530 h 2405063"/>
              <a:gd name="connsiteX5" fmla="*/ 4284667 w 4435200"/>
              <a:gd name="connsiteY5" fmla="*/ 2405063 h 2405063"/>
              <a:gd name="connsiteX6" fmla="*/ 150533 w 4435200"/>
              <a:gd name="connsiteY6" fmla="*/ 2405063 h 2405063"/>
              <a:gd name="connsiteX7" fmla="*/ 0 w 4435200"/>
              <a:gd name="connsiteY7" fmla="*/ 2254530 h 2405063"/>
              <a:gd name="connsiteX8" fmla="*/ 0 w 4435200"/>
              <a:gd name="connsiteY8" fmla="*/ 150533 h 2405063"/>
              <a:gd name="connsiteX0" fmla="*/ 0 w 4435200"/>
              <a:gd name="connsiteY0" fmla="*/ 150533 h 2405063"/>
              <a:gd name="connsiteX1" fmla="*/ 150533 w 4435200"/>
              <a:gd name="connsiteY1" fmla="*/ 0 h 2405063"/>
              <a:gd name="connsiteX2" fmla="*/ 4315839 w 4435200"/>
              <a:gd name="connsiteY2" fmla="*/ 5195 h 2405063"/>
              <a:gd name="connsiteX3" fmla="*/ 4435200 w 4435200"/>
              <a:gd name="connsiteY3" fmla="*/ 150533 h 2405063"/>
              <a:gd name="connsiteX4" fmla="*/ 4435200 w 4435200"/>
              <a:gd name="connsiteY4" fmla="*/ 2254530 h 2405063"/>
              <a:gd name="connsiteX5" fmla="*/ 4284667 w 4435200"/>
              <a:gd name="connsiteY5" fmla="*/ 2405063 h 2405063"/>
              <a:gd name="connsiteX6" fmla="*/ 150533 w 4435200"/>
              <a:gd name="connsiteY6" fmla="*/ 2405063 h 2405063"/>
              <a:gd name="connsiteX7" fmla="*/ 0 w 4435200"/>
              <a:gd name="connsiteY7" fmla="*/ 2254530 h 2405063"/>
              <a:gd name="connsiteX8" fmla="*/ 0 w 4435200"/>
              <a:gd name="connsiteY8" fmla="*/ 150533 h 2405063"/>
              <a:gd name="connsiteX0" fmla="*/ 0 w 4435200"/>
              <a:gd name="connsiteY0" fmla="*/ 155729 h 2410259"/>
              <a:gd name="connsiteX1" fmla="*/ 150533 w 4435200"/>
              <a:gd name="connsiteY1" fmla="*/ 0 h 2410259"/>
              <a:gd name="connsiteX2" fmla="*/ 4315839 w 4435200"/>
              <a:gd name="connsiteY2" fmla="*/ 10391 h 2410259"/>
              <a:gd name="connsiteX3" fmla="*/ 4435200 w 4435200"/>
              <a:gd name="connsiteY3" fmla="*/ 155729 h 2410259"/>
              <a:gd name="connsiteX4" fmla="*/ 4435200 w 4435200"/>
              <a:gd name="connsiteY4" fmla="*/ 2259726 h 2410259"/>
              <a:gd name="connsiteX5" fmla="*/ 4284667 w 4435200"/>
              <a:gd name="connsiteY5" fmla="*/ 2410259 h 2410259"/>
              <a:gd name="connsiteX6" fmla="*/ 150533 w 4435200"/>
              <a:gd name="connsiteY6" fmla="*/ 2410259 h 2410259"/>
              <a:gd name="connsiteX7" fmla="*/ 0 w 4435200"/>
              <a:gd name="connsiteY7" fmla="*/ 2259726 h 2410259"/>
              <a:gd name="connsiteX8" fmla="*/ 0 w 4435200"/>
              <a:gd name="connsiteY8" fmla="*/ 155729 h 2410259"/>
              <a:gd name="connsiteX0" fmla="*/ 0 w 4435200"/>
              <a:gd name="connsiteY0" fmla="*/ 155729 h 2410259"/>
              <a:gd name="connsiteX1" fmla="*/ 150533 w 4435200"/>
              <a:gd name="connsiteY1" fmla="*/ 0 h 2410259"/>
              <a:gd name="connsiteX2" fmla="*/ 4315839 w 4435200"/>
              <a:gd name="connsiteY2" fmla="*/ 5196 h 2410259"/>
              <a:gd name="connsiteX3" fmla="*/ 4435200 w 4435200"/>
              <a:gd name="connsiteY3" fmla="*/ 155729 h 2410259"/>
              <a:gd name="connsiteX4" fmla="*/ 4435200 w 4435200"/>
              <a:gd name="connsiteY4" fmla="*/ 2259726 h 2410259"/>
              <a:gd name="connsiteX5" fmla="*/ 4284667 w 4435200"/>
              <a:gd name="connsiteY5" fmla="*/ 2410259 h 2410259"/>
              <a:gd name="connsiteX6" fmla="*/ 150533 w 4435200"/>
              <a:gd name="connsiteY6" fmla="*/ 2410259 h 2410259"/>
              <a:gd name="connsiteX7" fmla="*/ 0 w 4435200"/>
              <a:gd name="connsiteY7" fmla="*/ 2259726 h 2410259"/>
              <a:gd name="connsiteX8" fmla="*/ 0 w 4435200"/>
              <a:gd name="connsiteY8" fmla="*/ 155729 h 2410259"/>
              <a:gd name="connsiteX0" fmla="*/ 0 w 4435200"/>
              <a:gd name="connsiteY0" fmla="*/ 160924 h 2415454"/>
              <a:gd name="connsiteX1" fmla="*/ 150533 w 4435200"/>
              <a:gd name="connsiteY1" fmla="*/ 5195 h 2415454"/>
              <a:gd name="connsiteX2" fmla="*/ 4321035 w 4435200"/>
              <a:gd name="connsiteY2" fmla="*/ 0 h 2415454"/>
              <a:gd name="connsiteX3" fmla="*/ 4435200 w 4435200"/>
              <a:gd name="connsiteY3" fmla="*/ 160924 h 2415454"/>
              <a:gd name="connsiteX4" fmla="*/ 4435200 w 4435200"/>
              <a:gd name="connsiteY4" fmla="*/ 2264921 h 2415454"/>
              <a:gd name="connsiteX5" fmla="*/ 4284667 w 4435200"/>
              <a:gd name="connsiteY5" fmla="*/ 2415454 h 2415454"/>
              <a:gd name="connsiteX6" fmla="*/ 150533 w 4435200"/>
              <a:gd name="connsiteY6" fmla="*/ 2415454 h 2415454"/>
              <a:gd name="connsiteX7" fmla="*/ 0 w 4435200"/>
              <a:gd name="connsiteY7" fmla="*/ 2264921 h 2415454"/>
              <a:gd name="connsiteX8" fmla="*/ 0 w 4435200"/>
              <a:gd name="connsiteY8" fmla="*/ 160924 h 2415454"/>
              <a:gd name="connsiteX0" fmla="*/ 0 w 4435200"/>
              <a:gd name="connsiteY0" fmla="*/ 176510 h 2431040"/>
              <a:gd name="connsiteX1" fmla="*/ 155729 w 4435200"/>
              <a:gd name="connsiteY1" fmla="*/ 0 h 2431040"/>
              <a:gd name="connsiteX2" fmla="*/ 4321035 w 4435200"/>
              <a:gd name="connsiteY2" fmla="*/ 15586 h 2431040"/>
              <a:gd name="connsiteX3" fmla="*/ 4435200 w 4435200"/>
              <a:gd name="connsiteY3" fmla="*/ 176510 h 2431040"/>
              <a:gd name="connsiteX4" fmla="*/ 4435200 w 4435200"/>
              <a:gd name="connsiteY4" fmla="*/ 2280507 h 2431040"/>
              <a:gd name="connsiteX5" fmla="*/ 4284667 w 4435200"/>
              <a:gd name="connsiteY5" fmla="*/ 2431040 h 2431040"/>
              <a:gd name="connsiteX6" fmla="*/ 150533 w 4435200"/>
              <a:gd name="connsiteY6" fmla="*/ 2431040 h 2431040"/>
              <a:gd name="connsiteX7" fmla="*/ 0 w 4435200"/>
              <a:gd name="connsiteY7" fmla="*/ 2280507 h 2431040"/>
              <a:gd name="connsiteX8" fmla="*/ 0 w 4435200"/>
              <a:gd name="connsiteY8" fmla="*/ 176510 h 2431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435200" h="2431040">
                <a:moveTo>
                  <a:pt x="0" y="176510"/>
                </a:moveTo>
                <a:cubicBezTo>
                  <a:pt x="0" y="93373"/>
                  <a:pt x="72592" y="0"/>
                  <a:pt x="155729" y="0"/>
                </a:cubicBezTo>
                <a:lnTo>
                  <a:pt x="4321035" y="15586"/>
                </a:lnTo>
                <a:cubicBezTo>
                  <a:pt x="4404172" y="15586"/>
                  <a:pt x="4435200" y="93373"/>
                  <a:pt x="4435200" y="176510"/>
                </a:cubicBezTo>
                <a:lnTo>
                  <a:pt x="4435200" y="2280507"/>
                </a:lnTo>
                <a:cubicBezTo>
                  <a:pt x="4435200" y="2363644"/>
                  <a:pt x="4367804" y="2431040"/>
                  <a:pt x="4284667" y="2431040"/>
                </a:cubicBezTo>
                <a:lnTo>
                  <a:pt x="150533" y="2431040"/>
                </a:lnTo>
                <a:cubicBezTo>
                  <a:pt x="67396" y="2431040"/>
                  <a:pt x="0" y="2363644"/>
                  <a:pt x="0" y="2280507"/>
                </a:cubicBezTo>
                <a:lnTo>
                  <a:pt x="0" y="17651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blurRad="177800" dist="38100" dir="8100000" algn="tr" rotWithShape="0">
              <a:prstClr val="black">
                <a:alpha val="2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sz="1351"/>
          </a:p>
        </p:txBody>
      </p:sp>
      <p:sp>
        <p:nvSpPr>
          <p:cNvPr id="25" name="Espaço Reservado para Texto 24">
            <a:extLst>
              <a:ext uri="{FF2B5EF4-FFF2-40B4-BE49-F238E27FC236}">
                <a16:creationId xmlns:a16="http://schemas.microsoft.com/office/drawing/2014/main" id="{F23AF8C6-F807-A43D-E470-FC73BC02AD1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811338" y="2698751"/>
            <a:ext cx="1949844" cy="1052513"/>
          </a:xfrm>
        </p:spPr>
        <p:txBody>
          <a:bodyPr lIns="0">
            <a:noAutofit/>
          </a:bodyPr>
          <a:lstStyle>
            <a:lvl1pPr marR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pt-BR" sz="6000" b="1" i="0" u="none" strike="noStrike" cap="none" dirty="0">
                <a:solidFill>
                  <a:srgbClr val="DAD8D8"/>
                </a:solidFill>
                <a:latin typeface="+mj-lt"/>
                <a:ea typeface="Times New Roman" panose="02020603050405020304" pitchFamily="18" charset="0"/>
                <a:cs typeface="Arial"/>
                <a:sym typeface="Arial"/>
              </a:defRPr>
            </a:lvl1pPr>
          </a:lstStyle>
          <a:p>
            <a:pPr lvl="0"/>
            <a:r>
              <a:rPr lang="pt-BR"/>
              <a:t>#</a:t>
            </a:r>
          </a:p>
        </p:txBody>
      </p:sp>
      <p:sp>
        <p:nvSpPr>
          <p:cNvPr id="30" name="Espaço Reservado para Texto 29">
            <a:extLst>
              <a:ext uri="{FF2B5EF4-FFF2-40B4-BE49-F238E27FC236}">
                <a16:creationId xmlns:a16="http://schemas.microsoft.com/office/drawing/2014/main" id="{9D491E22-92EA-618D-BAF8-776849CE7C7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811338" y="3911570"/>
            <a:ext cx="3516312" cy="312738"/>
          </a:xfrm>
        </p:spPr>
        <p:txBody>
          <a:bodyPr>
            <a:normAutofit/>
          </a:bodyPr>
          <a:lstStyle>
            <a:lvl1pPr marR="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pt-BR" sz="1400" b="1" i="0" u="none" strike="noStrike" cap="none" dirty="0" smtClean="0">
                <a:solidFill>
                  <a:schemeClr val="tx2"/>
                </a:solidFill>
                <a:latin typeface="+mj-lt"/>
                <a:ea typeface="Times New Roman" panose="02020603050405020304" pitchFamily="18" charset="0"/>
                <a:cs typeface="Arial"/>
                <a:sym typeface="Arial"/>
              </a:defRPr>
            </a:lvl1pPr>
          </a:lstStyle>
          <a:p>
            <a:pPr lvl="0"/>
            <a:r>
              <a:rPr lang="pt-BR"/>
              <a:t>Clique para editar os estilos</a:t>
            </a:r>
          </a:p>
        </p:txBody>
      </p:sp>
      <p:sp>
        <p:nvSpPr>
          <p:cNvPr id="31" name="Espaço Reservado para Texto 29">
            <a:extLst>
              <a:ext uri="{FF2B5EF4-FFF2-40B4-BE49-F238E27FC236}">
                <a16:creationId xmlns:a16="http://schemas.microsoft.com/office/drawing/2014/main" id="{BDD87BC4-5DA3-8DE4-6EB4-09DF200DC55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432764" y="3911570"/>
            <a:ext cx="3516312" cy="312738"/>
          </a:xfrm>
        </p:spPr>
        <p:txBody>
          <a:bodyPr>
            <a:normAutofit/>
          </a:bodyPr>
          <a:lstStyle>
            <a:lvl1pPr marR="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pt-BR" sz="1400" b="1" i="0" u="none" strike="noStrike" cap="none" dirty="0" smtClean="0">
                <a:solidFill>
                  <a:schemeClr val="tx2"/>
                </a:solidFill>
                <a:latin typeface="+mj-lt"/>
                <a:ea typeface="Times New Roman" panose="02020603050405020304" pitchFamily="18" charset="0"/>
                <a:cs typeface="Arial"/>
                <a:sym typeface="Arial"/>
              </a:defRPr>
            </a:lvl1pPr>
          </a:lstStyle>
          <a:p>
            <a:pPr lvl="0"/>
            <a:r>
              <a:rPr lang="pt-BR"/>
              <a:t>Clique para editar os estilos</a:t>
            </a:r>
          </a:p>
        </p:txBody>
      </p:sp>
      <p:sp>
        <p:nvSpPr>
          <p:cNvPr id="33" name="Espaço Reservado para Texto 32">
            <a:extLst>
              <a:ext uri="{FF2B5EF4-FFF2-40B4-BE49-F238E27FC236}">
                <a16:creationId xmlns:a16="http://schemas.microsoft.com/office/drawing/2014/main" id="{5B90BA16-3647-7EE4-E8E7-A0663719D6B1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823244" y="4284878"/>
            <a:ext cx="3516312" cy="1370013"/>
          </a:xfrm>
        </p:spPr>
        <p:txBody>
          <a:bodyPr>
            <a:normAutofit/>
          </a:bodyPr>
          <a:lstStyle>
            <a:lvl1pPr marR="0" algn="l" rtl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pt-BR" sz="1200" b="0" i="0" u="none" strike="noStrike" cap="none" dirty="0" smtClean="0">
                <a:solidFill>
                  <a:schemeClr val="tx2"/>
                </a:solidFill>
                <a:latin typeface="+mn-lt"/>
                <a:ea typeface="Times New Roman" panose="02020603050405020304" pitchFamily="18" charset="0"/>
                <a:cs typeface="Arial"/>
                <a:sym typeface="Arial"/>
              </a:defRPr>
            </a:lvl1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34" name="Espaço Reservado para Texto 32">
            <a:extLst>
              <a:ext uri="{FF2B5EF4-FFF2-40B4-BE49-F238E27FC236}">
                <a16:creationId xmlns:a16="http://schemas.microsoft.com/office/drawing/2014/main" id="{20BD869A-4B19-32B8-B2D1-E173FCFC9965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432315" y="4284878"/>
            <a:ext cx="3516312" cy="1370013"/>
          </a:xfrm>
        </p:spPr>
        <p:txBody>
          <a:bodyPr>
            <a:normAutofit/>
          </a:bodyPr>
          <a:lstStyle>
            <a:lvl1pPr marR="0" algn="l" rtl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pt-BR" sz="1200" b="0" i="0" u="none" strike="noStrike" cap="none" dirty="0" smtClean="0">
                <a:solidFill>
                  <a:schemeClr val="tx2"/>
                </a:solidFill>
                <a:latin typeface="+mn-lt"/>
                <a:ea typeface="Times New Roman" panose="02020603050405020304" pitchFamily="18" charset="0"/>
                <a:cs typeface="Arial"/>
                <a:sym typeface="Arial"/>
              </a:defRPr>
            </a:lvl1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36" name="Espaço Reservado para Imagem 35">
            <a:extLst>
              <a:ext uri="{FF2B5EF4-FFF2-40B4-BE49-F238E27FC236}">
                <a16:creationId xmlns:a16="http://schemas.microsoft.com/office/drawing/2014/main" id="{BDB52A58-E55C-9C98-C52A-346308CB97DB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5397500" y="3803683"/>
            <a:ext cx="481013" cy="479425"/>
          </a:xfrm>
        </p:spPr>
        <p:txBody>
          <a:bodyPr>
            <a:normAutofit/>
          </a:bodyPr>
          <a:lstStyle>
            <a:lvl1pPr algn="ctr">
              <a:defRPr sz="800"/>
            </a:lvl1pPr>
          </a:lstStyle>
          <a:p>
            <a:r>
              <a:rPr lang="pt-BR"/>
              <a:t>Ícone</a:t>
            </a:r>
          </a:p>
        </p:txBody>
      </p:sp>
      <p:sp>
        <p:nvSpPr>
          <p:cNvPr id="37" name="Espaço Reservado para Imagem 35">
            <a:extLst>
              <a:ext uri="{FF2B5EF4-FFF2-40B4-BE49-F238E27FC236}">
                <a16:creationId xmlns:a16="http://schemas.microsoft.com/office/drawing/2014/main" id="{C1628873-D7CE-181B-53FE-C45F4CA950AA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9957144" y="3803683"/>
            <a:ext cx="481013" cy="479425"/>
          </a:xfrm>
        </p:spPr>
        <p:txBody>
          <a:bodyPr>
            <a:normAutofit/>
          </a:bodyPr>
          <a:lstStyle>
            <a:lvl1pPr algn="ctr">
              <a:defRPr sz="800"/>
            </a:lvl1pPr>
          </a:lstStyle>
          <a:p>
            <a:r>
              <a:rPr lang="pt-BR"/>
              <a:t>Ícone</a:t>
            </a:r>
          </a:p>
        </p:txBody>
      </p:sp>
      <p:sp>
        <p:nvSpPr>
          <p:cNvPr id="26" name="Espaço Reservado para Texto 24">
            <a:extLst>
              <a:ext uri="{FF2B5EF4-FFF2-40B4-BE49-F238E27FC236}">
                <a16:creationId xmlns:a16="http://schemas.microsoft.com/office/drawing/2014/main" id="{78C5B9BC-23BA-9D40-0EFB-FD4839B9D61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23289" y="2698751"/>
            <a:ext cx="1971675" cy="1052513"/>
          </a:xfrm>
        </p:spPr>
        <p:txBody>
          <a:bodyPr lIns="0">
            <a:noAutofit/>
          </a:bodyPr>
          <a:lstStyle>
            <a:lvl1pPr marR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pt-BR" sz="6000" b="1" i="0" u="none" strike="noStrike" cap="none" dirty="0">
                <a:solidFill>
                  <a:srgbClr val="DAD8D8"/>
                </a:solidFill>
                <a:latin typeface="+mj-lt"/>
                <a:ea typeface="Times New Roman" panose="02020603050405020304" pitchFamily="18" charset="0"/>
                <a:cs typeface="Arial"/>
                <a:sym typeface="Arial"/>
              </a:defRPr>
            </a:lvl1pPr>
          </a:lstStyle>
          <a:p>
            <a:pPr lvl="0"/>
            <a:r>
              <a:rPr lang="pt-BR"/>
              <a:t>#</a:t>
            </a:r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5195C0EA-8668-632B-6E8C-C7C8464EF94B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1824038" y="2372411"/>
            <a:ext cx="4157662" cy="727075"/>
          </a:xfrm>
        </p:spPr>
        <p:txBody>
          <a:bodyPr>
            <a:normAutofit/>
          </a:bodyPr>
          <a:lstStyle>
            <a:lvl1pPr marR="0" algn="l" rtl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pt-BR" sz="1200" b="0" i="0" u="none" strike="noStrike" cap="none" dirty="0" smtClean="0">
                <a:solidFill>
                  <a:schemeClr val="tx2"/>
                </a:solidFill>
                <a:latin typeface="+mn-lt"/>
                <a:ea typeface="Times New Roman" panose="02020603050405020304" pitchFamily="18" charset="0"/>
                <a:cs typeface="Arial"/>
                <a:sym typeface="Arial"/>
              </a:defRPr>
            </a:lvl1pPr>
          </a:lstStyle>
          <a:p>
            <a:pPr lvl="0"/>
            <a:r>
              <a:rPr lang="pt-BR"/>
              <a:t>Clique para editar os estilos de texto Mestres</a:t>
            </a:r>
          </a:p>
        </p:txBody>
      </p:sp>
    </p:spTree>
    <p:extLst>
      <p:ext uri="{BB962C8B-B14F-4D97-AF65-F5344CB8AC3E}">
        <p14:creationId xmlns:p14="http://schemas.microsoft.com/office/powerpoint/2010/main" val="1011774440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ço Reservado para Texto 6">
            <a:extLst>
              <a:ext uri="{FF2B5EF4-FFF2-40B4-BE49-F238E27FC236}">
                <a16:creationId xmlns:a16="http://schemas.microsoft.com/office/drawing/2014/main" id="{D6F85BE3-183D-1F4D-9986-5566BC05916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429125" y="602332"/>
            <a:ext cx="6832600" cy="447675"/>
          </a:xfrm>
        </p:spPr>
        <p:txBody>
          <a:bodyPr lIns="126000">
            <a:normAutofit/>
          </a:bodyPr>
          <a:lstStyle>
            <a:lvl1pPr>
              <a:lnSpc>
                <a:spcPct val="100000"/>
              </a:lnSpc>
              <a:defRPr sz="1100" b="0" cap="all" spc="100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endParaRPr lang="pt-BR"/>
          </a:p>
        </p:txBody>
      </p:sp>
      <p:sp>
        <p:nvSpPr>
          <p:cNvPr id="8" name="Título 7">
            <a:extLst>
              <a:ext uri="{FF2B5EF4-FFF2-40B4-BE49-F238E27FC236}">
                <a16:creationId xmlns:a16="http://schemas.microsoft.com/office/drawing/2014/main" id="{850B399A-346B-51E3-1A92-253CADB724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45000" y="865524"/>
            <a:ext cx="6832600" cy="447676"/>
          </a:xfrm>
        </p:spPr>
        <p:txBody>
          <a:bodyPr anchor="t">
            <a:noAutofit/>
          </a:bodyPr>
          <a:lstStyle>
            <a:lvl1pPr>
              <a:defRPr sz="3600" b="1" spc="-100" baseline="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10" name="Espaço Reservado para Texto 9">
            <a:extLst>
              <a:ext uri="{FF2B5EF4-FFF2-40B4-BE49-F238E27FC236}">
                <a16:creationId xmlns:a16="http://schemas.microsoft.com/office/drawing/2014/main" id="{A4BD41B5-820C-FB18-CD31-121F93FBE6B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445000" y="2090738"/>
            <a:ext cx="6832600" cy="4132846"/>
          </a:xfrm>
        </p:spPr>
        <p:txBody>
          <a:bodyPr>
            <a:noAutofit/>
          </a:bodyPr>
          <a:lstStyle>
            <a:lvl1pPr marL="0" indent="0">
              <a:lnSpc>
                <a:spcPct val="110000"/>
              </a:lnSpc>
              <a:spcBef>
                <a:spcPts val="2000"/>
              </a:spcBef>
              <a:spcAft>
                <a:spcPts val="500"/>
              </a:spcAft>
              <a:buFont typeface="Arial" panose="020B0604020202020204" pitchFamily="34" charset="0"/>
              <a:buNone/>
              <a:defRPr sz="1600" b="1" u="none">
                <a:solidFill>
                  <a:schemeClr val="accent2"/>
                </a:solidFill>
              </a:defRPr>
            </a:lvl1pPr>
            <a:lvl2pPr marL="0" indent="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None/>
              <a:defRPr sz="1400"/>
            </a:lvl2pPr>
            <a:lvl3pPr marL="792000" indent="-288000">
              <a:lnSpc>
                <a:spcPct val="110000"/>
              </a:lnSpc>
              <a:spcBef>
                <a:spcPts val="500"/>
              </a:spcBef>
              <a:spcAft>
                <a:spcPts val="0"/>
              </a:spcAft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400">
                <a:solidFill>
                  <a:schemeClr val="tx2"/>
                </a:solidFill>
              </a:defRPr>
            </a:lvl3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endParaRPr lang="pt-BR"/>
          </a:p>
        </p:txBody>
      </p:sp>
      <p:pic>
        <p:nvPicPr>
          <p:cNvPr id="2" name="Gráfico 1">
            <a:extLst>
              <a:ext uri="{FF2B5EF4-FFF2-40B4-BE49-F238E27FC236}">
                <a16:creationId xmlns:a16="http://schemas.microsoft.com/office/drawing/2014/main" id="{A8EC6370-4927-C92F-ACF0-D1E7FF52C1D9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-4731040" y="-591489"/>
            <a:ext cx="8040978" cy="80409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1488316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lipse 3">
            <a:extLst>
              <a:ext uri="{FF2B5EF4-FFF2-40B4-BE49-F238E27FC236}">
                <a16:creationId xmlns:a16="http://schemas.microsoft.com/office/drawing/2014/main" id="{2C50B055-D4D1-8B28-58F6-A4E7EE06C736}"/>
              </a:ext>
            </a:extLst>
          </p:cNvPr>
          <p:cNvSpPr/>
          <p:nvPr userDrawn="1"/>
        </p:nvSpPr>
        <p:spPr>
          <a:xfrm>
            <a:off x="9740900" y="4254388"/>
            <a:ext cx="3476175" cy="3476175"/>
          </a:xfrm>
          <a:prstGeom prst="ellipse">
            <a:avLst/>
          </a:prstGeom>
          <a:solidFill>
            <a:srgbClr val="F3ABA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7" name="Espaço Reservado para Texto 6">
            <a:extLst>
              <a:ext uri="{FF2B5EF4-FFF2-40B4-BE49-F238E27FC236}">
                <a16:creationId xmlns:a16="http://schemas.microsoft.com/office/drawing/2014/main" id="{D6F85BE3-183D-1F4D-9986-5566BC05916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429125" y="602332"/>
            <a:ext cx="6832600" cy="447675"/>
          </a:xfrm>
        </p:spPr>
        <p:txBody>
          <a:bodyPr lIns="126000">
            <a:normAutofit/>
          </a:bodyPr>
          <a:lstStyle>
            <a:lvl1pPr>
              <a:lnSpc>
                <a:spcPct val="100000"/>
              </a:lnSpc>
              <a:defRPr sz="1100" b="0" cap="all" spc="100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endParaRPr lang="pt-BR"/>
          </a:p>
        </p:txBody>
      </p:sp>
      <p:sp>
        <p:nvSpPr>
          <p:cNvPr id="8" name="Título 7">
            <a:extLst>
              <a:ext uri="{FF2B5EF4-FFF2-40B4-BE49-F238E27FC236}">
                <a16:creationId xmlns:a16="http://schemas.microsoft.com/office/drawing/2014/main" id="{850B399A-346B-51E3-1A92-253CADB724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45000" y="865524"/>
            <a:ext cx="6832600" cy="447676"/>
          </a:xfrm>
        </p:spPr>
        <p:txBody>
          <a:bodyPr anchor="t">
            <a:noAutofit/>
          </a:bodyPr>
          <a:lstStyle>
            <a:lvl1pPr>
              <a:defRPr sz="3600" b="1" spc="-100" baseline="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10" name="Espaço Reservado para Texto 9">
            <a:extLst>
              <a:ext uri="{FF2B5EF4-FFF2-40B4-BE49-F238E27FC236}">
                <a16:creationId xmlns:a16="http://schemas.microsoft.com/office/drawing/2014/main" id="{A4BD41B5-820C-FB18-CD31-121F93FBE6B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445000" y="2090738"/>
            <a:ext cx="6832600" cy="4132846"/>
          </a:xfrm>
        </p:spPr>
        <p:txBody>
          <a:bodyPr>
            <a:noAutofit/>
          </a:bodyPr>
          <a:lstStyle>
            <a:lvl1pPr marL="0" indent="0">
              <a:lnSpc>
                <a:spcPct val="110000"/>
              </a:lnSpc>
              <a:spcBef>
                <a:spcPts val="2000"/>
              </a:spcBef>
              <a:spcAft>
                <a:spcPts val="500"/>
              </a:spcAft>
              <a:buFont typeface="Arial" panose="020B0604020202020204" pitchFamily="34" charset="0"/>
              <a:buNone/>
              <a:defRPr sz="1600" b="1" u="none">
                <a:solidFill>
                  <a:schemeClr val="accent2"/>
                </a:solidFill>
              </a:defRPr>
            </a:lvl1pPr>
            <a:lvl2pPr marL="0" indent="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None/>
              <a:defRPr sz="1400"/>
            </a:lvl2pPr>
            <a:lvl3pPr marL="792000" indent="-288000">
              <a:lnSpc>
                <a:spcPct val="110000"/>
              </a:lnSpc>
              <a:spcBef>
                <a:spcPts val="500"/>
              </a:spcBef>
              <a:spcAft>
                <a:spcPts val="0"/>
              </a:spcAft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400">
                <a:solidFill>
                  <a:schemeClr val="tx2"/>
                </a:solidFill>
              </a:defRPr>
            </a:lvl3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endParaRPr lang="pt-BR"/>
          </a:p>
        </p:txBody>
      </p:sp>
      <p:pic>
        <p:nvPicPr>
          <p:cNvPr id="2" name="Gráfico 1">
            <a:extLst>
              <a:ext uri="{FF2B5EF4-FFF2-40B4-BE49-F238E27FC236}">
                <a16:creationId xmlns:a16="http://schemas.microsoft.com/office/drawing/2014/main" id="{A8EC6370-4927-C92F-ACF0-D1E7FF52C1D9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-4731040" y="-591489"/>
            <a:ext cx="8040978" cy="80409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5633423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ço Reservado para Texto 6">
            <a:extLst>
              <a:ext uri="{FF2B5EF4-FFF2-40B4-BE49-F238E27FC236}">
                <a16:creationId xmlns:a16="http://schemas.microsoft.com/office/drawing/2014/main" id="{D6F85BE3-183D-1F4D-9986-5566BC05916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429125" y="602332"/>
            <a:ext cx="6832600" cy="447675"/>
          </a:xfrm>
        </p:spPr>
        <p:txBody>
          <a:bodyPr lIns="126000">
            <a:normAutofit/>
          </a:bodyPr>
          <a:lstStyle>
            <a:lvl1pPr>
              <a:lnSpc>
                <a:spcPct val="100000"/>
              </a:lnSpc>
              <a:defRPr sz="1100" b="0" cap="all" spc="100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endParaRPr lang="pt-BR"/>
          </a:p>
        </p:txBody>
      </p:sp>
      <p:sp>
        <p:nvSpPr>
          <p:cNvPr id="8" name="Título 7">
            <a:extLst>
              <a:ext uri="{FF2B5EF4-FFF2-40B4-BE49-F238E27FC236}">
                <a16:creationId xmlns:a16="http://schemas.microsoft.com/office/drawing/2014/main" id="{850B399A-346B-51E3-1A92-253CADB724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45000" y="865524"/>
            <a:ext cx="6832600" cy="447676"/>
          </a:xfrm>
        </p:spPr>
        <p:txBody>
          <a:bodyPr anchor="t">
            <a:noAutofit/>
          </a:bodyPr>
          <a:lstStyle>
            <a:lvl1pPr>
              <a:defRPr sz="3600" b="1" spc="-100" baseline="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10" name="Espaço Reservado para Texto 9">
            <a:extLst>
              <a:ext uri="{FF2B5EF4-FFF2-40B4-BE49-F238E27FC236}">
                <a16:creationId xmlns:a16="http://schemas.microsoft.com/office/drawing/2014/main" id="{A4BD41B5-820C-FB18-CD31-121F93FBE6B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445000" y="2090738"/>
            <a:ext cx="6832600" cy="4132846"/>
          </a:xfrm>
        </p:spPr>
        <p:txBody>
          <a:bodyPr>
            <a:noAutofit/>
          </a:bodyPr>
          <a:lstStyle>
            <a:lvl1pPr marL="0" indent="0">
              <a:lnSpc>
                <a:spcPct val="110000"/>
              </a:lnSpc>
              <a:spcBef>
                <a:spcPts val="2000"/>
              </a:spcBef>
              <a:spcAft>
                <a:spcPts val="500"/>
              </a:spcAft>
              <a:buFont typeface="Arial" panose="020B0604020202020204" pitchFamily="34" charset="0"/>
              <a:buNone/>
              <a:defRPr sz="1600" b="1" u="none">
                <a:solidFill>
                  <a:schemeClr val="accent2"/>
                </a:solidFill>
              </a:defRPr>
            </a:lvl1pPr>
            <a:lvl2pPr marL="0" indent="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None/>
              <a:defRPr sz="1400"/>
            </a:lvl2pPr>
            <a:lvl3pPr marL="792000" indent="-288000">
              <a:lnSpc>
                <a:spcPct val="110000"/>
              </a:lnSpc>
              <a:spcBef>
                <a:spcPts val="500"/>
              </a:spcBef>
              <a:spcAft>
                <a:spcPts val="0"/>
              </a:spcAft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400">
                <a:solidFill>
                  <a:schemeClr val="tx2"/>
                </a:solidFill>
              </a:defRPr>
            </a:lvl3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endParaRPr lang="pt-BR"/>
          </a:p>
        </p:txBody>
      </p:sp>
      <p:pic>
        <p:nvPicPr>
          <p:cNvPr id="3" name="Gráfico 2">
            <a:extLst>
              <a:ext uri="{FF2B5EF4-FFF2-40B4-BE49-F238E27FC236}">
                <a16:creationId xmlns:a16="http://schemas.microsoft.com/office/drawing/2014/main" id="{35E7C3AD-E15C-80F2-4FED-5155F41E38C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-1092580" y="650458"/>
            <a:ext cx="4716432" cy="5541795"/>
          </a:xfrm>
          <a:prstGeom prst="rect">
            <a:avLst/>
          </a:prstGeom>
        </p:spPr>
      </p:pic>
      <p:pic>
        <p:nvPicPr>
          <p:cNvPr id="4" name="Gráfico 3">
            <a:extLst>
              <a:ext uri="{FF2B5EF4-FFF2-40B4-BE49-F238E27FC236}">
                <a16:creationId xmlns:a16="http://schemas.microsoft.com/office/drawing/2014/main" id="{4EBD6769-77D4-163B-AC96-F0F1CB1F703E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828972" y="-1239748"/>
            <a:ext cx="2726056" cy="2726056"/>
          </a:xfrm>
          <a:prstGeom prst="rect">
            <a:avLst/>
          </a:prstGeom>
        </p:spPr>
      </p:pic>
      <p:pic>
        <p:nvPicPr>
          <p:cNvPr id="5" name="Gráfico 4">
            <a:extLst>
              <a:ext uri="{FF2B5EF4-FFF2-40B4-BE49-F238E27FC236}">
                <a16:creationId xmlns:a16="http://schemas.microsoft.com/office/drawing/2014/main" id="{D64BC587-E1BC-D84B-13E1-280D52F92BC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680864" y="6346864"/>
            <a:ext cx="1022272" cy="10222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4406369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ço Reservado para Texto 6">
            <a:extLst>
              <a:ext uri="{FF2B5EF4-FFF2-40B4-BE49-F238E27FC236}">
                <a16:creationId xmlns:a16="http://schemas.microsoft.com/office/drawing/2014/main" id="{D6F85BE3-183D-1F4D-9986-5566BC05916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811338" y="602332"/>
            <a:ext cx="5919787" cy="447675"/>
          </a:xfrm>
        </p:spPr>
        <p:txBody>
          <a:bodyPr lIns="126000">
            <a:normAutofit/>
          </a:bodyPr>
          <a:lstStyle>
            <a:lvl1pPr>
              <a:lnSpc>
                <a:spcPct val="100000"/>
              </a:lnSpc>
              <a:defRPr sz="1100" b="0" cap="all" spc="100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endParaRPr lang="pt-BR"/>
          </a:p>
        </p:txBody>
      </p:sp>
      <p:sp>
        <p:nvSpPr>
          <p:cNvPr id="8" name="Título 7">
            <a:extLst>
              <a:ext uri="{FF2B5EF4-FFF2-40B4-BE49-F238E27FC236}">
                <a16:creationId xmlns:a16="http://schemas.microsoft.com/office/drawing/2014/main" id="{850B399A-346B-51E3-1A92-253CADB724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27213" y="865524"/>
            <a:ext cx="5919787" cy="447676"/>
          </a:xfrm>
        </p:spPr>
        <p:txBody>
          <a:bodyPr anchor="t">
            <a:noAutofit/>
          </a:bodyPr>
          <a:lstStyle>
            <a:lvl1pPr>
              <a:defRPr sz="3600" b="1" spc="-100" baseline="0"/>
            </a:lvl1pPr>
          </a:lstStyle>
          <a:p>
            <a:r>
              <a:rPr lang="pt-BR"/>
              <a:t>Clique para editar o título Mestre</a:t>
            </a:r>
          </a:p>
        </p:txBody>
      </p:sp>
      <p:pic>
        <p:nvPicPr>
          <p:cNvPr id="3" name="Gráfico 2">
            <a:extLst>
              <a:ext uri="{FF2B5EF4-FFF2-40B4-BE49-F238E27FC236}">
                <a16:creationId xmlns:a16="http://schemas.microsoft.com/office/drawing/2014/main" id="{35E7C3AD-E15C-80F2-4FED-5155F41E38C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-2526167" y="650458"/>
            <a:ext cx="4716432" cy="5541795"/>
          </a:xfrm>
          <a:prstGeom prst="rect">
            <a:avLst/>
          </a:prstGeom>
        </p:spPr>
      </p:pic>
      <p:pic>
        <p:nvPicPr>
          <p:cNvPr id="4" name="Gráfico 3">
            <a:extLst>
              <a:ext uri="{FF2B5EF4-FFF2-40B4-BE49-F238E27FC236}">
                <a16:creationId xmlns:a16="http://schemas.microsoft.com/office/drawing/2014/main" id="{4EBD6769-77D4-163B-AC96-F0F1CB1F703E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828972" y="-1239748"/>
            <a:ext cx="2726056" cy="2726056"/>
          </a:xfrm>
          <a:prstGeom prst="rect">
            <a:avLst/>
          </a:prstGeom>
        </p:spPr>
      </p:pic>
      <p:pic>
        <p:nvPicPr>
          <p:cNvPr id="5" name="Gráfico 4">
            <a:extLst>
              <a:ext uri="{FF2B5EF4-FFF2-40B4-BE49-F238E27FC236}">
                <a16:creationId xmlns:a16="http://schemas.microsoft.com/office/drawing/2014/main" id="{D64BC587-E1BC-D84B-13E1-280D52F92BC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680864" y="6346864"/>
            <a:ext cx="1022272" cy="1022272"/>
          </a:xfrm>
          <a:prstGeom prst="rect">
            <a:avLst/>
          </a:prstGeom>
        </p:spPr>
      </p:pic>
      <p:sp>
        <p:nvSpPr>
          <p:cNvPr id="11" name="Retângulo 10">
            <a:extLst>
              <a:ext uri="{FF2B5EF4-FFF2-40B4-BE49-F238E27FC236}">
                <a16:creationId xmlns:a16="http://schemas.microsoft.com/office/drawing/2014/main" id="{842E5A5A-7704-2F48-8702-A3E6101A002E}"/>
              </a:ext>
            </a:extLst>
          </p:cNvPr>
          <p:cNvSpPr/>
          <p:nvPr userDrawn="1"/>
        </p:nvSpPr>
        <p:spPr>
          <a:xfrm>
            <a:off x="1828046" y="2954787"/>
            <a:ext cx="2952000" cy="3600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8" name="Espaço Reservado para Texto 3">
            <a:extLst>
              <a:ext uri="{FF2B5EF4-FFF2-40B4-BE49-F238E27FC236}">
                <a16:creationId xmlns:a16="http://schemas.microsoft.com/office/drawing/2014/main" id="{CDF90CEE-BDF2-3D8C-A60C-9E9609E82BDF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1825882" y="1920603"/>
            <a:ext cx="5922962" cy="727075"/>
          </a:xfrm>
        </p:spPr>
        <p:txBody>
          <a:bodyPr>
            <a:normAutofit/>
          </a:bodyPr>
          <a:lstStyle>
            <a:lvl1pPr marR="0" algn="l" rtl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pt-BR" sz="1200" b="0" i="0" u="none" strike="noStrike" cap="none" dirty="0" smtClean="0">
                <a:solidFill>
                  <a:schemeClr val="tx2"/>
                </a:solidFill>
                <a:latin typeface="+mn-lt"/>
                <a:ea typeface="Times New Roman" panose="02020603050405020304" pitchFamily="18" charset="0"/>
                <a:cs typeface="Arial"/>
                <a:sym typeface="Arial"/>
              </a:defRPr>
            </a:lvl1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6" name="Espaço Reservado para Texto 5">
            <a:extLst>
              <a:ext uri="{FF2B5EF4-FFF2-40B4-BE49-F238E27FC236}">
                <a16:creationId xmlns:a16="http://schemas.microsoft.com/office/drawing/2014/main" id="{99F7F299-B9F4-BC9F-95FF-5ED073B643B1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1824038" y="3315150"/>
            <a:ext cx="2952000" cy="2901500"/>
          </a:xfrm>
          <a:solidFill>
            <a:srgbClr val="2D3D70">
              <a:alpha val="90000"/>
              <a:tint val="40000"/>
              <a:hueOff val="0"/>
              <a:satOff val="0"/>
              <a:lumOff val="0"/>
              <a:alphaOff val="0"/>
            </a:srgbClr>
          </a:solidFill>
          <a:ln w="12700" cap="flat" cmpd="sng" algn="ctr">
            <a:solidFill>
              <a:srgbClr val="2D3D70">
                <a:alpha val="90000"/>
                <a:tint val="40000"/>
                <a:hueOff val="0"/>
                <a:satOff val="0"/>
                <a:lumOff val="0"/>
                <a:alphaOff val="0"/>
              </a:srgbClr>
            </a:solidFill>
            <a:prstDash val="solid"/>
            <a:miter lim="800000"/>
          </a:ln>
          <a:effectLst/>
        </p:spPr>
        <p:txBody>
          <a:bodyPr spcFirstLastPara="0" vert="horz" wrap="square" lIns="180000" tIns="261366" rIns="180000" bIns="392049" numCol="1" spcCol="1270" anchor="t" anchorCtr="0">
            <a:noAutofit/>
          </a:bodyPr>
          <a:lstStyle>
            <a:lvl1pPr marR="0" algn="l" rtl="0">
              <a:lnSpc>
                <a:spcPct val="13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Font typeface="Arial"/>
              <a:defRPr lang="pt-BR" sz="1300" b="0" i="0" u="none" strike="noStrike" cap="none" dirty="0">
                <a:solidFill>
                  <a:schemeClr val="tx1"/>
                </a:solidFill>
                <a:latin typeface="+mn-lt"/>
                <a:ea typeface="Arial"/>
                <a:cs typeface="Arial"/>
                <a:sym typeface="Arial"/>
              </a:defRPr>
            </a:lvl1pPr>
          </a:lstStyle>
          <a:p>
            <a:pPr marR="0" lv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</a:pPr>
            <a:r>
              <a:rPr lang="pt-BR"/>
              <a:t>Clique para editar os estilos de texto Mestres</a:t>
            </a:r>
          </a:p>
        </p:txBody>
      </p:sp>
      <p:sp>
        <p:nvSpPr>
          <p:cNvPr id="10" name="Espaço Reservado para Texto 5">
            <a:extLst>
              <a:ext uri="{FF2B5EF4-FFF2-40B4-BE49-F238E27FC236}">
                <a16:creationId xmlns:a16="http://schemas.microsoft.com/office/drawing/2014/main" id="{79E14420-1845-E853-61FD-FA2963FDC8F4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5099050" y="3315150"/>
            <a:ext cx="2952000" cy="2901500"/>
          </a:xfrm>
          <a:solidFill>
            <a:srgbClr val="2D3D70">
              <a:alpha val="90000"/>
              <a:tint val="40000"/>
              <a:hueOff val="0"/>
              <a:satOff val="0"/>
              <a:lumOff val="0"/>
              <a:alphaOff val="0"/>
            </a:srgbClr>
          </a:solidFill>
          <a:ln w="12700" cap="flat" cmpd="sng" algn="ctr">
            <a:solidFill>
              <a:srgbClr val="2D3D70">
                <a:alpha val="90000"/>
                <a:tint val="40000"/>
                <a:hueOff val="0"/>
                <a:satOff val="0"/>
                <a:lumOff val="0"/>
                <a:alphaOff val="0"/>
              </a:srgbClr>
            </a:solidFill>
            <a:prstDash val="solid"/>
            <a:miter lim="800000"/>
          </a:ln>
          <a:effectLst/>
        </p:spPr>
        <p:txBody>
          <a:bodyPr spcFirstLastPara="0" vert="horz" wrap="square" lIns="180000" tIns="261366" rIns="180000" bIns="392049" numCol="1" spcCol="1270" rtlCol="0" anchor="t" anchorCtr="0">
            <a:noAutofit/>
          </a:bodyPr>
          <a:lstStyle>
            <a:lvl1pPr>
              <a:defRPr lang="pt-BR" sz="1300" b="0" i="0" u="none" strike="noStrike" cap="none" dirty="0">
                <a:solidFill>
                  <a:schemeClr val="tx1"/>
                </a:solidFill>
                <a:ea typeface="Arial"/>
                <a:cs typeface="Arial"/>
              </a:defRPr>
            </a:lvl1pPr>
          </a:lstStyle>
          <a:p>
            <a:pPr marR="0" lv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</a:pPr>
            <a:r>
              <a:rPr lang="pt-BR"/>
              <a:t>Clique para editar os estilos de texto Mestres</a:t>
            </a:r>
          </a:p>
        </p:txBody>
      </p:sp>
      <p:sp>
        <p:nvSpPr>
          <p:cNvPr id="12" name="Espaço Reservado para Texto 5">
            <a:extLst>
              <a:ext uri="{FF2B5EF4-FFF2-40B4-BE49-F238E27FC236}">
                <a16:creationId xmlns:a16="http://schemas.microsoft.com/office/drawing/2014/main" id="{913B9138-B8EB-3199-7F11-1E6E66F0F896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8325600" y="3315150"/>
            <a:ext cx="2952000" cy="2901500"/>
          </a:xfrm>
          <a:solidFill>
            <a:srgbClr val="2D3D70">
              <a:alpha val="90000"/>
              <a:tint val="40000"/>
              <a:hueOff val="0"/>
              <a:satOff val="0"/>
              <a:lumOff val="0"/>
              <a:alphaOff val="0"/>
            </a:srgbClr>
          </a:solidFill>
          <a:ln w="12700" cap="flat" cmpd="sng" algn="ctr">
            <a:solidFill>
              <a:srgbClr val="2D3D70">
                <a:alpha val="90000"/>
                <a:tint val="40000"/>
                <a:hueOff val="0"/>
                <a:satOff val="0"/>
                <a:lumOff val="0"/>
                <a:alphaOff val="0"/>
              </a:srgbClr>
            </a:solidFill>
            <a:prstDash val="solid"/>
            <a:miter lim="800000"/>
          </a:ln>
          <a:effectLst/>
        </p:spPr>
        <p:txBody>
          <a:bodyPr spcFirstLastPara="0" vert="horz" wrap="square" lIns="180000" tIns="261366" rIns="180000" bIns="392049" numCol="1" spcCol="1270" rtlCol="0" anchor="t" anchorCtr="0">
            <a:noAutofit/>
          </a:bodyPr>
          <a:lstStyle>
            <a:lvl1pPr>
              <a:defRPr lang="pt-BR" sz="1300" b="0" i="0" u="none" strike="noStrike" cap="none" dirty="0">
                <a:solidFill>
                  <a:schemeClr val="tx1"/>
                </a:solidFill>
                <a:ea typeface="Arial"/>
                <a:cs typeface="Arial"/>
              </a:defRPr>
            </a:lvl1pPr>
          </a:lstStyle>
          <a:p>
            <a:pPr marR="0" lv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</a:pPr>
            <a:r>
              <a:rPr lang="pt-BR"/>
              <a:t>Clique para editar os estilos de texto Mestres</a:t>
            </a:r>
          </a:p>
        </p:txBody>
      </p:sp>
      <p:sp>
        <p:nvSpPr>
          <p:cNvPr id="13" name="Espaço Reservado para Texto 5">
            <a:extLst>
              <a:ext uri="{FF2B5EF4-FFF2-40B4-BE49-F238E27FC236}">
                <a16:creationId xmlns:a16="http://schemas.microsoft.com/office/drawing/2014/main" id="{B8F1D9A9-B7F4-BE71-F7ED-0A07DA24A98C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1824038" y="2961188"/>
            <a:ext cx="2952000" cy="353377"/>
          </a:xfrm>
          <a:solidFill>
            <a:schemeClr val="accent1">
              <a:alpha val="9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spcFirstLastPara="0" vert="horz" wrap="square" lIns="180000" tIns="180000" rIns="180000" bIns="392049" numCol="1" spcCol="1270" rtlCol="0" anchor="t" anchorCtr="0">
            <a:noAutofit/>
          </a:bodyPr>
          <a:lstStyle>
            <a:lvl1pPr>
              <a:defRPr lang="pt-BR" sz="1300" b="0" i="0" u="none" strike="noStrike" cap="none" spc="-40" baseline="0" dirty="0">
                <a:solidFill>
                  <a:schemeClr val="bg1"/>
                </a:solidFill>
                <a:ea typeface="Arial"/>
                <a:cs typeface="Arial"/>
              </a:defRPr>
            </a:lvl1pPr>
          </a:lstStyle>
          <a:p>
            <a:pPr marR="0" lv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</a:pPr>
            <a:r>
              <a:rPr lang="pt-BR"/>
              <a:t>Clique para editar os estilos</a:t>
            </a:r>
          </a:p>
        </p:txBody>
      </p:sp>
      <p:sp>
        <p:nvSpPr>
          <p:cNvPr id="19" name="Espaço Reservado para Texto 5">
            <a:extLst>
              <a:ext uri="{FF2B5EF4-FFF2-40B4-BE49-F238E27FC236}">
                <a16:creationId xmlns:a16="http://schemas.microsoft.com/office/drawing/2014/main" id="{980425ED-7FEC-0C8E-25E6-739799A40669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5099050" y="2961188"/>
            <a:ext cx="2952000" cy="353377"/>
          </a:xfrm>
          <a:solidFill>
            <a:schemeClr val="accent1">
              <a:alpha val="9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spcFirstLastPara="0" vert="horz" wrap="square" lIns="180000" tIns="180000" rIns="180000" bIns="392049" numCol="1" spcCol="1270" rtlCol="0" anchor="t" anchorCtr="0">
            <a:noAutofit/>
          </a:bodyPr>
          <a:lstStyle>
            <a:lvl1pPr>
              <a:defRPr lang="pt-BR" sz="1300" b="0" i="0" u="none" strike="noStrike" cap="none" spc="-40" baseline="0" dirty="0">
                <a:solidFill>
                  <a:schemeClr val="bg1"/>
                </a:solidFill>
                <a:ea typeface="Arial"/>
                <a:cs typeface="Arial"/>
              </a:defRPr>
            </a:lvl1pPr>
          </a:lstStyle>
          <a:p>
            <a:pPr marR="0" lv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</a:pPr>
            <a:r>
              <a:rPr lang="pt-BR"/>
              <a:t>Clique para editar os estilos</a:t>
            </a:r>
          </a:p>
        </p:txBody>
      </p:sp>
      <p:sp>
        <p:nvSpPr>
          <p:cNvPr id="20" name="Espaço Reservado para Texto 5">
            <a:extLst>
              <a:ext uri="{FF2B5EF4-FFF2-40B4-BE49-F238E27FC236}">
                <a16:creationId xmlns:a16="http://schemas.microsoft.com/office/drawing/2014/main" id="{C5B6446B-3A90-952C-4B30-11612A5C500B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8325600" y="2961188"/>
            <a:ext cx="2952000" cy="353377"/>
          </a:xfrm>
          <a:solidFill>
            <a:schemeClr val="accent1">
              <a:alpha val="9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spcFirstLastPara="0" vert="horz" wrap="square" lIns="180000" tIns="180000" rIns="180000" bIns="392049" numCol="1" spcCol="1270" rtlCol="0" anchor="t" anchorCtr="0">
            <a:noAutofit/>
          </a:bodyPr>
          <a:lstStyle>
            <a:lvl1pPr>
              <a:defRPr lang="pt-BR" sz="1300" b="0" i="0" u="none" strike="noStrike" cap="none" spc="-40" baseline="0" dirty="0">
                <a:solidFill>
                  <a:schemeClr val="bg1"/>
                </a:solidFill>
                <a:ea typeface="Arial"/>
                <a:cs typeface="Arial"/>
              </a:defRPr>
            </a:lvl1pPr>
          </a:lstStyle>
          <a:p>
            <a:pPr marR="0" lv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</a:pPr>
            <a:r>
              <a:rPr lang="pt-BR"/>
              <a:t>Clique para editar os estilos</a:t>
            </a:r>
          </a:p>
        </p:txBody>
      </p:sp>
    </p:spTree>
    <p:extLst>
      <p:ext uri="{BB962C8B-B14F-4D97-AF65-F5344CB8AC3E}">
        <p14:creationId xmlns:p14="http://schemas.microsoft.com/office/powerpoint/2010/main" val="1662751245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9E3206E-0AB7-B63C-651D-884C11379B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62350" y="2090737"/>
            <a:ext cx="6832600" cy="2674937"/>
          </a:xfrm>
        </p:spPr>
        <p:txBody>
          <a:bodyPr anchor="ctr"/>
          <a:lstStyle>
            <a:lvl1pPr>
              <a:lnSpc>
                <a:spcPct val="80000"/>
              </a:lnSpc>
              <a:defRPr lang="pt-BR" sz="4400" b="1" i="0" u="none" strike="noStrike" kern="1200" cap="none" spc="-100" baseline="0" dirty="0" smtClean="0">
                <a:solidFill>
                  <a:schemeClr val="accent1"/>
                </a:solidFill>
                <a:latin typeface="+mj-lt"/>
                <a:ea typeface="+mj-ea"/>
                <a:cs typeface="+mj-cs"/>
                <a:sym typeface="Arial"/>
              </a:defRPr>
            </a:lvl1pPr>
          </a:lstStyle>
          <a:p>
            <a:r>
              <a:rPr lang="pt-BR"/>
              <a:t>Clique para editar o título</a:t>
            </a:r>
          </a:p>
        </p:txBody>
      </p:sp>
      <p:sp>
        <p:nvSpPr>
          <p:cNvPr id="7" name="Espaço Reservado para Texto 4">
            <a:extLst>
              <a:ext uri="{FF2B5EF4-FFF2-40B4-BE49-F238E27FC236}">
                <a16:creationId xmlns:a16="http://schemas.microsoft.com/office/drawing/2014/main" id="{B9457824-AFC5-539D-B4C1-7A3A5E03DD0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538538" y="4268788"/>
            <a:ext cx="6892925" cy="496887"/>
          </a:xfrm>
        </p:spPr>
        <p:txBody>
          <a:bodyPr lIns="108000" anchor="ctr">
            <a:normAutofit/>
          </a:bodyPr>
          <a:lstStyle>
            <a:lvl1pPr>
              <a:defRPr sz="1100" b="0" cap="all" spc="100" baseline="0">
                <a:solidFill>
                  <a:schemeClr val="tx2"/>
                </a:solidFill>
              </a:defRPr>
            </a:lvl1pPr>
          </a:lstStyle>
          <a:p>
            <a:endParaRPr lang="pt-BR"/>
          </a:p>
        </p:txBody>
      </p:sp>
      <p:pic>
        <p:nvPicPr>
          <p:cNvPr id="8" name="Gráfico 7">
            <a:extLst>
              <a:ext uri="{FF2B5EF4-FFF2-40B4-BE49-F238E27FC236}">
                <a16:creationId xmlns:a16="http://schemas.microsoft.com/office/drawing/2014/main" id="{1575969D-0F0E-88B6-17B4-F083C94DB6A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-4438651" y="0"/>
            <a:ext cx="6858000" cy="6858000"/>
          </a:xfrm>
          <a:prstGeom prst="rect">
            <a:avLst/>
          </a:prstGeom>
        </p:spPr>
      </p:pic>
      <p:pic>
        <p:nvPicPr>
          <p:cNvPr id="9" name="Gráfico 8">
            <a:extLst>
              <a:ext uri="{FF2B5EF4-FFF2-40B4-BE49-F238E27FC236}">
                <a16:creationId xmlns:a16="http://schemas.microsoft.com/office/drawing/2014/main" id="{CE54C1C0-D953-09FC-46AB-1CD803756B67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68362" y="4357257"/>
            <a:ext cx="1577057" cy="1853043"/>
          </a:xfrm>
          <a:prstGeom prst="rect">
            <a:avLst/>
          </a:prstGeom>
        </p:spPr>
      </p:pic>
      <p:pic>
        <p:nvPicPr>
          <p:cNvPr id="10" name="Gráfico 9">
            <a:extLst>
              <a:ext uri="{FF2B5EF4-FFF2-40B4-BE49-F238E27FC236}">
                <a16:creationId xmlns:a16="http://schemas.microsoft.com/office/drawing/2014/main" id="{15B50A3B-6C12-DE17-8536-FE3F8B4AA77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38386" y="476863"/>
            <a:ext cx="1412714" cy="8297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748480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Layout Personalizado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9E3206E-0AB7-B63C-651D-884C11379B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62350" y="2090737"/>
            <a:ext cx="6832600" cy="2674937"/>
          </a:xfrm>
        </p:spPr>
        <p:txBody>
          <a:bodyPr anchor="ctr"/>
          <a:lstStyle>
            <a:lvl1pPr>
              <a:lnSpc>
                <a:spcPct val="80000"/>
              </a:lnSpc>
              <a:defRPr lang="pt-BR" sz="4400" b="1" i="0" u="none" strike="noStrike" kern="1200" cap="none" spc="-100" baseline="0" dirty="0" smtClean="0">
                <a:solidFill>
                  <a:schemeClr val="bg1"/>
                </a:solidFill>
                <a:latin typeface="+mj-lt"/>
                <a:ea typeface="+mj-ea"/>
                <a:cs typeface="+mj-cs"/>
                <a:sym typeface="Arial"/>
              </a:defRPr>
            </a:lvl1pPr>
          </a:lstStyle>
          <a:p>
            <a:r>
              <a:rPr lang="pt-BR"/>
              <a:t>Clique para editar o título</a:t>
            </a:r>
          </a:p>
        </p:txBody>
      </p:sp>
      <p:sp>
        <p:nvSpPr>
          <p:cNvPr id="7" name="Espaço Reservado para Texto 4">
            <a:extLst>
              <a:ext uri="{FF2B5EF4-FFF2-40B4-BE49-F238E27FC236}">
                <a16:creationId xmlns:a16="http://schemas.microsoft.com/office/drawing/2014/main" id="{B9457824-AFC5-539D-B4C1-7A3A5E03DD0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538538" y="4268788"/>
            <a:ext cx="6892925" cy="496887"/>
          </a:xfrm>
        </p:spPr>
        <p:txBody>
          <a:bodyPr lIns="108000" anchor="ctr">
            <a:normAutofit/>
          </a:bodyPr>
          <a:lstStyle>
            <a:lvl1pPr>
              <a:defRPr sz="1100" b="0" cap="all" spc="100" baseline="0">
                <a:solidFill>
                  <a:schemeClr val="bg2"/>
                </a:solidFill>
              </a:defRPr>
            </a:lvl1pPr>
          </a:lstStyle>
          <a:p>
            <a:endParaRPr lang="pt-BR"/>
          </a:p>
        </p:txBody>
      </p:sp>
      <p:pic>
        <p:nvPicPr>
          <p:cNvPr id="8" name="Gráfico 7">
            <a:extLst>
              <a:ext uri="{FF2B5EF4-FFF2-40B4-BE49-F238E27FC236}">
                <a16:creationId xmlns:a16="http://schemas.microsoft.com/office/drawing/2014/main" id="{1575969D-0F0E-88B6-17B4-F083C94DB6A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-4438651" y="0"/>
            <a:ext cx="6858000" cy="6858000"/>
          </a:xfrm>
          <a:prstGeom prst="rect">
            <a:avLst/>
          </a:prstGeom>
        </p:spPr>
      </p:pic>
      <p:pic>
        <p:nvPicPr>
          <p:cNvPr id="9" name="Gráfico 8">
            <a:extLst>
              <a:ext uri="{FF2B5EF4-FFF2-40B4-BE49-F238E27FC236}">
                <a16:creationId xmlns:a16="http://schemas.microsoft.com/office/drawing/2014/main" id="{CE54C1C0-D953-09FC-46AB-1CD803756B67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68362" y="4357257"/>
            <a:ext cx="1577057" cy="1853043"/>
          </a:xfrm>
          <a:prstGeom prst="rect">
            <a:avLst/>
          </a:prstGeom>
        </p:spPr>
      </p:pic>
      <p:pic>
        <p:nvPicPr>
          <p:cNvPr id="10" name="Gráfico 9">
            <a:extLst>
              <a:ext uri="{FF2B5EF4-FFF2-40B4-BE49-F238E27FC236}">
                <a16:creationId xmlns:a16="http://schemas.microsoft.com/office/drawing/2014/main" id="{15B50A3B-6C12-DE17-8536-FE3F8B4AA77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 l="32" r="32"/>
          <a:stretch/>
        </p:blipFill>
        <p:spPr>
          <a:xfrm>
            <a:off x="1038386" y="476863"/>
            <a:ext cx="1411800" cy="8297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1859268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Layout Personalizado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9E3206E-0AB7-B63C-651D-884C11379B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62350" y="2090737"/>
            <a:ext cx="6832600" cy="2674937"/>
          </a:xfrm>
        </p:spPr>
        <p:txBody>
          <a:bodyPr anchor="ctr"/>
          <a:lstStyle>
            <a:lvl1pPr>
              <a:lnSpc>
                <a:spcPct val="80000"/>
              </a:lnSpc>
              <a:defRPr lang="pt-BR" sz="4400" b="1" i="0" u="none" strike="noStrike" kern="1200" cap="none" spc="-100" baseline="0" dirty="0" smtClean="0">
                <a:solidFill>
                  <a:schemeClr val="bg1"/>
                </a:solidFill>
                <a:latin typeface="+mj-lt"/>
                <a:ea typeface="+mj-ea"/>
                <a:cs typeface="+mj-cs"/>
                <a:sym typeface="Arial"/>
              </a:defRPr>
            </a:lvl1pPr>
          </a:lstStyle>
          <a:p>
            <a:r>
              <a:rPr lang="pt-BR"/>
              <a:t>Clique para editar o título</a:t>
            </a:r>
          </a:p>
        </p:txBody>
      </p:sp>
      <p:pic>
        <p:nvPicPr>
          <p:cNvPr id="8" name="Gráfico 7">
            <a:extLst>
              <a:ext uri="{FF2B5EF4-FFF2-40B4-BE49-F238E27FC236}">
                <a16:creationId xmlns:a16="http://schemas.microsoft.com/office/drawing/2014/main" id="{1575969D-0F0E-88B6-17B4-F083C94DB6A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-4438651" y="0"/>
            <a:ext cx="6858000" cy="6858000"/>
          </a:xfrm>
          <a:prstGeom prst="rect">
            <a:avLst/>
          </a:prstGeom>
        </p:spPr>
      </p:pic>
      <p:pic>
        <p:nvPicPr>
          <p:cNvPr id="9" name="Gráfico 8">
            <a:extLst>
              <a:ext uri="{FF2B5EF4-FFF2-40B4-BE49-F238E27FC236}">
                <a16:creationId xmlns:a16="http://schemas.microsoft.com/office/drawing/2014/main" id="{CE54C1C0-D953-09FC-46AB-1CD803756B67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68362" y="4357257"/>
            <a:ext cx="1577057" cy="1853043"/>
          </a:xfrm>
          <a:prstGeom prst="rect">
            <a:avLst/>
          </a:prstGeom>
        </p:spPr>
      </p:pic>
      <p:pic>
        <p:nvPicPr>
          <p:cNvPr id="10" name="Gráfico 9">
            <a:extLst>
              <a:ext uri="{FF2B5EF4-FFF2-40B4-BE49-F238E27FC236}">
                <a16:creationId xmlns:a16="http://schemas.microsoft.com/office/drawing/2014/main" id="{15B50A3B-6C12-DE17-8536-FE3F8B4AA77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 l="32" r="32"/>
          <a:stretch/>
        </p:blipFill>
        <p:spPr>
          <a:xfrm>
            <a:off x="1038386" y="476863"/>
            <a:ext cx="1411800" cy="829797"/>
          </a:xfrm>
          <a:prstGeom prst="rect">
            <a:avLst/>
          </a:prstGeom>
        </p:spPr>
      </p:pic>
      <p:sp>
        <p:nvSpPr>
          <p:cNvPr id="19" name="Espaço Reservado para Texto 4">
            <a:extLst>
              <a:ext uri="{FF2B5EF4-FFF2-40B4-BE49-F238E27FC236}">
                <a16:creationId xmlns:a16="http://schemas.microsoft.com/office/drawing/2014/main" id="{4D87E33E-59D6-DAD1-29AD-45184F79D6C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538538" y="4268788"/>
            <a:ext cx="6892925" cy="496887"/>
          </a:xfrm>
        </p:spPr>
        <p:txBody>
          <a:bodyPr lIns="108000" anchor="ctr">
            <a:normAutofit/>
          </a:bodyPr>
          <a:lstStyle>
            <a:lvl1pPr>
              <a:defRPr sz="1100" b="0" cap="all" spc="100" baseline="0">
                <a:solidFill>
                  <a:schemeClr val="bg2"/>
                </a:solidFill>
              </a:defRPr>
            </a:lvl1pPr>
          </a:lstStyle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569066344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ço Reservado para Texto 6">
            <a:extLst>
              <a:ext uri="{FF2B5EF4-FFF2-40B4-BE49-F238E27FC236}">
                <a16:creationId xmlns:a16="http://schemas.microsoft.com/office/drawing/2014/main" id="{D6F85BE3-183D-1F4D-9986-5566BC05916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10300" y="634416"/>
            <a:ext cx="5067325" cy="447675"/>
          </a:xfrm>
        </p:spPr>
        <p:txBody>
          <a:bodyPr lIns="108000">
            <a:normAutofit/>
          </a:bodyPr>
          <a:lstStyle>
            <a:lvl1pPr>
              <a:lnSpc>
                <a:spcPct val="100000"/>
              </a:lnSpc>
              <a:defRPr sz="1100" b="0" cap="all" spc="100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pt-BR"/>
              <a:t>Título</a:t>
            </a:r>
          </a:p>
        </p:txBody>
      </p:sp>
      <p:sp>
        <p:nvSpPr>
          <p:cNvPr id="8" name="Título 7">
            <a:extLst>
              <a:ext uri="{FF2B5EF4-FFF2-40B4-BE49-F238E27FC236}">
                <a16:creationId xmlns:a16="http://schemas.microsoft.com/office/drawing/2014/main" id="{850B399A-346B-51E3-1A92-253CADB724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10300" y="929692"/>
            <a:ext cx="5067325" cy="447676"/>
          </a:xfrm>
        </p:spPr>
        <p:txBody>
          <a:bodyPr anchor="t">
            <a:noAutofit/>
          </a:bodyPr>
          <a:lstStyle>
            <a:lvl1pPr>
              <a:defRPr sz="3600" b="1" spc="-100" baseline="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10" name="Espaço Reservado para Texto 9">
            <a:extLst>
              <a:ext uri="{FF2B5EF4-FFF2-40B4-BE49-F238E27FC236}">
                <a16:creationId xmlns:a16="http://schemas.microsoft.com/office/drawing/2014/main" id="{A4BD41B5-820C-FB18-CD31-121F93FBE6B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209506" y="2090738"/>
            <a:ext cx="5068094" cy="4125912"/>
          </a:xfrm>
        </p:spPr>
        <p:txBody>
          <a:bodyPr>
            <a:noAutofit/>
          </a:bodyPr>
          <a:lstStyle>
            <a:lvl1pPr marL="0" indent="0">
              <a:lnSpc>
                <a:spcPct val="120000"/>
              </a:lnSpc>
              <a:spcBef>
                <a:spcPts val="2000"/>
              </a:spcBef>
              <a:spcAft>
                <a:spcPts val="500"/>
              </a:spcAft>
              <a:buFont typeface="Arial" panose="020B0604020202020204" pitchFamily="34" charset="0"/>
              <a:buNone/>
              <a:defRPr sz="1600" b="1" u="none">
                <a:solidFill>
                  <a:schemeClr val="accent2"/>
                </a:solidFill>
              </a:defRPr>
            </a:lvl1pPr>
            <a:lvl2pPr marL="0" indent="0">
              <a:lnSpc>
                <a:spcPct val="120000"/>
              </a:lnSpc>
              <a:spcBef>
                <a:spcPts val="0"/>
              </a:spcBef>
              <a:spcAft>
                <a:spcPts val="500"/>
              </a:spcAft>
              <a:buNone/>
              <a:defRPr sz="1400"/>
            </a:lvl2pPr>
            <a:lvl3pPr marL="792000" indent="-288000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400">
                <a:solidFill>
                  <a:schemeClr val="tx2"/>
                </a:solidFill>
              </a:defRPr>
            </a:lvl3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endParaRPr lang="pt-BR"/>
          </a:p>
        </p:txBody>
      </p:sp>
      <p:sp>
        <p:nvSpPr>
          <p:cNvPr id="6" name="Picture Placeholder 4">
            <a:extLst>
              <a:ext uri="{FF2B5EF4-FFF2-40B4-BE49-F238E27FC236}">
                <a16:creationId xmlns:a16="http://schemas.microsoft.com/office/drawing/2014/main" id="{BD69C575-C0B5-1DAA-55F9-8E736B50604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013853" y="1514150"/>
            <a:ext cx="3494354" cy="3494354"/>
          </a:xfrm>
          <a:custGeom>
            <a:avLst/>
            <a:gdLst>
              <a:gd name="connsiteX0" fmla="*/ 3543300 w 7086600"/>
              <a:gd name="connsiteY0" fmla="*/ 0 h 7086600"/>
              <a:gd name="connsiteX1" fmla="*/ 7086600 w 7086600"/>
              <a:gd name="connsiteY1" fmla="*/ 3543300 h 7086600"/>
              <a:gd name="connsiteX2" fmla="*/ 3543300 w 7086600"/>
              <a:gd name="connsiteY2" fmla="*/ 7086600 h 7086600"/>
              <a:gd name="connsiteX3" fmla="*/ 0 w 7086600"/>
              <a:gd name="connsiteY3" fmla="*/ 3543300 h 7086600"/>
              <a:gd name="connsiteX4" fmla="*/ 3543300 w 7086600"/>
              <a:gd name="connsiteY4" fmla="*/ 0 h 7086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086600" h="7086600">
                <a:moveTo>
                  <a:pt x="3543300" y="0"/>
                </a:moveTo>
                <a:cubicBezTo>
                  <a:pt x="5500211" y="0"/>
                  <a:pt x="7086600" y="1586389"/>
                  <a:pt x="7086600" y="3543300"/>
                </a:cubicBezTo>
                <a:cubicBezTo>
                  <a:pt x="7086600" y="5500211"/>
                  <a:pt x="5500211" y="7086600"/>
                  <a:pt x="3543300" y="7086600"/>
                </a:cubicBezTo>
                <a:cubicBezTo>
                  <a:pt x="1586389" y="7086600"/>
                  <a:pt x="0" y="5500211"/>
                  <a:pt x="0" y="3543300"/>
                </a:cubicBezTo>
                <a:cubicBezTo>
                  <a:pt x="0" y="1586389"/>
                  <a:pt x="1586389" y="0"/>
                  <a:pt x="35433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 sz="2000"/>
            </a:lvl1pPr>
          </a:lstStyle>
          <a:p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556606352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ço Reservado para Texto 6">
            <a:extLst>
              <a:ext uri="{FF2B5EF4-FFF2-40B4-BE49-F238E27FC236}">
                <a16:creationId xmlns:a16="http://schemas.microsoft.com/office/drawing/2014/main" id="{D6F85BE3-183D-1F4D-9986-5566BC05916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15194" y="634416"/>
            <a:ext cx="5067325" cy="447675"/>
          </a:xfrm>
        </p:spPr>
        <p:txBody>
          <a:bodyPr lIns="108000">
            <a:normAutofit/>
          </a:bodyPr>
          <a:lstStyle>
            <a:lvl1pPr>
              <a:lnSpc>
                <a:spcPct val="100000"/>
              </a:lnSpc>
              <a:defRPr sz="1100" b="0" cap="all" spc="100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pt-BR"/>
              <a:t>Título</a:t>
            </a:r>
          </a:p>
        </p:txBody>
      </p:sp>
      <p:sp>
        <p:nvSpPr>
          <p:cNvPr id="8" name="Título 7">
            <a:extLst>
              <a:ext uri="{FF2B5EF4-FFF2-40B4-BE49-F238E27FC236}">
                <a16:creationId xmlns:a16="http://schemas.microsoft.com/office/drawing/2014/main" id="{850B399A-346B-51E3-1A92-253CADB724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5194" y="929692"/>
            <a:ext cx="5067325" cy="447676"/>
          </a:xfrm>
        </p:spPr>
        <p:txBody>
          <a:bodyPr anchor="t">
            <a:noAutofit/>
          </a:bodyPr>
          <a:lstStyle>
            <a:lvl1pPr>
              <a:defRPr sz="3200" b="1" spc="-100" baseline="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10" name="Espaço Reservado para Texto 9">
            <a:extLst>
              <a:ext uri="{FF2B5EF4-FFF2-40B4-BE49-F238E27FC236}">
                <a16:creationId xmlns:a16="http://schemas.microsoft.com/office/drawing/2014/main" id="{A4BD41B5-820C-FB18-CD31-121F93FBE6B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14400" y="2090738"/>
            <a:ext cx="5068094" cy="4125912"/>
          </a:xfrm>
        </p:spPr>
        <p:txBody>
          <a:bodyPr>
            <a:noAutofit/>
          </a:bodyPr>
          <a:lstStyle>
            <a:lvl1pPr marL="0" indent="0">
              <a:lnSpc>
                <a:spcPct val="120000"/>
              </a:lnSpc>
              <a:spcBef>
                <a:spcPts val="2000"/>
              </a:spcBef>
              <a:spcAft>
                <a:spcPts val="500"/>
              </a:spcAft>
              <a:buFont typeface="Arial" panose="020B0604020202020204" pitchFamily="34" charset="0"/>
              <a:buNone/>
              <a:defRPr sz="1600" b="1" u="none">
                <a:solidFill>
                  <a:schemeClr val="accent2"/>
                </a:solidFill>
              </a:defRPr>
            </a:lvl1pPr>
            <a:lvl2pPr marL="0" indent="0">
              <a:lnSpc>
                <a:spcPct val="120000"/>
              </a:lnSpc>
              <a:spcBef>
                <a:spcPts val="0"/>
              </a:spcBef>
              <a:spcAft>
                <a:spcPts val="500"/>
              </a:spcAft>
              <a:buNone/>
              <a:defRPr sz="1400"/>
            </a:lvl2pPr>
            <a:lvl3pPr marL="792000" indent="-288000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400">
                <a:solidFill>
                  <a:schemeClr val="tx2"/>
                </a:solidFill>
              </a:defRPr>
            </a:lvl3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endParaRPr lang="pt-BR"/>
          </a:p>
        </p:txBody>
      </p:sp>
      <p:sp>
        <p:nvSpPr>
          <p:cNvPr id="6" name="Picture Placeholder 4">
            <a:extLst>
              <a:ext uri="{FF2B5EF4-FFF2-40B4-BE49-F238E27FC236}">
                <a16:creationId xmlns:a16="http://schemas.microsoft.com/office/drawing/2014/main" id="{BD69C575-C0B5-1DAA-55F9-8E736B506045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137373" y="2652353"/>
            <a:ext cx="3215912" cy="3215912"/>
          </a:xfrm>
          <a:custGeom>
            <a:avLst/>
            <a:gdLst>
              <a:gd name="connsiteX0" fmla="*/ 3543300 w 7086600"/>
              <a:gd name="connsiteY0" fmla="*/ 0 h 7086600"/>
              <a:gd name="connsiteX1" fmla="*/ 7086600 w 7086600"/>
              <a:gd name="connsiteY1" fmla="*/ 3543300 h 7086600"/>
              <a:gd name="connsiteX2" fmla="*/ 3543300 w 7086600"/>
              <a:gd name="connsiteY2" fmla="*/ 7086600 h 7086600"/>
              <a:gd name="connsiteX3" fmla="*/ 0 w 7086600"/>
              <a:gd name="connsiteY3" fmla="*/ 3543300 h 7086600"/>
              <a:gd name="connsiteX4" fmla="*/ 3543300 w 7086600"/>
              <a:gd name="connsiteY4" fmla="*/ 0 h 7086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086600" h="7086600">
                <a:moveTo>
                  <a:pt x="3543300" y="0"/>
                </a:moveTo>
                <a:cubicBezTo>
                  <a:pt x="5500211" y="0"/>
                  <a:pt x="7086600" y="1586389"/>
                  <a:pt x="7086600" y="3543300"/>
                </a:cubicBezTo>
                <a:cubicBezTo>
                  <a:pt x="7086600" y="5500211"/>
                  <a:pt x="5500211" y="7086600"/>
                  <a:pt x="3543300" y="7086600"/>
                </a:cubicBezTo>
                <a:cubicBezTo>
                  <a:pt x="1586389" y="7086600"/>
                  <a:pt x="0" y="5500211"/>
                  <a:pt x="0" y="3543300"/>
                </a:cubicBezTo>
                <a:cubicBezTo>
                  <a:pt x="0" y="1586389"/>
                  <a:pt x="1586389" y="0"/>
                  <a:pt x="35433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 sz="2000"/>
            </a:lvl1pPr>
          </a:lstStyle>
          <a:p>
            <a:r>
              <a:rPr lang="en-ID" err="1"/>
              <a:t>Imagem</a:t>
            </a:r>
            <a:endParaRPr lang="en-ID"/>
          </a:p>
        </p:txBody>
      </p:sp>
      <p:sp>
        <p:nvSpPr>
          <p:cNvPr id="2" name="Elipse 1">
            <a:extLst>
              <a:ext uri="{FF2B5EF4-FFF2-40B4-BE49-F238E27FC236}">
                <a16:creationId xmlns:a16="http://schemas.microsoft.com/office/drawing/2014/main" id="{A49AEE0D-5540-3547-BC5A-EEFF6F6E43A8}"/>
              </a:ext>
            </a:extLst>
          </p:cNvPr>
          <p:cNvSpPr/>
          <p:nvPr userDrawn="1"/>
        </p:nvSpPr>
        <p:spPr>
          <a:xfrm>
            <a:off x="6063916" y="1579387"/>
            <a:ext cx="5362826" cy="5362826"/>
          </a:xfrm>
          <a:prstGeom prst="ellipse">
            <a:avLst/>
          </a:prstGeom>
          <a:noFill/>
          <a:ln w="9525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9" name="Elipse 8">
            <a:extLst>
              <a:ext uri="{FF2B5EF4-FFF2-40B4-BE49-F238E27FC236}">
                <a16:creationId xmlns:a16="http://schemas.microsoft.com/office/drawing/2014/main" id="{C637D6D3-823D-5CA1-E4DB-1EBD83A6E131}"/>
              </a:ext>
            </a:extLst>
          </p:cNvPr>
          <p:cNvSpPr/>
          <p:nvPr userDrawn="1"/>
        </p:nvSpPr>
        <p:spPr>
          <a:xfrm>
            <a:off x="7111110" y="786063"/>
            <a:ext cx="1600274" cy="1600274"/>
          </a:xfrm>
          <a:prstGeom prst="ellipse">
            <a:avLst/>
          </a:pr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1" name="Elipse 10">
            <a:extLst>
              <a:ext uri="{FF2B5EF4-FFF2-40B4-BE49-F238E27FC236}">
                <a16:creationId xmlns:a16="http://schemas.microsoft.com/office/drawing/2014/main" id="{A80B72A2-436E-D9FD-0AF7-648ADA0BB41E}"/>
              </a:ext>
            </a:extLst>
          </p:cNvPr>
          <p:cNvSpPr/>
          <p:nvPr userDrawn="1"/>
        </p:nvSpPr>
        <p:spPr>
          <a:xfrm>
            <a:off x="10338588" y="4967534"/>
            <a:ext cx="1243812" cy="1243812"/>
          </a:xfrm>
          <a:prstGeom prst="ellipse">
            <a:avLst/>
          </a:pr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12" name="Gráfico 11">
            <a:extLst>
              <a:ext uri="{FF2B5EF4-FFF2-40B4-BE49-F238E27FC236}">
                <a16:creationId xmlns:a16="http://schemas.microsoft.com/office/drawing/2014/main" id="{E9ECFA41-67A9-E4A3-C1EE-58B458E21DE6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828972" y="-1239748"/>
            <a:ext cx="2726056" cy="2726056"/>
          </a:xfrm>
          <a:prstGeom prst="rect">
            <a:avLst/>
          </a:prstGeom>
        </p:spPr>
      </p:pic>
      <p:sp>
        <p:nvSpPr>
          <p:cNvPr id="14" name="Picture Placeholder 4">
            <a:extLst>
              <a:ext uri="{FF2B5EF4-FFF2-40B4-BE49-F238E27FC236}">
                <a16:creationId xmlns:a16="http://schemas.microsoft.com/office/drawing/2014/main" id="{C78140DF-A908-BA68-B4C7-7132F96883C0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7328107" y="1003061"/>
            <a:ext cx="1166279" cy="1166279"/>
          </a:xfrm>
          <a:custGeom>
            <a:avLst/>
            <a:gdLst>
              <a:gd name="connsiteX0" fmla="*/ 3543300 w 7086600"/>
              <a:gd name="connsiteY0" fmla="*/ 0 h 7086600"/>
              <a:gd name="connsiteX1" fmla="*/ 7086600 w 7086600"/>
              <a:gd name="connsiteY1" fmla="*/ 3543300 h 7086600"/>
              <a:gd name="connsiteX2" fmla="*/ 3543300 w 7086600"/>
              <a:gd name="connsiteY2" fmla="*/ 7086600 h 7086600"/>
              <a:gd name="connsiteX3" fmla="*/ 0 w 7086600"/>
              <a:gd name="connsiteY3" fmla="*/ 3543300 h 7086600"/>
              <a:gd name="connsiteX4" fmla="*/ 3543300 w 7086600"/>
              <a:gd name="connsiteY4" fmla="*/ 0 h 7086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086600" h="7086600">
                <a:moveTo>
                  <a:pt x="3543300" y="0"/>
                </a:moveTo>
                <a:cubicBezTo>
                  <a:pt x="5500211" y="0"/>
                  <a:pt x="7086600" y="1586389"/>
                  <a:pt x="7086600" y="3543300"/>
                </a:cubicBezTo>
                <a:cubicBezTo>
                  <a:pt x="7086600" y="5500211"/>
                  <a:pt x="5500211" y="7086600"/>
                  <a:pt x="3543300" y="7086600"/>
                </a:cubicBezTo>
                <a:cubicBezTo>
                  <a:pt x="1586389" y="7086600"/>
                  <a:pt x="0" y="5500211"/>
                  <a:pt x="0" y="3543300"/>
                </a:cubicBezTo>
                <a:cubicBezTo>
                  <a:pt x="0" y="1586389"/>
                  <a:pt x="1586389" y="0"/>
                  <a:pt x="35433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 sz="2000"/>
            </a:lvl1pPr>
          </a:lstStyle>
          <a:p>
            <a:r>
              <a:rPr lang="en-ID" err="1"/>
              <a:t>Imagem</a:t>
            </a:r>
            <a:endParaRPr lang="en-ID"/>
          </a:p>
        </p:txBody>
      </p:sp>
      <p:sp>
        <p:nvSpPr>
          <p:cNvPr id="16" name="Picture Placeholder 4">
            <a:extLst>
              <a:ext uri="{FF2B5EF4-FFF2-40B4-BE49-F238E27FC236}">
                <a16:creationId xmlns:a16="http://schemas.microsoft.com/office/drawing/2014/main" id="{BE0A0048-DD3B-B964-36C4-C7F672FEE759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10567923" y="5196870"/>
            <a:ext cx="785141" cy="785141"/>
          </a:xfrm>
          <a:custGeom>
            <a:avLst/>
            <a:gdLst>
              <a:gd name="connsiteX0" fmla="*/ 3543300 w 7086600"/>
              <a:gd name="connsiteY0" fmla="*/ 0 h 7086600"/>
              <a:gd name="connsiteX1" fmla="*/ 7086600 w 7086600"/>
              <a:gd name="connsiteY1" fmla="*/ 3543300 h 7086600"/>
              <a:gd name="connsiteX2" fmla="*/ 3543300 w 7086600"/>
              <a:gd name="connsiteY2" fmla="*/ 7086600 h 7086600"/>
              <a:gd name="connsiteX3" fmla="*/ 0 w 7086600"/>
              <a:gd name="connsiteY3" fmla="*/ 3543300 h 7086600"/>
              <a:gd name="connsiteX4" fmla="*/ 3543300 w 7086600"/>
              <a:gd name="connsiteY4" fmla="*/ 0 h 7086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086600" h="7086600">
                <a:moveTo>
                  <a:pt x="3543300" y="0"/>
                </a:moveTo>
                <a:cubicBezTo>
                  <a:pt x="5500211" y="0"/>
                  <a:pt x="7086600" y="1586389"/>
                  <a:pt x="7086600" y="3543300"/>
                </a:cubicBezTo>
                <a:cubicBezTo>
                  <a:pt x="7086600" y="5500211"/>
                  <a:pt x="5500211" y="7086600"/>
                  <a:pt x="3543300" y="7086600"/>
                </a:cubicBezTo>
                <a:cubicBezTo>
                  <a:pt x="1586389" y="7086600"/>
                  <a:pt x="0" y="5500211"/>
                  <a:pt x="0" y="3543300"/>
                </a:cubicBezTo>
                <a:cubicBezTo>
                  <a:pt x="0" y="1586389"/>
                  <a:pt x="1586389" y="0"/>
                  <a:pt x="35433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 sz="2000"/>
            </a:lvl1pPr>
          </a:lstStyle>
          <a:p>
            <a:r>
              <a:rPr lang="en-ID" err="1"/>
              <a:t>Imagem</a:t>
            </a:r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96437455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ço Reservado para Gráfico 7">
            <a:extLst>
              <a:ext uri="{FF2B5EF4-FFF2-40B4-BE49-F238E27FC236}">
                <a16:creationId xmlns:a16="http://schemas.microsoft.com/office/drawing/2014/main" id="{525D5F98-DDB4-B94B-66E6-7FC4458751DE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1109663" y="2438030"/>
            <a:ext cx="4676775" cy="2674937"/>
          </a:xfrm>
        </p:spPr>
        <p:txBody>
          <a:bodyPr/>
          <a:lstStyle/>
          <a:p>
            <a:endParaRPr lang="pt-BR"/>
          </a:p>
        </p:txBody>
      </p:sp>
      <p:sp>
        <p:nvSpPr>
          <p:cNvPr id="13" name="Título 12">
            <a:extLst>
              <a:ext uri="{FF2B5EF4-FFF2-40B4-BE49-F238E27FC236}">
                <a16:creationId xmlns:a16="http://schemas.microsoft.com/office/drawing/2014/main" id="{ADF69FDE-B23B-9656-AB0E-FA565B8CC7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4400" y="655275"/>
            <a:ext cx="7160897" cy="476190"/>
          </a:xfrm>
        </p:spPr>
        <p:txBody>
          <a:bodyPr>
            <a:noAutofit/>
          </a:bodyPr>
          <a:lstStyle>
            <a:lvl1pPr>
              <a:defRPr sz="3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18" name="Espaço Reservado para Texto 9">
            <a:extLst>
              <a:ext uri="{FF2B5EF4-FFF2-40B4-BE49-F238E27FC236}">
                <a16:creationId xmlns:a16="http://schemas.microsoft.com/office/drawing/2014/main" id="{2AC255A1-9E21-0591-850C-D24AC51F842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092951" y="1862138"/>
            <a:ext cx="4184650" cy="4132846"/>
          </a:xfrm>
        </p:spPr>
        <p:txBody>
          <a:bodyPr>
            <a:noAutofit/>
          </a:bodyPr>
          <a:lstStyle>
            <a:lvl1pPr marL="0" indent="0">
              <a:lnSpc>
                <a:spcPct val="110000"/>
              </a:lnSpc>
              <a:spcBef>
                <a:spcPts val="2000"/>
              </a:spcBef>
              <a:spcAft>
                <a:spcPts val="500"/>
              </a:spcAft>
              <a:buFont typeface="Arial" panose="020B0604020202020204" pitchFamily="34" charset="0"/>
              <a:buNone/>
              <a:defRPr sz="1700" b="1" u="none">
                <a:solidFill>
                  <a:schemeClr val="accent2"/>
                </a:solidFill>
              </a:defRPr>
            </a:lvl1pPr>
            <a:lvl2pPr marL="0" indent="0">
              <a:lnSpc>
                <a:spcPct val="130000"/>
              </a:lnSpc>
              <a:spcBef>
                <a:spcPts val="0"/>
              </a:spcBef>
              <a:spcAft>
                <a:spcPts val="500"/>
              </a:spcAft>
              <a:buNone/>
              <a:defRPr sz="1400">
                <a:solidFill>
                  <a:schemeClr val="tx2"/>
                </a:solidFill>
              </a:defRPr>
            </a:lvl2pPr>
            <a:lvl3pPr marL="792000" indent="-288000">
              <a:lnSpc>
                <a:spcPct val="110000"/>
              </a:lnSpc>
              <a:spcBef>
                <a:spcPts val="500"/>
              </a:spcBef>
              <a:spcAft>
                <a:spcPts val="0"/>
              </a:spcAft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400">
                <a:solidFill>
                  <a:schemeClr val="tx2"/>
                </a:solidFill>
              </a:defRPr>
            </a:lvl3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endParaRPr lang="pt-BR"/>
          </a:p>
        </p:txBody>
      </p:sp>
      <p:pic>
        <p:nvPicPr>
          <p:cNvPr id="5" name="Gráfico 4">
            <a:extLst>
              <a:ext uri="{FF2B5EF4-FFF2-40B4-BE49-F238E27FC236}">
                <a16:creationId xmlns:a16="http://schemas.microsoft.com/office/drawing/2014/main" id="{A55B6DD7-EF35-1A47-0682-FB0263AE46FD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828972" y="-1239748"/>
            <a:ext cx="2726056" cy="2726056"/>
          </a:xfrm>
          <a:prstGeom prst="rect">
            <a:avLst/>
          </a:prstGeom>
        </p:spPr>
      </p:pic>
      <p:pic>
        <p:nvPicPr>
          <p:cNvPr id="6" name="Gráfico 5">
            <a:extLst>
              <a:ext uri="{FF2B5EF4-FFF2-40B4-BE49-F238E27FC236}">
                <a16:creationId xmlns:a16="http://schemas.microsoft.com/office/drawing/2014/main" id="{6BB7C3AF-C957-8BE3-AA41-01756EF205A3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680864" y="6346864"/>
            <a:ext cx="1022272" cy="1022272"/>
          </a:xfrm>
          <a:prstGeom prst="rect">
            <a:avLst/>
          </a:prstGeom>
        </p:spPr>
      </p:pic>
      <p:pic>
        <p:nvPicPr>
          <p:cNvPr id="2" name="Imagem 1" descr="Logotipo&#10;&#10;Descrição gerada automaticamente">
            <a:extLst>
              <a:ext uri="{FF2B5EF4-FFF2-40B4-BE49-F238E27FC236}">
                <a16:creationId xmlns:a16="http://schemas.microsoft.com/office/drawing/2014/main" id="{998CDD9A-C3B1-769F-4D99-0F7960F23A4C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9877675" y="278512"/>
            <a:ext cx="864013" cy="507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7384471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Layout Personalizado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ítulo 7">
            <a:extLst>
              <a:ext uri="{FF2B5EF4-FFF2-40B4-BE49-F238E27FC236}">
                <a16:creationId xmlns:a16="http://schemas.microsoft.com/office/drawing/2014/main" id="{850B399A-346B-51E3-1A92-253CADB7249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10300" y="1398588"/>
            <a:ext cx="5067325" cy="447676"/>
          </a:xfrm>
        </p:spPr>
        <p:txBody>
          <a:bodyPr anchor="t">
            <a:noAutofit/>
          </a:bodyPr>
          <a:lstStyle>
            <a:lvl1pPr>
              <a:defRPr sz="3000" b="1" spc="-100" baseline="0">
                <a:solidFill>
                  <a:schemeClr val="bg1"/>
                </a:solidFill>
              </a:defRPr>
            </a:lvl1pPr>
          </a:lstStyle>
          <a:p>
            <a:r>
              <a:rPr lang="pt-BR"/>
              <a:t>Título Mestre</a:t>
            </a:r>
          </a:p>
        </p:txBody>
      </p:sp>
      <p:sp>
        <p:nvSpPr>
          <p:cNvPr id="10" name="Espaço Reservado para Texto 9">
            <a:extLst>
              <a:ext uri="{FF2B5EF4-FFF2-40B4-BE49-F238E27FC236}">
                <a16:creationId xmlns:a16="http://schemas.microsoft.com/office/drawing/2014/main" id="{A4BD41B5-820C-FB18-CD31-121F93FBE6B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209506" y="2090738"/>
            <a:ext cx="5068094" cy="4125912"/>
          </a:xfrm>
        </p:spPr>
        <p:txBody>
          <a:bodyPr>
            <a:noAutofit/>
          </a:bodyPr>
          <a:lstStyle>
            <a:lvl1pPr marL="0" indent="0">
              <a:lnSpc>
                <a:spcPct val="120000"/>
              </a:lnSpc>
              <a:spcBef>
                <a:spcPts val="2000"/>
              </a:spcBef>
              <a:spcAft>
                <a:spcPts val="500"/>
              </a:spcAft>
              <a:buFont typeface="Arial" panose="020B0604020202020204" pitchFamily="34" charset="0"/>
              <a:buNone/>
              <a:defRPr sz="1500" b="1" u="none">
                <a:solidFill>
                  <a:schemeClr val="accent2"/>
                </a:solidFill>
              </a:defRPr>
            </a:lvl1pPr>
            <a:lvl2pPr marL="0" indent="0">
              <a:lnSpc>
                <a:spcPct val="120000"/>
              </a:lnSpc>
              <a:spcBef>
                <a:spcPts val="0"/>
              </a:spcBef>
              <a:spcAft>
                <a:spcPts val="500"/>
              </a:spcAft>
              <a:buNone/>
              <a:defRPr sz="1300">
                <a:solidFill>
                  <a:schemeClr val="bg1"/>
                </a:solidFill>
              </a:defRPr>
            </a:lvl2pPr>
            <a:lvl3pPr marL="792000" indent="-288000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400">
                <a:solidFill>
                  <a:schemeClr val="bg2"/>
                </a:solidFill>
              </a:defRPr>
            </a:lvl3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endParaRPr lang="pt-BR"/>
          </a:p>
        </p:txBody>
      </p:sp>
      <p:pic>
        <p:nvPicPr>
          <p:cNvPr id="2" name="Gráfico 1">
            <a:extLst>
              <a:ext uri="{FF2B5EF4-FFF2-40B4-BE49-F238E27FC236}">
                <a16:creationId xmlns:a16="http://schemas.microsoft.com/office/drawing/2014/main" id="{0A5879CF-3A57-F8C5-5DB7-0DDBF0702F55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638510" y="1335128"/>
            <a:ext cx="1022272" cy="1022272"/>
          </a:xfrm>
          <a:prstGeom prst="rect">
            <a:avLst/>
          </a:prstGeom>
        </p:spPr>
      </p:pic>
      <p:pic>
        <p:nvPicPr>
          <p:cNvPr id="3" name="Gráfico 2">
            <a:extLst>
              <a:ext uri="{FF2B5EF4-FFF2-40B4-BE49-F238E27FC236}">
                <a16:creationId xmlns:a16="http://schemas.microsoft.com/office/drawing/2014/main" id="{65263578-CBA1-22C2-E629-7BBA7BA793D8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-888620" y="-1239748"/>
            <a:ext cx="2726056" cy="2726056"/>
          </a:xfrm>
          <a:prstGeom prst="rect">
            <a:avLst/>
          </a:prstGeom>
        </p:spPr>
      </p:pic>
      <p:pic>
        <p:nvPicPr>
          <p:cNvPr id="4" name="Gráfico 3">
            <a:extLst>
              <a:ext uri="{FF2B5EF4-FFF2-40B4-BE49-F238E27FC236}">
                <a16:creationId xmlns:a16="http://schemas.microsoft.com/office/drawing/2014/main" id="{139BA4FB-8314-FDEC-15F0-E08569D9D4CB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109642" y="5660305"/>
            <a:ext cx="681514" cy="681514"/>
          </a:xfrm>
          <a:prstGeom prst="rect">
            <a:avLst/>
          </a:prstGeom>
        </p:spPr>
      </p:pic>
      <p:sp>
        <p:nvSpPr>
          <p:cNvPr id="6" name="Picture Placeholder 4">
            <a:extLst>
              <a:ext uri="{FF2B5EF4-FFF2-40B4-BE49-F238E27FC236}">
                <a16:creationId xmlns:a16="http://schemas.microsoft.com/office/drawing/2014/main" id="{BD69C575-C0B5-1DAA-55F9-8E736B50604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949568" y="1642454"/>
            <a:ext cx="4061502" cy="4061502"/>
          </a:xfrm>
          <a:custGeom>
            <a:avLst/>
            <a:gdLst>
              <a:gd name="connsiteX0" fmla="*/ 3543300 w 7086600"/>
              <a:gd name="connsiteY0" fmla="*/ 0 h 7086600"/>
              <a:gd name="connsiteX1" fmla="*/ 7086600 w 7086600"/>
              <a:gd name="connsiteY1" fmla="*/ 3543300 h 7086600"/>
              <a:gd name="connsiteX2" fmla="*/ 3543300 w 7086600"/>
              <a:gd name="connsiteY2" fmla="*/ 7086600 h 7086600"/>
              <a:gd name="connsiteX3" fmla="*/ 0 w 7086600"/>
              <a:gd name="connsiteY3" fmla="*/ 3543300 h 7086600"/>
              <a:gd name="connsiteX4" fmla="*/ 3543300 w 7086600"/>
              <a:gd name="connsiteY4" fmla="*/ 0 h 7086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086600" h="7086600">
                <a:moveTo>
                  <a:pt x="3543300" y="0"/>
                </a:moveTo>
                <a:cubicBezTo>
                  <a:pt x="5500211" y="0"/>
                  <a:pt x="7086600" y="1586389"/>
                  <a:pt x="7086600" y="3543300"/>
                </a:cubicBezTo>
                <a:cubicBezTo>
                  <a:pt x="7086600" y="5500211"/>
                  <a:pt x="5500211" y="7086600"/>
                  <a:pt x="3543300" y="7086600"/>
                </a:cubicBezTo>
                <a:cubicBezTo>
                  <a:pt x="1586389" y="7086600"/>
                  <a:pt x="0" y="5500211"/>
                  <a:pt x="0" y="3543300"/>
                </a:cubicBezTo>
                <a:cubicBezTo>
                  <a:pt x="0" y="1586389"/>
                  <a:pt x="1586389" y="0"/>
                  <a:pt x="35433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 sz="2000"/>
            </a:lvl1pPr>
          </a:lstStyle>
          <a:p>
            <a:endParaRPr lang="en-ID"/>
          </a:p>
        </p:txBody>
      </p:sp>
      <p:sp>
        <p:nvSpPr>
          <p:cNvPr id="12" name="Espaço Reservado para Imagem 10">
            <a:extLst>
              <a:ext uri="{FF2B5EF4-FFF2-40B4-BE49-F238E27FC236}">
                <a16:creationId xmlns:a16="http://schemas.microsoft.com/office/drawing/2014/main" id="{82EDB949-E31F-851E-8023-22D09B234E03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74745" y="1494631"/>
            <a:ext cx="1190998" cy="1395317"/>
          </a:xfrm>
        </p:spPr>
        <p:txBody>
          <a:bodyPr/>
          <a:lstStyle>
            <a:lvl1pPr>
              <a:defRPr spc="-50" baseline="0"/>
            </a:lvl1pPr>
          </a:lstStyle>
          <a:p>
            <a:r>
              <a:rPr lang="pt-BR"/>
              <a:t>Grafismo</a:t>
            </a:r>
            <a:br>
              <a:rPr lang="pt-BR"/>
            </a:br>
            <a:r>
              <a:rPr lang="pt-BR"/>
              <a:t>(opcional)</a:t>
            </a:r>
          </a:p>
        </p:txBody>
      </p:sp>
    </p:spTree>
    <p:extLst>
      <p:ext uri="{BB962C8B-B14F-4D97-AF65-F5344CB8AC3E}">
        <p14:creationId xmlns:p14="http://schemas.microsoft.com/office/powerpoint/2010/main" val="1445486528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Layout Personalizado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val 6">
            <a:extLst>
              <a:ext uri="{FF2B5EF4-FFF2-40B4-BE49-F238E27FC236}">
                <a16:creationId xmlns:a16="http://schemas.microsoft.com/office/drawing/2014/main" id="{834422CA-98D0-C42F-0C28-8A89C29CEF93}"/>
              </a:ext>
            </a:extLst>
          </p:cNvPr>
          <p:cNvSpPr/>
          <p:nvPr userDrawn="1"/>
        </p:nvSpPr>
        <p:spPr>
          <a:xfrm>
            <a:off x="-279474" y="3770819"/>
            <a:ext cx="2140804" cy="2135020"/>
          </a:xfrm>
          <a:prstGeom prst="ellipse">
            <a:avLst/>
          </a:prstGeom>
          <a:solidFill>
            <a:srgbClr val="F461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sz="1351"/>
          </a:p>
        </p:txBody>
      </p:sp>
      <p:pic>
        <p:nvPicPr>
          <p:cNvPr id="4" name="Gráfico 3">
            <a:extLst>
              <a:ext uri="{FF2B5EF4-FFF2-40B4-BE49-F238E27FC236}">
                <a16:creationId xmlns:a16="http://schemas.microsoft.com/office/drawing/2014/main" id="{E1A1E57D-5415-FF9C-C2D4-D14B5775926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435006" y="1136650"/>
            <a:ext cx="1712170" cy="1707542"/>
          </a:xfrm>
          <a:prstGeom prst="rect">
            <a:avLst/>
          </a:prstGeom>
        </p:spPr>
      </p:pic>
      <p:sp>
        <p:nvSpPr>
          <p:cNvPr id="5" name="Oval 5">
            <a:extLst>
              <a:ext uri="{FF2B5EF4-FFF2-40B4-BE49-F238E27FC236}">
                <a16:creationId xmlns:a16="http://schemas.microsoft.com/office/drawing/2014/main" id="{A501F69B-8309-1299-025A-632B85EADA6F}"/>
              </a:ext>
            </a:extLst>
          </p:cNvPr>
          <p:cNvSpPr/>
          <p:nvPr userDrawn="1"/>
        </p:nvSpPr>
        <p:spPr>
          <a:xfrm>
            <a:off x="949082" y="1438270"/>
            <a:ext cx="3633370" cy="3623546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sz="1351"/>
          </a:p>
        </p:txBody>
      </p:sp>
      <p:sp>
        <p:nvSpPr>
          <p:cNvPr id="7" name="Espaço Reservado para Texto 6">
            <a:extLst>
              <a:ext uri="{FF2B5EF4-FFF2-40B4-BE49-F238E27FC236}">
                <a16:creationId xmlns:a16="http://schemas.microsoft.com/office/drawing/2014/main" id="{D6F85BE3-183D-1F4D-9986-5566BC05916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10300" y="634416"/>
            <a:ext cx="5067325" cy="447675"/>
          </a:xfrm>
        </p:spPr>
        <p:txBody>
          <a:bodyPr lIns="108000">
            <a:normAutofit/>
          </a:bodyPr>
          <a:lstStyle>
            <a:lvl1pPr>
              <a:lnSpc>
                <a:spcPct val="100000"/>
              </a:lnSpc>
              <a:defRPr sz="1100" b="0" cap="all" spc="100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pt-BR"/>
              <a:t>Título</a:t>
            </a:r>
          </a:p>
        </p:txBody>
      </p:sp>
      <p:sp>
        <p:nvSpPr>
          <p:cNvPr id="8" name="Título 7">
            <a:extLst>
              <a:ext uri="{FF2B5EF4-FFF2-40B4-BE49-F238E27FC236}">
                <a16:creationId xmlns:a16="http://schemas.microsoft.com/office/drawing/2014/main" id="{850B399A-346B-51E3-1A92-253CADB724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10300" y="929692"/>
            <a:ext cx="5067325" cy="447676"/>
          </a:xfrm>
        </p:spPr>
        <p:txBody>
          <a:bodyPr anchor="t">
            <a:noAutofit/>
          </a:bodyPr>
          <a:lstStyle>
            <a:lvl1pPr>
              <a:defRPr sz="3600" b="1" spc="-100" baseline="0">
                <a:solidFill>
                  <a:schemeClr val="accent2"/>
                </a:solidFill>
              </a:defRPr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10" name="Espaço Reservado para Texto 9">
            <a:extLst>
              <a:ext uri="{FF2B5EF4-FFF2-40B4-BE49-F238E27FC236}">
                <a16:creationId xmlns:a16="http://schemas.microsoft.com/office/drawing/2014/main" id="{A4BD41B5-820C-FB18-CD31-121F93FBE6B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209506" y="2090738"/>
            <a:ext cx="5068094" cy="4132846"/>
          </a:xfrm>
        </p:spPr>
        <p:txBody>
          <a:bodyPr>
            <a:noAutofit/>
          </a:bodyPr>
          <a:lstStyle>
            <a:lvl1pPr marL="0" indent="0">
              <a:lnSpc>
                <a:spcPct val="120000"/>
              </a:lnSpc>
              <a:spcBef>
                <a:spcPts val="2000"/>
              </a:spcBef>
              <a:spcAft>
                <a:spcPts val="500"/>
              </a:spcAft>
              <a:buFont typeface="Arial" panose="020B0604020202020204" pitchFamily="34" charset="0"/>
              <a:buNone/>
              <a:defRPr sz="1600" b="1" u="none">
                <a:solidFill>
                  <a:schemeClr val="accent2"/>
                </a:solidFill>
              </a:defRPr>
            </a:lvl1pPr>
            <a:lvl2pPr marL="0" indent="0">
              <a:lnSpc>
                <a:spcPct val="120000"/>
              </a:lnSpc>
              <a:spcBef>
                <a:spcPts val="0"/>
              </a:spcBef>
              <a:spcAft>
                <a:spcPts val="500"/>
              </a:spcAft>
              <a:buNone/>
              <a:defRPr sz="1400">
                <a:solidFill>
                  <a:schemeClr val="bg1"/>
                </a:solidFill>
              </a:defRPr>
            </a:lvl2pPr>
            <a:lvl3pPr marL="792000" indent="-288000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FontTx/>
              <a:buBlip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</a:buBlip>
              <a:defRPr sz="1300">
                <a:solidFill>
                  <a:schemeClr val="bg2"/>
                </a:solidFill>
              </a:defRPr>
            </a:lvl3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endParaRPr lang="pt-BR"/>
          </a:p>
        </p:txBody>
      </p:sp>
      <p:sp>
        <p:nvSpPr>
          <p:cNvPr id="2" name="Picture Placeholder 4">
            <a:extLst>
              <a:ext uri="{FF2B5EF4-FFF2-40B4-BE49-F238E27FC236}">
                <a16:creationId xmlns:a16="http://schemas.microsoft.com/office/drawing/2014/main" id="{01BE0EC9-7069-DF75-D503-4A156A65201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013853" y="1505358"/>
            <a:ext cx="3494354" cy="3494354"/>
          </a:xfrm>
          <a:custGeom>
            <a:avLst/>
            <a:gdLst>
              <a:gd name="connsiteX0" fmla="*/ 3543300 w 7086600"/>
              <a:gd name="connsiteY0" fmla="*/ 0 h 7086600"/>
              <a:gd name="connsiteX1" fmla="*/ 7086600 w 7086600"/>
              <a:gd name="connsiteY1" fmla="*/ 3543300 h 7086600"/>
              <a:gd name="connsiteX2" fmla="*/ 3543300 w 7086600"/>
              <a:gd name="connsiteY2" fmla="*/ 7086600 h 7086600"/>
              <a:gd name="connsiteX3" fmla="*/ 0 w 7086600"/>
              <a:gd name="connsiteY3" fmla="*/ 3543300 h 7086600"/>
              <a:gd name="connsiteX4" fmla="*/ 3543300 w 7086600"/>
              <a:gd name="connsiteY4" fmla="*/ 0 h 7086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086600" h="7086600">
                <a:moveTo>
                  <a:pt x="3543300" y="0"/>
                </a:moveTo>
                <a:cubicBezTo>
                  <a:pt x="5500211" y="0"/>
                  <a:pt x="7086600" y="1586389"/>
                  <a:pt x="7086600" y="3543300"/>
                </a:cubicBezTo>
                <a:cubicBezTo>
                  <a:pt x="7086600" y="5500211"/>
                  <a:pt x="5500211" y="7086600"/>
                  <a:pt x="3543300" y="7086600"/>
                </a:cubicBezTo>
                <a:cubicBezTo>
                  <a:pt x="1586389" y="7086600"/>
                  <a:pt x="0" y="5500211"/>
                  <a:pt x="0" y="3543300"/>
                </a:cubicBezTo>
                <a:cubicBezTo>
                  <a:pt x="0" y="1586389"/>
                  <a:pt x="1586389" y="0"/>
                  <a:pt x="35433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 sz="2000"/>
            </a:lvl1pPr>
          </a:lstStyle>
          <a:p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1321167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9D7E6FD-C4DA-F588-E77A-C8DBEDF918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569426D3-4E19-986D-846B-503FE94727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C555FC61-4954-E68E-3679-F6B0250BF4F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</p:spTree>
    <p:extLst>
      <p:ext uri="{BB962C8B-B14F-4D97-AF65-F5344CB8AC3E}">
        <p14:creationId xmlns:p14="http://schemas.microsoft.com/office/powerpoint/2010/main" val="3294074735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B2FE12D4-690A-0F87-A603-8BADEE0A2F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Imagem 2">
            <a:extLst>
              <a:ext uri="{FF2B5EF4-FFF2-40B4-BE49-F238E27FC236}">
                <a16:creationId xmlns:a16="http://schemas.microsoft.com/office/drawing/2014/main" id="{2A62373F-9A2F-0755-558D-BC41F23DDA3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BR"/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22D91843-CA13-7080-4F10-850D261F15A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</p:spTree>
    <p:extLst>
      <p:ext uri="{BB962C8B-B14F-4D97-AF65-F5344CB8AC3E}">
        <p14:creationId xmlns:p14="http://schemas.microsoft.com/office/powerpoint/2010/main" val="4231674155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Gráfico 20">
            <a:extLst>
              <a:ext uri="{FF2B5EF4-FFF2-40B4-BE49-F238E27FC236}">
                <a16:creationId xmlns:a16="http://schemas.microsoft.com/office/drawing/2014/main" id="{8FC6E60B-071E-D350-BC6F-C0CD9604C70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360999" y="2586446"/>
            <a:ext cx="2101026" cy="2101026"/>
          </a:xfrm>
          <a:prstGeom prst="rect">
            <a:avLst/>
          </a:prstGeom>
        </p:spPr>
      </p:pic>
      <p:sp>
        <p:nvSpPr>
          <p:cNvPr id="22" name="Freeform: Shape 24">
            <a:extLst>
              <a:ext uri="{FF2B5EF4-FFF2-40B4-BE49-F238E27FC236}">
                <a16:creationId xmlns:a16="http://schemas.microsoft.com/office/drawing/2014/main" id="{55589210-86D7-6986-4F2E-47E6E193B276}"/>
              </a:ext>
            </a:extLst>
          </p:cNvPr>
          <p:cNvSpPr/>
          <p:nvPr userDrawn="1"/>
        </p:nvSpPr>
        <p:spPr>
          <a:xfrm>
            <a:off x="1" y="5491163"/>
            <a:ext cx="1460543" cy="1360974"/>
          </a:xfrm>
          <a:custGeom>
            <a:avLst/>
            <a:gdLst>
              <a:gd name="connsiteX0" fmla="*/ 618317 w 1778972"/>
              <a:gd name="connsiteY0" fmla="*/ 0 h 1657695"/>
              <a:gd name="connsiteX1" fmla="*/ 1778972 w 1778972"/>
              <a:gd name="connsiteY1" fmla="*/ 1160655 h 1657695"/>
              <a:gd name="connsiteX2" fmla="*/ 1687762 w 1778972"/>
              <a:gd name="connsiteY2" fmla="*/ 1612435 h 1657695"/>
              <a:gd name="connsiteX3" fmla="*/ 1663196 w 1778972"/>
              <a:gd name="connsiteY3" fmla="*/ 1657695 h 1657695"/>
              <a:gd name="connsiteX4" fmla="*/ 0 w 1778972"/>
              <a:gd name="connsiteY4" fmla="*/ 1657695 h 1657695"/>
              <a:gd name="connsiteX5" fmla="*/ 0 w 1778972"/>
              <a:gd name="connsiteY5" fmla="*/ 179622 h 1657695"/>
              <a:gd name="connsiteX6" fmla="*/ 65080 w 1778972"/>
              <a:gd name="connsiteY6" fmla="*/ 140085 h 1657695"/>
              <a:gd name="connsiteX7" fmla="*/ 618317 w 1778972"/>
              <a:gd name="connsiteY7" fmla="*/ 0 h 16576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778972" h="1657695">
                <a:moveTo>
                  <a:pt x="618317" y="0"/>
                </a:moveTo>
                <a:cubicBezTo>
                  <a:pt x="1259329" y="0"/>
                  <a:pt x="1778972" y="519643"/>
                  <a:pt x="1778972" y="1160655"/>
                </a:cubicBezTo>
                <a:cubicBezTo>
                  <a:pt x="1778972" y="1320908"/>
                  <a:pt x="1746495" y="1473576"/>
                  <a:pt x="1687762" y="1612435"/>
                </a:cubicBezTo>
                <a:lnTo>
                  <a:pt x="1663196" y="1657695"/>
                </a:lnTo>
                <a:lnTo>
                  <a:pt x="0" y="1657695"/>
                </a:lnTo>
                <a:lnTo>
                  <a:pt x="0" y="179622"/>
                </a:lnTo>
                <a:lnTo>
                  <a:pt x="65080" y="140085"/>
                </a:lnTo>
                <a:cubicBezTo>
                  <a:pt x="229537" y="50747"/>
                  <a:pt x="418001" y="0"/>
                  <a:pt x="618317" y="0"/>
                </a:cubicBezTo>
                <a:close/>
              </a:path>
            </a:pathLst>
          </a:custGeom>
          <a:solidFill>
            <a:srgbClr val="F461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 sz="1351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B2FE12D4-690A-0F87-A603-8BADEE0A2F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4978" y="1142317"/>
            <a:ext cx="5044671" cy="920750"/>
          </a:xfrm>
        </p:spPr>
        <p:txBody>
          <a:bodyPr anchor="t">
            <a:noAutofit/>
          </a:bodyPr>
          <a:lstStyle>
            <a:lvl1pPr algn="ctr">
              <a:defRPr sz="3600" b="1" spc="-100" baseline="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22D91843-CA13-7080-4F10-850D261F15A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2679700" y="2239906"/>
            <a:ext cx="6832600" cy="951402"/>
          </a:xfrm>
        </p:spPr>
        <p:txBody>
          <a:bodyPr>
            <a:normAutofit/>
          </a:bodyPr>
          <a:lstStyle>
            <a:lvl1pPr marL="0" marR="0" indent="0" algn="ctr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lang="pt-BR" sz="1100" b="0" i="0" u="none" strike="noStrike" cap="none" dirty="0">
                <a:solidFill>
                  <a:schemeClr val="bg1">
                    <a:lumMod val="50000"/>
                  </a:schemeClr>
                </a:solidFill>
                <a:latin typeface="+mn-lt"/>
                <a:ea typeface="Times New Roman" panose="02020603050405020304" pitchFamily="18" charset="0"/>
                <a:cs typeface="Arial"/>
                <a:sym typeface="Arial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Espaço Reservado para Texto 6">
            <a:extLst>
              <a:ext uri="{FF2B5EF4-FFF2-40B4-BE49-F238E27FC236}">
                <a16:creationId xmlns:a16="http://schemas.microsoft.com/office/drawing/2014/main" id="{F65EBF6C-485C-17DD-8EC2-C13A19FCC49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67000" y="773884"/>
            <a:ext cx="5067325" cy="354597"/>
          </a:xfrm>
        </p:spPr>
        <p:txBody>
          <a:bodyPr lIns="108000" anchor="b">
            <a:normAutofit/>
          </a:bodyPr>
          <a:lstStyle>
            <a:lvl1pPr algn="ctr">
              <a:lnSpc>
                <a:spcPct val="100000"/>
              </a:lnSpc>
              <a:defRPr sz="1100" b="0" cap="all" spc="0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pt-BR" err="1"/>
              <a:t>TítulO</a:t>
            </a:r>
            <a:endParaRPr lang="pt-BR"/>
          </a:p>
        </p:txBody>
      </p:sp>
      <p:sp>
        <p:nvSpPr>
          <p:cNvPr id="7" name="Freeform: Shape 26">
            <a:extLst>
              <a:ext uri="{FF2B5EF4-FFF2-40B4-BE49-F238E27FC236}">
                <a16:creationId xmlns:a16="http://schemas.microsoft.com/office/drawing/2014/main" id="{5E95BECC-9D3F-5219-68DD-89416A67263D}"/>
              </a:ext>
            </a:extLst>
          </p:cNvPr>
          <p:cNvSpPr/>
          <p:nvPr userDrawn="1"/>
        </p:nvSpPr>
        <p:spPr>
          <a:xfrm>
            <a:off x="3360987" y="3762124"/>
            <a:ext cx="4638820" cy="3090011"/>
          </a:xfrm>
          <a:custGeom>
            <a:avLst/>
            <a:gdLst>
              <a:gd name="connsiteX0" fmla="*/ 2319410 w 4638820"/>
              <a:gd name="connsiteY0" fmla="*/ 0 h 3090010"/>
              <a:gd name="connsiteX1" fmla="*/ 4638820 w 4638820"/>
              <a:gd name="connsiteY1" fmla="*/ 2319408 h 3090010"/>
              <a:gd name="connsiteX2" fmla="*/ 4534544 w 4638820"/>
              <a:gd name="connsiteY2" fmla="*/ 3009129 h 3090010"/>
              <a:gd name="connsiteX3" fmla="*/ 4504942 w 4638820"/>
              <a:gd name="connsiteY3" fmla="*/ 3090010 h 3090010"/>
              <a:gd name="connsiteX4" fmla="*/ 133879 w 4638820"/>
              <a:gd name="connsiteY4" fmla="*/ 3090010 h 3090010"/>
              <a:gd name="connsiteX5" fmla="*/ 104276 w 4638820"/>
              <a:gd name="connsiteY5" fmla="*/ 3009129 h 3090010"/>
              <a:gd name="connsiteX6" fmla="*/ 0 w 4638820"/>
              <a:gd name="connsiteY6" fmla="*/ 2319408 h 3090010"/>
              <a:gd name="connsiteX7" fmla="*/ 2319410 w 4638820"/>
              <a:gd name="connsiteY7" fmla="*/ 0 h 3090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638820" h="3090010">
                <a:moveTo>
                  <a:pt x="2319410" y="0"/>
                </a:moveTo>
                <a:cubicBezTo>
                  <a:pt x="3600385" y="0"/>
                  <a:pt x="4638820" y="1038434"/>
                  <a:pt x="4638820" y="2319408"/>
                </a:cubicBezTo>
                <a:cubicBezTo>
                  <a:pt x="4638820" y="2559591"/>
                  <a:pt x="4602313" y="2791247"/>
                  <a:pt x="4534544" y="3009129"/>
                </a:cubicBezTo>
                <a:lnTo>
                  <a:pt x="4504942" y="3090010"/>
                </a:lnTo>
                <a:lnTo>
                  <a:pt x="133879" y="3090010"/>
                </a:lnTo>
                <a:lnTo>
                  <a:pt x="104276" y="3009129"/>
                </a:lnTo>
                <a:cubicBezTo>
                  <a:pt x="36508" y="2791247"/>
                  <a:pt x="0" y="2559591"/>
                  <a:pt x="0" y="2319408"/>
                </a:cubicBezTo>
                <a:cubicBezTo>
                  <a:pt x="0" y="1038434"/>
                  <a:pt x="1038435" y="0"/>
                  <a:pt x="2319410" y="0"/>
                </a:cubicBez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 sz="1351"/>
          </a:p>
        </p:txBody>
      </p:sp>
      <p:sp>
        <p:nvSpPr>
          <p:cNvPr id="9" name="Oval 1">
            <a:extLst>
              <a:ext uri="{FF2B5EF4-FFF2-40B4-BE49-F238E27FC236}">
                <a16:creationId xmlns:a16="http://schemas.microsoft.com/office/drawing/2014/main" id="{0B03E640-E3BB-FB17-5537-862E75ABF681}"/>
              </a:ext>
            </a:extLst>
          </p:cNvPr>
          <p:cNvSpPr/>
          <p:nvPr userDrawn="1"/>
        </p:nvSpPr>
        <p:spPr>
          <a:xfrm>
            <a:off x="1409433" y="3372318"/>
            <a:ext cx="2844331" cy="2844332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254000" dist="38100" dir="8100000" algn="tr" rotWithShape="0">
              <a:prstClr val="black">
                <a:alpha val="22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sz="1351"/>
          </a:p>
        </p:txBody>
      </p:sp>
      <p:sp>
        <p:nvSpPr>
          <p:cNvPr id="10" name="Oval 8">
            <a:extLst>
              <a:ext uri="{FF2B5EF4-FFF2-40B4-BE49-F238E27FC236}">
                <a16:creationId xmlns:a16="http://schemas.microsoft.com/office/drawing/2014/main" id="{B9DBEBF6-24A2-17AF-03D7-D3A1A2315E42}"/>
              </a:ext>
            </a:extLst>
          </p:cNvPr>
          <p:cNvSpPr/>
          <p:nvPr userDrawn="1"/>
        </p:nvSpPr>
        <p:spPr>
          <a:xfrm>
            <a:off x="4673835" y="3372318"/>
            <a:ext cx="2844331" cy="2844332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254000" dist="38100" dir="8100000" algn="tr" rotWithShape="0">
              <a:prstClr val="black">
                <a:alpha val="22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sz="1351"/>
          </a:p>
        </p:txBody>
      </p:sp>
      <p:sp>
        <p:nvSpPr>
          <p:cNvPr id="11" name="Oval 9">
            <a:extLst>
              <a:ext uri="{FF2B5EF4-FFF2-40B4-BE49-F238E27FC236}">
                <a16:creationId xmlns:a16="http://schemas.microsoft.com/office/drawing/2014/main" id="{7AFB69F1-EC89-0D88-F743-AB0CCD4E607B}"/>
              </a:ext>
            </a:extLst>
          </p:cNvPr>
          <p:cNvSpPr/>
          <p:nvPr userDrawn="1"/>
        </p:nvSpPr>
        <p:spPr>
          <a:xfrm>
            <a:off x="7998729" y="3372318"/>
            <a:ext cx="2844331" cy="2844332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254000" dist="38100" dir="8100000" algn="tr" rotWithShape="0">
              <a:prstClr val="black">
                <a:alpha val="22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sz="1351"/>
          </a:p>
        </p:txBody>
      </p:sp>
      <p:sp>
        <p:nvSpPr>
          <p:cNvPr id="18" name="Espaço Reservado para Imagem 27">
            <a:extLst>
              <a:ext uri="{FF2B5EF4-FFF2-40B4-BE49-F238E27FC236}">
                <a16:creationId xmlns:a16="http://schemas.microsoft.com/office/drawing/2014/main" id="{6DE3F598-43D3-1E44-57FB-17EFD4D92547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2512131" y="3631564"/>
            <a:ext cx="638934" cy="638934"/>
          </a:xfrm>
        </p:spPr>
        <p:txBody>
          <a:bodyPr>
            <a:normAutofit/>
          </a:bodyPr>
          <a:lstStyle>
            <a:lvl1pPr algn="ctr">
              <a:defRPr sz="1400">
                <a:solidFill>
                  <a:schemeClr val="tx1"/>
                </a:solidFill>
              </a:defRPr>
            </a:lvl1pPr>
          </a:lstStyle>
          <a:p>
            <a:r>
              <a:rPr lang="pt-BR"/>
              <a:t>Ícone</a:t>
            </a:r>
          </a:p>
        </p:txBody>
      </p:sp>
      <p:sp>
        <p:nvSpPr>
          <p:cNvPr id="19" name="Espaço Reservado para Imagem 27">
            <a:extLst>
              <a:ext uri="{FF2B5EF4-FFF2-40B4-BE49-F238E27FC236}">
                <a16:creationId xmlns:a16="http://schemas.microsoft.com/office/drawing/2014/main" id="{E0926438-798E-F72E-EFC9-39EF87CE3634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5796186" y="3631564"/>
            <a:ext cx="638934" cy="638934"/>
          </a:xfrm>
        </p:spPr>
        <p:txBody>
          <a:bodyPr>
            <a:normAutofit/>
          </a:bodyPr>
          <a:lstStyle>
            <a:lvl1pPr algn="ctr">
              <a:defRPr sz="1400">
                <a:solidFill>
                  <a:schemeClr val="tx1"/>
                </a:solidFill>
              </a:defRPr>
            </a:lvl1pPr>
          </a:lstStyle>
          <a:p>
            <a:r>
              <a:rPr lang="pt-BR"/>
              <a:t>Ícone</a:t>
            </a:r>
          </a:p>
        </p:txBody>
      </p:sp>
      <p:sp>
        <p:nvSpPr>
          <p:cNvPr id="20" name="Espaço Reservado para Imagem 27">
            <a:extLst>
              <a:ext uri="{FF2B5EF4-FFF2-40B4-BE49-F238E27FC236}">
                <a16:creationId xmlns:a16="http://schemas.microsoft.com/office/drawing/2014/main" id="{E07D2C1F-D30D-2277-57A7-14955984FC87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9101966" y="3631564"/>
            <a:ext cx="638934" cy="638934"/>
          </a:xfrm>
        </p:spPr>
        <p:txBody>
          <a:bodyPr>
            <a:normAutofit/>
          </a:bodyPr>
          <a:lstStyle>
            <a:lvl1pPr algn="ctr">
              <a:defRPr sz="1400">
                <a:solidFill>
                  <a:schemeClr val="tx1"/>
                </a:solidFill>
              </a:defRPr>
            </a:lvl1pPr>
          </a:lstStyle>
          <a:p>
            <a:r>
              <a:rPr lang="pt-BR"/>
              <a:t>Ícone</a:t>
            </a:r>
          </a:p>
        </p:txBody>
      </p:sp>
      <p:sp>
        <p:nvSpPr>
          <p:cNvPr id="25" name="Espaço Reservado para Texto 23">
            <a:extLst>
              <a:ext uri="{FF2B5EF4-FFF2-40B4-BE49-F238E27FC236}">
                <a16:creationId xmlns:a16="http://schemas.microsoft.com/office/drawing/2014/main" id="{10FAB265-50D2-444E-770C-DF530276BE8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616450" y="4339221"/>
            <a:ext cx="2419408" cy="355592"/>
          </a:xfrm>
        </p:spPr>
        <p:txBody>
          <a:bodyPr>
            <a:normAutofit/>
          </a:bodyPr>
          <a:lstStyle>
            <a:lvl1pPr algn="ctr">
              <a:defRPr sz="1400" b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pt-BR"/>
              <a:t>Título</a:t>
            </a:r>
          </a:p>
        </p:txBody>
      </p:sp>
      <p:sp>
        <p:nvSpPr>
          <p:cNvPr id="27" name="Espaço Reservado para Texto 23">
            <a:extLst>
              <a:ext uri="{FF2B5EF4-FFF2-40B4-BE49-F238E27FC236}">
                <a16:creationId xmlns:a16="http://schemas.microsoft.com/office/drawing/2014/main" id="{A60E8CAA-48D5-61E9-C74D-2CCEB3E3A73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886296" y="4339221"/>
            <a:ext cx="2419408" cy="355592"/>
          </a:xfrm>
        </p:spPr>
        <p:txBody>
          <a:bodyPr>
            <a:normAutofit/>
          </a:bodyPr>
          <a:lstStyle>
            <a:lvl1pPr algn="ctr">
              <a:defRPr sz="1400" b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pt-BR"/>
              <a:t>Título</a:t>
            </a:r>
          </a:p>
        </p:txBody>
      </p:sp>
      <p:sp>
        <p:nvSpPr>
          <p:cNvPr id="29" name="Espaço Reservado para Texto 23">
            <a:extLst>
              <a:ext uri="{FF2B5EF4-FFF2-40B4-BE49-F238E27FC236}">
                <a16:creationId xmlns:a16="http://schemas.microsoft.com/office/drawing/2014/main" id="{73876383-9A46-664A-7697-809108EB46B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211409" y="4339221"/>
            <a:ext cx="2419408" cy="355592"/>
          </a:xfrm>
        </p:spPr>
        <p:txBody>
          <a:bodyPr>
            <a:normAutofit/>
          </a:bodyPr>
          <a:lstStyle>
            <a:lvl1pPr algn="ctr">
              <a:defRPr sz="1400" b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pt-BR"/>
              <a:t>Título</a:t>
            </a:r>
          </a:p>
        </p:txBody>
      </p:sp>
      <p:sp>
        <p:nvSpPr>
          <p:cNvPr id="37" name="Espaço Reservado para Texto 36">
            <a:extLst>
              <a:ext uri="{FF2B5EF4-FFF2-40B4-BE49-F238E27FC236}">
                <a16:creationId xmlns:a16="http://schemas.microsoft.com/office/drawing/2014/main" id="{F5EC3AD8-AE40-5DF3-5734-FF5CE4865868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1610496" y="4704373"/>
            <a:ext cx="2444373" cy="920750"/>
          </a:xfrm>
        </p:spPr>
        <p:txBody>
          <a:bodyPr>
            <a:noAutofit/>
          </a:bodyPr>
          <a:lstStyle>
            <a:lvl1pPr algn="ctr">
              <a:lnSpc>
                <a:spcPct val="150000"/>
              </a:lnSpc>
              <a:defRPr sz="1100" b="0">
                <a:solidFill>
                  <a:schemeClr val="tx2"/>
                </a:solidFill>
              </a:defRPr>
            </a:lvl1pPr>
            <a:lvl2pPr algn="ctr">
              <a:defRPr sz="1100">
                <a:solidFill>
                  <a:schemeClr val="tx2"/>
                </a:solidFill>
              </a:defRPr>
            </a:lvl2pPr>
            <a:lvl3pPr algn="ctr">
              <a:defRPr sz="1100">
                <a:solidFill>
                  <a:schemeClr val="tx2"/>
                </a:solidFill>
              </a:defRPr>
            </a:lvl3pPr>
            <a:lvl4pPr algn="ctr">
              <a:defRPr sz="1100">
                <a:solidFill>
                  <a:schemeClr val="tx2"/>
                </a:solidFill>
              </a:defRPr>
            </a:lvl4pPr>
            <a:lvl5pPr algn="ctr">
              <a:defRPr sz="1100">
                <a:solidFill>
                  <a:schemeClr val="tx2"/>
                </a:solidFill>
              </a:defRPr>
            </a:lvl5pPr>
          </a:lstStyle>
          <a:p>
            <a:pPr lvl="0"/>
            <a:endParaRPr lang="pt-BR"/>
          </a:p>
        </p:txBody>
      </p:sp>
      <p:sp>
        <p:nvSpPr>
          <p:cNvPr id="38" name="Espaço Reservado para Texto 36">
            <a:extLst>
              <a:ext uri="{FF2B5EF4-FFF2-40B4-BE49-F238E27FC236}">
                <a16:creationId xmlns:a16="http://schemas.microsoft.com/office/drawing/2014/main" id="{D2DAA205-1F5B-0E76-2E89-35678D12406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878915" y="4704373"/>
            <a:ext cx="2444373" cy="920750"/>
          </a:xfrm>
        </p:spPr>
        <p:txBody>
          <a:bodyPr>
            <a:noAutofit/>
          </a:bodyPr>
          <a:lstStyle>
            <a:lvl1pPr algn="ctr">
              <a:lnSpc>
                <a:spcPct val="150000"/>
              </a:lnSpc>
              <a:defRPr sz="1100" b="0">
                <a:solidFill>
                  <a:schemeClr val="tx2"/>
                </a:solidFill>
              </a:defRPr>
            </a:lvl1pPr>
            <a:lvl2pPr algn="ctr">
              <a:defRPr sz="1100">
                <a:solidFill>
                  <a:schemeClr val="tx2"/>
                </a:solidFill>
              </a:defRPr>
            </a:lvl2pPr>
            <a:lvl3pPr algn="ctr">
              <a:defRPr sz="1100">
                <a:solidFill>
                  <a:schemeClr val="tx2"/>
                </a:solidFill>
              </a:defRPr>
            </a:lvl3pPr>
            <a:lvl4pPr algn="ctr">
              <a:defRPr sz="1100">
                <a:solidFill>
                  <a:schemeClr val="tx2"/>
                </a:solidFill>
              </a:defRPr>
            </a:lvl4pPr>
            <a:lvl5pPr algn="ctr">
              <a:defRPr sz="1100">
                <a:solidFill>
                  <a:schemeClr val="tx2"/>
                </a:solidFill>
              </a:defRPr>
            </a:lvl5pPr>
          </a:lstStyle>
          <a:p>
            <a:pPr lvl="0"/>
            <a:endParaRPr lang="pt-BR"/>
          </a:p>
        </p:txBody>
      </p:sp>
      <p:sp>
        <p:nvSpPr>
          <p:cNvPr id="39" name="Espaço Reservado para Texto 36">
            <a:extLst>
              <a:ext uri="{FF2B5EF4-FFF2-40B4-BE49-F238E27FC236}">
                <a16:creationId xmlns:a16="http://schemas.microsoft.com/office/drawing/2014/main" id="{EC8C1CAA-95F3-AE44-1F31-7D912F1B8618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8199247" y="4704373"/>
            <a:ext cx="2444373" cy="920750"/>
          </a:xfrm>
        </p:spPr>
        <p:txBody>
          <a:bodyPr>
            <a:noAutofit/>
          </a:bodyPr>
          <a:lstStyle>
            <a:lvl1pPr algn="ctr">
              <a:lnSpc>
                <a:spcPct val="150000"/>
              </a:lnSpc>
              <a:defRPr sz="1100" b="0">
                <a:solidFill>
                  <a:schemeClr val="tx2"/>
                </a:solidFill>
              </a:defRPr>
            </a:lvl1pPr>
            <a:lvl2pPr algn="ctr">
              <a:defRPr sz="1100">
                <a:solidFill>
                  <a:schemeClr val="tx2"/>
                </a:solidFill>
              </a:defRPr>
            </a:lvl2pPr>
            <a:lvl3pPr algn="ctr">
              <a:defRPr sz="1100">
                <a:solidFill>
                  <a:schemeClr val="tx2"/>
                </a:solidFill>
              </a:defRPr>
            </a:lvl3pPr>
            <a:lvl4pPr algn="ctr">
              <a:defRPr sz="1100">
                <a:solidFill>
                  <a:schemeClr val="tx2"/>
                </a:solidFill>
              </a:defRPr>
            </a:lvl4pPr>
            <a:lvl5pPr algn="ctr">
              <a:defRPr sz="1100">
                <a:solidFill>
                  <a:schemeClr val="tx2"/>
                </a:solidFill>
              </a:defRPr>
            </a:lvl5pPr>
          </a:lstStyle>
          <a:p>
            <a:pPr lvl="0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753977454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áfico 3">
            <a:extLst>
              <a:ext uri="{FF2B5EF4-FFF2-40B4-BE49-F238E27FC236}">
                <a16:creationId xmlns:a16="http://schemas.microsoft.com/office/drawing/2014/main" id="{5536CC76-6171-B09D-FDF3-59407A13526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277600" y="-1751088"/>
            <a:ext cx="2647804" cy="3111172"/>
          </a:xfrm>
          <a:prstGeom prst="rect">
            <a:avLst/>
          </a:prstGeom>
        </p:spPr>
      </p:pic>
      <p:pic>
        <p:nvPicPr>
          <p:cNvPr id="5" name="Gráfico 4">
            <a:extLst>
              <a:ext uri="{FF2B5EF4-FFF2-40B4-BE49-F238E27FC236}">
                <a16:creationId xmlns:a16="http://schemas.microsoft.com/office/drawing/2014/main" id="{5C99EB3E-B5D8-9B44-1758-975265A41B45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-1477559" y="3052763"/>
            <a:ext cx="5182891" cy="6089900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BBDA759A-9915-56A7-B65A-20AE4C2B5F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70391" y="1668084"/>
            <a:ext cx="3046009" cy="1281113"/>
          </a:xfrm>
        </p:spPr>
        <p:txBody>
          <a:bodyPr>
            <a:normAutofit/>
          </a:bodyPr>
          <a:lstStyle>
            <a:lvl1pPr>
              <a:defRPr sz="3200">
                <a:solidFill>
                  <a:schemeClr val="accent2"/>
                </a:solidFill>
              </a:defRPr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6">
            <a:extLst>
              <a:ext uri="{FF2B5EF4-FFF2-40B4-BE49-F238E27FC236}">
                <a16:creationId xmlns:a16="http://schemas.microsoft.com/office/drawing/2014/main" id="{5A69258F-54AB-711A-8C68-B0EDF4C7EFE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71669" y="1313487"/>
            <a:ext cx="3044731" cy="354597"/>
          </a:xfrm>
        </p:spPr>
        <p:txBody>
          <a:bodyPr lIns="108000" anchor="b">
            <a:normAutofit/>
          </a:bodyPr>
          <a:lstStyle>
            <a:lvl1pPr algn="l">
              <a:lnSpc>
                <a:spcPct val="100000"/>
              </a:lnSpc>
              <a:defRPr sz="1100" b="0" cap="all" spc="100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pt-BR" err="1"/>
              <a:t>TítulO</a:t>
            </a:r>
            <a:endParaRPr lang="pt-BR"/>
          </a:p>
        </p:txBody>
      </p:sp>
      <p:sp>
        <p:nvSpPr>
          <p:cNvPr id="28" name="Espaço Reservado para Texto 26">
            <a:extLst>
              <a:ext uri="{FF2B5EF4-FFF2-40B4-BE49-F238E27FC236}">
                <a16:creationId xmlns:a16="http://schemas.microsoft.com/office/drawing/2014/main" id="{48FFDDFF-D427-23B0-5392-54A4F7DC0DB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673601" y="1566862"/>
            <a:ext cx="654050" cy="656199"/>
          </a:xfrm>
        </p:spPr>
        <p:txBody>
          <a:bodyPr>
            <a:noAutofit/>
          </a:bodyPr>
          <a:lstStyle>
            <a:lvl1pPr algn="ctr">
              <a:defRPr sz="3600" b="0">
                <a:solidFill>
                  <a:schemeClr val="accent1"/>
                </a:solidFill>
                <a:latin typeface="+mj-lt"/>
              </a:defRPr>
            </a:lvl1pPr>
            <a:lvl2pPr>
              <a:defRPr sz="3600">
                <a:solidFill>
                  <a:schemeClr val="accent1"/>
                </a:solidFill>
                <a:latin typeface="+mj-lt"/>
              </a:defRPr>
            </a:lvl2pPr>
            <a:lvl3pPr>
              <a:defRPr sz="3600">
                <a:solidFill>
                  <a:schemeClr val="accent1"/>
                </a:solidFill>
                <a:latin typeface="+mj-lt"/>
              </a:defRPr>
            </a:lvl3pPr>
            <a:lvl4pPr>
              <a:defRPr sz="3600">
                <a:solidFill>
                  <a:schemeClr val="accent1"/>
                </a:solidFill>
                <a:latin typeface="+mj-lt"/>
              </a:defRPr>
            </a:lvl4pPr>
            <a:lvl5pPr marL="1828800" indent="0">
              <a:buNone/>
              <a:defRPr sz="3600"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pt-BR"/>
              <a:t>#</a:t>
            </a:r>
          </a:p>
        </p:txBody>
      </p:sp>
      <p:sp>
        <p:nvSpPr>
          <p:cNvPr id="35" name="Espaço Reservado para Texto 26">
            <a:extLst>
              <a:ext uri="{FF2B5EF4-FFF2-40B4-BE49-F238E27FC236}">
                <a16:creationId xmlns:a16="http://schemas.microsoft.com/office/drawing/2014/main" id="{434FF1FA-B54B-D941-7236-4AB73CE075C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673601" y="2546240"/>
            <a:ext cx="654050" cy="656199"/>
          </a:xfrm>
        </p:spPr>
        <p:txBody>
          <a:bodyPr>
            <a:noAutofit/>
          </a:bodyPr>
          <a:lstStyle>
            <a:lvl1pPr algn="ctr">
              <a:defRPr sz="3600" b="0">
                <a:solidFill>
                  <a:schemeClr val="accent1"/>
                </a:solidFill>
                <a:latin typeface="+mj-lt"/>
              </a:defRPr>
            </a:lvl1pPr>
            <a:lvl2pPr>
              <a:defRPr sz="3600">
                <a:solidFill>
                  <a:schemeClr val="accent1"/>
                </a:solidFill>
                <a:latin typeface="+mj-lt"/>
              </a:defRPr>
            </a:lvl2pPr>
            <a:lvl3pPr>
              <a:defRPr sz="3600">
                <a:solidFill>
                  <a:schemeClr val="accent1"/>
                </a:solidFill>
                <a:latin typeface="+mj-lt"/>
              </a:defRPr>
            </a:lvl3pPr>
            <a:lvl4pPr>
              <a:defRPr sz="3600">
                <a:solidFill>
                  <a:schemeClr val="accent1"/>
                </a:solidFill>
                <a:latin typeface="+mj-lt"/>
              </a:defRPr>
            </a:lvl4pPr>
            <a:lvl5pPr marL="1828800" indent="0">
              <a:buNone/>
              <a:defRPr sz="3600"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pt-BR"/>
              <a:t>#</a:t>
            </a:r>
          </a:p>
        </p:txBody>
      </p:sp>
      <p:sp>
        <p:nvSpPr>
          <p:cNvPr id="36" name="Espaço Reservado para Texto 26">
            <a:extLst>
              <a:ext uri="{FF2B5EF4-FFF2-40B4-BE49-F238E27FC236}">
                <a16:creationId xmlns:a16="http://schemas.microsoft.com/office/drawing/2014/main" id="{94BBE6CA-1C8D-0C0E-98B1-F0C9675FB20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673601" y="3507581"/>
            <a:ext cx="654050" cy="656199"/>
          </a:xfrm>
        </p:spPr>
        <p:txBody>
          <a:bodyPr>
            <a:noAutofit/>
          </a:bodyPr>
          <a:lstStyle>
            <a:lvl1pPr algn="ctr">
              <a:defRPr sz="3600" b="0">
                <a:solidFill>
                  <a:schemeClr val="accent1"/>
                </a:solidFill>
                <a:latin typeface="+mj-lt"/>
              </a:defRPr>
            </a:lvl1pPr>
            <a:lvl2pPr>
              <a:defRPr sz="3600">
                <a:solidFill>
                  <a:schemeClr val="accent1"/>
                </a:solidFill>
                <a:latin typeface="+mj-lt"/>
              </a:defRPr>
            </a:lvl2pPr>
            <a:lvl3pPr>
              <a:defRPr sz="3600">
                <a:solidFill>
                  <a:schemeClr val="accent1"/>
                </a:solidFill>
                <a:latin typeface="+mj-lt"/>
              </a:defRPr>
            </a:lvl3pPr>
            <a:lvl4pPr>
              <a:defRPr sz="3600">
                <a:solidFill>
                  <a:schemeClr val="accent1"/>
                </a:solidFill>
                <a:latin typeface="+mj-lt"/>
              </a:defRPr>
            </a:lvl4pPr>
            <a:lvl5pPr marL="1828800" indent="0">
              <a:buNone/>
              <a:defRPr sz="3600"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pt-BR"/>
              <a:t>#</a:t>
            </a:r>
          </a:p>
        </p:txBody>
      </p:sp>
      <p:sp>
        <p:nvSpPr>
          <p:cNvPr id="37" name="Espaço Reservado para Texto 26">
            <a:extLst>
              <a:ext uri="{FF2B5EF4-FFF2-40B4-BE49-F238E27FC236}">
                <a16:creationId xmlns:a16="http://schemas.microsoft.com/office/drawing/2014/main" id="{802FF599-8D20-63CA-9E5C-86076C60E43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673601" y="4461884"/>
            <a:ext cx="654050" cy="656199"/>
          </a:xfrm>
        </p:spPr>
        <p:txBody>
          <a:bodyPr>
            <a:noAutofit/>
          </a:bodyPr>
          <a:lstStyle>
            <a:lvl1pPr algn="ctr">
              <a:defRPr sz="3600" b="0">
                <a:solidFill>
                  <a:schemeClr val="accent1"/>
                </a:solidFill>
                <a:latin typeface="+mj-lt"/>
              </a:defRPr>
            </a:lvl1pPr>
            <a:lvl2pPr>
              <a:defRPr sz="3600">
                <a:solidFill>
                  <a:schemeClr val="accent1"/>
                </a:solidFill>
                <a:latin typeface="+mj-lt"/>
              </a:defRPr>
            </a:lvl2pPr>
            <a:lvl3pPr>
              <a:defRPr sz="3600">
                <a:solidFill>
                  <a:schemeClr val="accent1"/>
                </a:solidFill>
                <a:latin typeface="+mj-lt"/>
              </a:defRPr>
            </a:lvl3pPr>
            <a:lvl4pPr>
              <a:defRPr sz="3600">
                <a:solidFill>
                  <a:schemeClr val="accent1"/>
                </a:solidFill>
                <a:latin typeface="+mj-lt"/>
              </a:defRPr>
            </a:lvl4pPr>
            <a:lvl5pPr marL="1828800" indent="0">
              <a:buNone/>
              <a:defRPr sz="3600"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pt-BR"/>
              <a:t>#</a:t>
            </a:r>
          </a:p>
        </p:txBody>
      </p:sp>
      <p:sp>
        <p:nvSpPr>
          <p:cNvPr id="41" name="Espaço Reservado para Texto 26">
            <a:extLst>
              <a:ext uri="{FF2B5EF4-FFF2-40B4-BE49-F238E27FC236}">
                <a16:creationId xmlns:a16="http://schemas.microsoft.com/office/drawing/2014/main" id="{57A346B4-11F9-01EB-210A-4A70946F8E0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197850" y="1566862"/>
            <a:ext cx="654050" cy="656199"/>
          </a:xfrm>
        </p:spPr>
        <p:txBody>
          <a:bodyPr>
            <a:noAutofit/>
          </a:bodyPr>
          <a:lstStyle>
            <a:lvl1pPr algn="ctr">
              <a:defRPr sz="3600" b="0">
                <a:solidFill>
                  <a:schemeClr val="accent1"/>
                </a:solidFill>
                <a:latin typeface="+mj-lt"/>
              </a:defRPr>
            </a:lvl1pPr>
            <a:lvl2pPr>
              <a:defRPr sz="3600">
                <a:solidFill>
                  <a:schemeClr val="accent1"/>
                </a:solidFill>
                <a:latin typeface="+mj-lt"/>
              </a:defRPr>
            </a:lvl2pPr>
            <a:lvl3pPr>
              <a:defRPr sz="3600">
                <a:solidFill>
                  <a:schemeClr val="accent1"/>
                </a:solidFill>
                <a:latin typeface="+mj-lt"/>
              </a:defRPr>
            </a:lvl3pPr>
            <a:lvl4pPr>
              <a:defRPr sz="3600">
                <a:solidFill>
                  <a:schemeClr val="accent1"/>
                </a:solidFill>
                <a:latin typeface="+mj-lt"/>
              </a:defRPr>
            </a:lvl4pPr>
            <a:lvl5pPr marL="1828800" indent="0">
              <a:buNone/>
              <a:defRPr sz="3600"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pt-BR"/>
              <a:t>#</a:t>
            </a:r>
          </a:p>
        </p:txBody>
      </p:sp>
      <p:sp>
        <p:nvSpPr>
          <p:cNvPr id="42" name="Espaço Reservado para Texto 26">
            <a:extLst>
              <a:ext uri="{FF2B5EF4-FFF2-40B4-BE49-F238E27FC236}">
                <a16:creationId xmlns:a16="http://schemas.microsoft.com/office/drawing/2014/main" id="{EC3DE48F-0EBD-2A68-925F-8A0EF020E66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197850" y="2546240"/>
            <a:ext cx="654050" cy="656199"/>
          </a:xfrm>
        </p:spPr>
        <p:txBody>
          <a:bodyPr>
            <a:noAutofit/>
          </a:bodyPr>
          <a:lstStyle>
            <a:lvl1pPr algn="ctr">
              <a:defRPr sz="3600" b="0">
                <a:solidFill>
                  <a:schemeClr val="accent1"/>
                </a:solidFill>
                <a:latin typeface="+mj-lt"/>
              </a:defRPr>
            </a:lvl1pPr>
            <a:lvl2pPr>
              <a:defRPr sz="3600">
                <a:solidFill>
                  <a:schemeClr val="accent1"/>
                </a:solidFill>
                <a:latin typeface="+mj-lt"/>
              </a:defRPr>
            </a:lvl2pPr>
            <a:lvl3pPr>
              <a:defRPr sz="3600">
                <a:solidFill>
                  <a:schemeClr val="accent1"/>
                </a:solidFill>
                <a:latin typeface="+mj-lt"/>
              </a:defRPr>
            </a:lvl3pPr>
            <a:lvl4pPr>
              <a:defRPr sz="3600">
                <a:solidFill>
                  <a:schemeClr val="accent1"/>
                </a:solidFill>
                <a:latin typeface="+mj-lt"/>
              </a:defRPr>
            </a:lvl4pPr>
            <a:lvl5pPr marL="1828800" indent="0">
              <a:buNone/>
              <a:defRPr sz="3600"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pt-BR"/>
              <a:t>#</a:t>
            </a:r>
          </a:p>
        </p:txBody>
      </p:sp>
      <p:sp>
        <p:nvSpPr>
          <p:cNvPr id="43" name="Espaço Reservado para Texto 26">
            <a:extLst>
              <a:ext uri="{FF2B5EF4-FFF2-40B4-BE49-F238E27FC236}">
                <a16:creationId xmlns:a16="http://schemas.microsoft.com/office/drawing/2014/main" id="{FF173AB6-483B-5C2C-0E35-74B8CFC0725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197850" y="3507581"/>
            <a:ext cx="654050" cy="656199"/>
          </a:xfrm>
        </p:spPr>
        <p:txBody>
          <a:bodyPr>
            <a:noAutofit/>
          </a:bodyPr>
          <a:lstStyle>
            <a:lvl1pPr algn="ctr">
              <a:defRPr sz="3600" b="0">
                <a:solidFill>
                  <a:schemeClr val="accent1"/>
                </a:solidFill>
                <a:latin typeface="+mj-lt"/>
              </a:defRPr>
            </a:lvl1pPr>
            <a:lvl2pPr>
              <a:defRPr sz="3600">
                <a:solidFill>
                  <a:schemeClr val="accent1"/>
                </a:solidFill>
                <a:latin typeface="+mj-lt"/>
              </a:defRPr>
            </a:lvl2pPr>
            <a:lvl3pPr>
              <a:defRPr sz="3600">
                <a:solidFill>
                  <a:schemeClr val="accent1"/>
                </a:solidFill>
                <a:latin typeface="+mj-lt"/>
              </a:defRPr>
            </a:lvl3pPr>
            <a:lvl4pPr>
              <a:defRPr sz="3600">
                <a:solidFill>
                  <a:schemeClr val="accent1"/>
                </a:solidFill>
                <a:latin typeface="+mj-lt"/>
              </a:defRPr>
            </a:lvl4pPr>
            <a:lvl5pPr marL="1828800" indent="0">
              <a:buNone/>
              <a:defRPr sz="3600"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pt-BR"/>
              <a:t>#</a:t>
            </a:r>
          </a:p>
        </p:txBody>
      </p:sp>
      <p:sp>
        <p:nvSpPr>
          <p:cNvPr id="44" name="Espaço Reservado para Texto 26">
            <a:extLst>
              <a:ext uri="{FF2B5EF4-FFF2-40B4-BE49-F238E27FC236}">
                <a16:creationId xmlns:a16="http://schemas.microsoft.com/office/drawing/2014/main" id="{67ADE121-C2B0-51E4-A497-3BB512AA416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197850" y="4461884"/>
            <a:ext cx="654050" cy="656199"/>
          </a:xfrm>
        </p:spPr>
        <p:txBody>
          <a:bodyPr>
            <a:noAutofit/>
          </a:bodyPr>
          <a:lstStyle>
            <a:lvl1pPr algn="ctr">
              <a:defRPr sz="3600" b="0">
                <a:solidFill>
                  <a:schemeClr val="accent1"/>
                </a:solidFill>
                <a:latin typeface="+mj-lt"/>
              </a:defRPr>
            </a:lvl1pPr>
            <a:lvl2pPr>
              <a:defRPr sz="3600">
                <a:solidFill>
                  <a:schemeClr val="accent1"/>
                </a:solidFill>
                <a:latin typeface="+mj-lt"/>
              </a:defRPr>
            </a:lvl2pPr>
            <a:lvl3pPr>
              <a:defRPr sz="3600">
                <a:solidFill>
                  <a:schemeClr val="accent1"/>
                </a:solidFill>
                <a:latin typeface="+mj-lt"/>
              </a:defRPr>
            </a:lvl3pPr>
            <a:lvl4pPr>
              <a:defRPr sz="3600">
                <a:solidFill>
                  <a:schemeClr val="accent1"/>
                </a:solidFill>
                <a:latin typeface="+mj-lt"/>
              </a:defRPr>
            </a:lvl4pPr>
            <a:lvl5pPr marL="1828800" indent="0">
              <a:buNone/>
              <a:defRPr sz="3600"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pt-BR"/>
              <a:t>#</a:t>
            </a:r>
          </a:p>
        </p:txBody>
      </p:sp>
      <p:sp>
        <p:nvSpPr>
          <p:cNvPr id="48" name="Espaço Reservado para Texto 45">
            <a:extLst>
              <a:ext uri="{FF2B5EF4-FFF2-40B4-BE49-F238E27FC236}">
                <a16:creationId xmlns:a16="http://schemas.microsoft.com/office/drawing/2014/main" id="{AA0A1508-379C-FE57-7F02-B2F7615EF5CA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230813" y="1607419"/>
            <a:ext cx="2744787" cy="625475"/>
          </a:xfrm>
        </p:spPr>
        <p:txBody>
          <a:bodyPr>
            <a:noAutofit/>
          </a:bodyPr>
          <a:lstStyle>
            <a:lvl1pPr>
              <a:lnSpc>
                <a:spcPct val="130000"/>
              </a:lnSpc>
              <a:defRPr sz="1400" b="0">
                <a:solidFill>
                  <a:schemeClr val="tx2"/>
                </a:solidFill>
              </a:defRPr>
            </a:lvl1pPr>
            <a:lvl2pPr>
              <a:lnSpc>
                <a:spcPct val="130000"/>
              </a:lnSpc>
              <a:defRPr sz="1300">
                <a:solidFill>
                  <a:schemeClr val="tx2"/>
                </a:solidFill>
              </a:defRPr>
            </a:lvl2pPr>
            <a:lvl3pPr>
              <a:lnSpc>
                <a:spcPct val="130000"/>
              </a:lnSpc>
              <a:defRPr sz="1300">
                <a:solidFill>
                  <a:schemeClr val="tx2"/>
                </a:solidFill>
              </a:defRPr>
            </a:lvl3pPr>
            <a:lvl4pPr>
              <a:lnSpc>
                <a:spcPct val="130000"/>
              </a:lnSpc>
              <a:defRPr sz="1300">
                <a:solidFill>
                  <a:schemeClr val="tx2"/>
                </a:solidFill>
              </a:defRPr>
            </a:lvl4pPr>
            <a:lvl5pPr marL="1828800" indent="0">
              <a:lnSpc>
                <a:spcPct val="130000"/>
              </a:lnSpc>
              <a:buNone/>
              <a:defRPr sz="1300">
                <a:solidFill>
                  <a:schemeClr val="tx2"/>
                </a:solidFill>
              </a:defRPr>
            </a:lvl5pPr>
          </a:lstStyle>
          <a:p>
            <a:pPr lvl="0"/>
            <a:endParaRPr lang="pt-BR"/>
          </a:p>
        </p:txBody>
      </p:sp>
      <p:sp>
        <p:nvSpPr>
          <p:cNvPr id="50" name="Espaço Reservado para Texto 45">
            <a:extLst>
              <a:ext uri="{FF2B5EF4-FFF2-40B4-BE49-F238E27FC236}">
                <a16:creationId xmlns:a16="http://schemas.microsoft.com/office/drawing/2014/main" id="{90EFF4E9-FB08-5C1A-9AE1-FC5E00F8336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230813" y="2579309"/>
            <a:ext cx="2744787" cy="625475"/>
          </a:xfrm>
        </p:spPr>
        <p:txBody>
          <a:bodyPr>
            <a:noAutofit/>
          </a:bodyPr>
          <a:lstStyle>
            <a:lvl1pPr>
              <a:lnSpc>
                <a:spcPct val="130000"/>
              </a:lnSpc>
              <a:defRPr sz="1400" b="0">
                <a:solidFill>
                  <a:schemeClr val="tx2"/>
                </a:solidFill>
              </a:defRPr>
            </a:lvl1pPr>
            <a:lvl2pPr>
              <a:lnSpc>
                <a:spcPct val="130000"/>
              </a:lnSpc>
              <a:defRPr sz="1300">
                <a:solidFill>
                  <a:schemeClr val="tx2"/>
                </a:solidFill>
              </a:defRPr>
            </a:lvl2pPr>
            <a:lvl3pPr>
              <a:lnSpc>
                <a:spcPct val="130000"/>
              </a:lnSpc>
              <a:defRPr sz="1300">
                <a:solidFill>
                  <a:schemeClr val="tx2"/>
                </a:solidFill>
              </a:defRPr>
            </a:lvl3pPr>
            <a:lvl4pPr>
              <a:lnSpc>
                <a:spcPct val="130000"/>
              </a:lnSpc>
              <a:defRPr sz="1300">
                <a:solidFill>
                  <a:schemeClr val="tx2"/>
                </a:solidFill>
              </a:defRPr>
            </a:lvl4pPr>
            <a:lvl5pPr marL="1828800" indent="0">
              <a:lnSpc>
                <a:spcPct val="130000"/>
              </a:lnSpc>
              <a:buNone/>
              <a:defRPr sz="1300">
                <a:solidFill>
                  <a:schemeClr val="tx2"/>
                </a:solidFill>
              </a:defRPr>
            </a:lvl5pPr>
          </a:lstStyle>
          <a:p>
            <a:pPr lvl="0"/>
            <a:endParaRPr lang="pt-BR"/>
          </a:p>
        </p:txBody>
      </p:sp>
      <p:sp>
        <p:nvSpPr>
          <p:cNvPr id="56" name="Espaço Reservado para Texto 45">
            <a:extLst>
              <a:ext uri="{FF2B5EF4-FFF2-40B4-BE49-F238E27FC236}">
                <a16:creationId xmlns:a16="http://schemas.microsoft.com/office/drawing/2014/main" id="{69EED1E0-BCD6-F969-095D-CB3F4281C4CC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5230813" y="4500843"/>
            <a:ext cx="2744787" cy="625475"/>
          </a:xfrm>
        </p:spPr>
        <p:txBody>
          <a:bodyPr>
            <a:noAutofit/>
          </a:bodyPr>
          <a:lstStyle>
            <a:lvl1pPr>
              <a:lnSpc>
                <a:spcPct val="130000"/>
              </a:lnSpc>
              <a:defRPr sz="1400" b="0">
                <a:solidFill>
                  <a:schemeClr val="tx2"/>
                </a:solidFill>
              </a:defRPr>
            </a:lvl1pPr>
            <a:lvl2pPr>
              <a:lnSpc>
                <a:spcPct val="130000"/>
              </a:lnSpc>
              <a:defRPr sz="1300">
                <a:solidFill>
                  <a:schemeClr val="tx2"/>
                </a:solidFill>
              </a:defRPr>
            </a:lvl2pPr>
            <a:lvl3pPr>
              <a:lnSpc>
                <a:spcPct val="130000"/>
              </a:lnSpc>
              <a:defRPr sz="1300">
                <a:solidFill>
                  <a:schemeClr val="tx2"/>
                </a:solidFill>
              </a:defRPr>
            </a:lvl3pPr>
            <a:lvl4pPr>
              <a:lnSpc>
                <a:spcPct val="130000"/>
              </a:lnSpc>
              <a:defRPr sz="1300">
                <a:solidFill>
                  <a:schemeClr val="tx2"/>
                </a:solidFill>
              </a:defRPr>
            </a:lvl4pPr>
            <a:lvl5pPr marL="1828800" indent="0">
              <a:lnSpc>
                <a:spcPct val="130000"/>
              </a:lnSpc>
              <a:buNone/>
              <a:defRPr sz="1300">
                <a:solidFill>
                  <a:schemeClr val="tx2"/>
                </a:solidFill>
              </a:defRPr>
            </a:lvl5pPr>
          </a:lstStyle>
          <a:p>
            <a:pPr lvl="0"/>
            <a:endParaRPr lang="pt-BR"/>
          </a:p>
        </p:txBody>
      </p:sp>
      <p:sp>
        <p:nvSpPr>
          <p:cNvPr id="57" name="Espaço Reservado para Texto 45">
            <a:extLst>
              <a:ext uri="{FF2B5EF4-FFF2-40B4-BE49-F238E27FC236}">
                <a16:creationId xmlns:a16="http://schemas.microsoft.com/office/drawing/2014/main" id="{FC661200-4B00-8BE8-EBFB-A1ADFE405EB1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5230813" y="3533705"/>
            <a:ext cx="2744787" cy="625475"/>
          </a:xfrm>
        </p:spPr>
        <p:txBody>
          <a:bodyPr>
            <a:noAutofit/>
          </a:bodyPr>
          <a:lstStyle>
            <a:lvl1pPr>
              <a:lnSpc>
                <a:spcPct val="130000"/>
              </a:lnSpc>
              <a:defRPr sz="1400" b="0">
                <a:solidFill>
                  <a:schemeClr val="tx2"/>
                </a:solidFill>
              </a:defRPr>
            </a:lvl1pPr>
            <a:lvl2pPr>
              <a:lnSpc>
                <a:spcPct val="130000"/>
              </a:lnSpc>
              <a:defRPr sz="1300">
                <a:solidFill>
                  <a:schemeClr val="tx2"/>
                </a:solidFill>
              </a:defRPr>
            </a:lvl2pPr>
            <a:lvl3pPr>
              <a:lnSpc>
                <a:spcPct val="130000"/>
              </a:lnSpc>
              <a:defRPr sz="1300">
                <a:solidFill>
                  <a:schemeClr val="tx2"/>
                </a:solidFill>
              </a:defRPr>
            </a:lvl3pPr>
            <a:lvl4pPr>
              <a:lnSpc>
                <a:spcPct val="130000"/>
              </a:lnSpc>
              <a:defRPr sz="1300">
                <a:solidFill>
                  <a:schemeClr val="tx2"/>
                </a:solidFill>
              </a:defRPr>
            </a:lvl4pPr>
            <a:lvl5pPr marL="1828800" indent="0">
              <a:lnSpc>
                <a:spcPct val="130000"/>
              </a:lnSpc>
              <a:buNone/>
              <a:defRPr sz="1300">
                <a:solidFill>
                  <a:schemeClr val="tx2"/>
                </a:solidFill>
              </a:defRPr>
            </a:lvl5pPr>
          </a:lstStyle>
          <a:p>
            <a:pPr lvl="0"/>
            <a:endParaRPr lang="pt-BR"/>
          </a:p>
        </p:txBody>
      </p:sp>
      <p:sp>
        <p:nvSpPr>
          <p:cNvPr id="58" name="Espaço Reservado para Texto 45">
            <a:extLst>
              <a:ext uri="{FF2B5EF4-FFF2-40B4-BE49-F238E27FC236}">
                <a16:creationId xmlns:a16="http://schemas.microsoft.com/office/drawing/2014/main" id="{345D7696-2F1D-1E51-5609-E3C0EBA299DC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8756650" y="1607419"/>
            <a:ext cx="2516187" cy="625475"/>
          </a:xfrm>
        </p:spPr>
        <p:txBody>
          <a:bodyPr>
            <a:noAutofit/>
          </a:bodyPr>
          <a:lstStyle>
            <a:lvl1pPr>
              <a:lnSpc>
                <a:spcPct val="130000"/>
              </a:lnSpc>
              <a:defRPr sz="1400" b="0">
                <a:solidFill>
                  <a:schemeClr val="tx2"/>
                </a:solidFill>
              </a:defRPr>
            </a:lvl1pPr>
            <a:lvl2pPr>
              <a:lnSpc>
                <a:spcPct val="130000"/>
              </a:lnSpc>
              <a:defRPr sz="1300">
                <a:solidFill>
                  <a:schemeClr val="tx2"/>
                </a:solidFill>
              </a:defRPr>
            </a:lvl2pPr>
            <a:lvl3pPr>
              <a:lnSpc>
                <a:spcPct val="130000"/>
              </a:lnSpc>
              <a:defRPr sz="1300">
                <a:solidFill>
                  <a:schemeClr val="tx2"/>
                </a:solidFill>
              </a:defRPr>
            </a:lvl3pPr>
            <a:lvl4pPr>
              <a:lnSpc>
                <a:spcPct val="130000"/>
              </a:lnSpc>
              <a:defRPr sz="1300">
                <a:solidFill>
                  <a:schemeClr val="tx2"/>
                </a:solidFill>
              </a:defRPr>
            </a:lvl4pPr>
            <a:lvl5pPr marL="1828800" indent="0">
              <a:lnSpc>
                <a:spcPct val="130000"/>
              </a:lnSpc>
              <a:buNone/>
              <a:defRPr sz="1300">
                <a:solidFill>
                  <a:schemeClr val="tx2"/>
                </a:solidFill>
              </a:defRPr>
            </a:lvl5pPr>
          </a:lstStyle>
          <a:p>
            <a:pPr lvl="0"/>
            <a:endParaRPr lang="pt-BR"/>
          </a:p>
        </p:txBody>
      </p:sp>
      <p:sp>
        <p:nvSpPr>
          <p:cNvPr id="59" name="Espaço Reservado para Texto 45">
            <a:extLst>
              <a:ext uri="{FF2B5EF4-FFF2-40B4-BE49-F238E27FC236}">
                <a16:creationId xmlns:a16="http://schemas.microsoft.com/office/drawing/2014/main" id="{22E326E2-1473-4ABD-2CF9-3D37955704CC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8756650" y="2579309"/>
            <a:ext cx="2516187" cy="625475"/>
          </a:xfrm>
        </p:spPr>
        <p:txBody>
          <a:bodyPr>
            <a:noAutofit/>
          </a:bodyPr>
          <a:lstStyle>
            <a:lvl1pPr>
              <a:lnSpc>
                <a:spcPct val="130000"/>
              </a:lnSpc>
              <a:defRPr sz="1400" b="0">
                <a:solidFill>
                  <a:schemeClr val="tx2"/>
                </a:solidFill>
              </a:defRPr>
            </a:lvl1pPr>
            <a:lvl2pPr>
              <a:lnSpc>
                <a:spcPct val="130000"/>
              </a:lnSpc>
              <a:defRPr sz="1300">
                <a:solidFill>
                  <a:schemeClr val="tx2"/>
                </a:solidFill>
              </a:defRPr>
            </a:lvl2pPr>
            <a:lvl3pPr>
              <a:lnSpc>
                <a:spcPct val="130000"/>
              </a:lnSpc>
              <a:defRPr sz="1300">
                <a:solidFill>
                  <a:schemeClr val="tx2"/>
                </a:solidFill>
              </a:defRPr>
            </a:lvl3pPr>
            <a:lvl4pPr>
              <a:lnSpc>
                <a:spcPct val="130000"/>
              </a:lnSpc>
              <a:defRPr sz="1300">
                <a:solidFill>
                  <a:schemeClr val="tx2"/>
                </a:solidFill>
              </a:defRPr>
            </a:lvl4pPr>
            <a:lvl5pPr marL="1828800" indent="0">
              <a:lnSpc>
                <a:spcPct val="130000"/>
              </a:lnSpc>
              <a:buNone/>
              <a:defRPr sz="1300">
                <a:solidFill>
                  <a:schemeClr val="tx2"/>
                </a:solidFill>
              </a:defRPr>
            </a:lvl5pPr>
          </a:lstStyle>
          <a:p>
            <a:pPr lvl="0"/>
            <a:endParaRPr lang="pt-BR"/>
          </a:p>
        </p:txBody>
      </p:sp>
      <p:sp>
        <p:nvSpPr>
          <p:cNvPr id="60" name="Espaço Reservado para Texto 45">
            <a:extLst>
              <a:ext uri="{FF2B5EF4-FFF2-40B4-BE49-F238E27FC236}">
                <a16:creationId xmlns:a16="http://schemas.microsoft.com/office/drawing/2014/main" id="{5A6A8A0A-A9DC-57C3-F49B-D204B25F3ED9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8756650" y="4500843"/>
            <a:ext cx="2516187" cy="625475"/>
          </a:xfrm>
        </p:spPr>
        <p:txBody>
          <a:bodyPr>
            <a:noAutofit/>
          </a:bodyPr>
          <a:lstStyle>
            <a:lvl1pPr>
              <a:lnSpc>
                <a:spcPct val="130000"/>
              </a:lnSpc>
              <a:defRPr sz="1400" b="0">
                <a:solidFill>
                  <a:schemeClr val="tx2"/>
                </a:solidFill>
              </a:defRPr>
            </a:lvl1pPr>
            <a:lvl2pPr>
              <a:lnSpc>
                <a:spcPct val="130000"/>
              </a:lnSpc>
              <a:defRPr sz="1300">
                <a:solidFill>
                  <a:schemeClr val="tx2"/>
                </a:solidFill>
              </a:defRPr>
            </a:lvl2pPr>
            <a:lvl3pPr>
              <a:lnSpc>
                <a:spcPct val="130000"/>
              </a:lnSpc>
              <a:defRPr sz="1300">
                <a:solidFill>
                  <a:schemeClr val="tx2"/>
                </a:solidFill>
              </a:defRPr>
            </a:lvl3pPr>
            <a:lvl4pPr>
              <a:lnSpc>
                <a:spcPct val="130000"/>
              </a:lnSpc>
              <a:defRPr sz="1300">
                <a:solidFill>
                  <a:schemeClr val="tx2"/>
                </a:solidFill>
              </a:defRPr>
            </a:lvl4pPr>
            <a:lvl5pPr marL="1828800" indent="0">
              <a:lnSpc>
                <a:spcPct val="130000"/>
              </a:lnSpc>
              <a:buNone/>
              <a:defRPr sz="1300">
                <a:solidFill>
                  <a:schemeClr val="tx2"/>
                </a:solidFill>
              </a:defRPr>
            </a:lvl5pPr>
          </a:lstStyle>
          <a:p>
            <a:pPr lvl="0"/>
            <a:endParaRPr lang="pt-BR"/>
          </a:p>
        </p:txBody>
      </p:sp>
      <p:sp>
        <p:nvSpPr>
          <p:cNvPr id="61" name="Espaço Reservado para Texto 45">
            <a:extLst>
              <a:ext uri="{FF2B5EF4-FFF2-40B4-BE49-F238E27FC236}">
                <a16:creationId xmlns:a16="http://schemas.microsoft.com/office/drawing/2014/main" id="{D3BE16D6-E390-D1BC-569E-B7C8A4BAC1EF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8756650" y="3533705"/>
            <a:ext cx="2516187" cy="625475"/>
          </a:xfrm>
        </p:spPr>
        <p:txBody>
          <a:bodyPr>
            <a:noAutofit/>
          </a:bodyPr>
          <a:lstStyle>
            <a:lvl1pPr>
              <a:lnSpc>
                <a:spcPct val="130000"/>
              </a:lnSpc>
              <a:defRPr sz="1400" b="0">
                <a:solidFill>
                  <a:schemeClr val="tx2"/>
                </a:solidFill>
              </a:defRPr>
            </a:lvl1pPr>
            <a:lvl2pPr>
              <a:lnSpc>
                <a:spcPct val="130000"/>
              </a:lnSpc>
              <a:defRPr sz="1300">
                <a:solidFill>
                  <a:schemeClr val="tx2"/>
                </a:solidFill>
              </a:defRPr>
            </a:lvl2pPr>
            <a:lvl3pPr>
              <a:lnSpc>
                <a:spcPct val="130000"/>
              </a:lnSpc>
              <a:defRPr sz="1300">
                <a:solidFill>
                  <a:schemeClr val="tx2"/>
                </a:solidFill>
              </a:defRPr>
            </a:lvl3pPr>
            <a:lvl4pPr>
              <a:lnSpc>
                <a:spcPct val="130000"/>
              </a:lnSpc>
              <a:defRPr sz="1300">
                <a:solidFill>
                  <a:schemeClr val="tx2"/>
                </a:solidFill>
              </a:defRPr>
            </a:lvl4pPr>
            <a:lvl5pPr marL="1828800" indent="0">
              <a:lnSpc>
                <a:spcPct val="130000"/>
              </a:lnSpc>
              <a:buNone/>
              <a:defRPr sz="1300">
                <a:solidFill>
                  <a:schemeClr val="tx2"/>
                </a:solidFill>
              </a:defRPr>
            </a:lvl5pPr>
          </a:lstStyle>
          <a:p>
            <a:pPr lvl="0"/>
            <a:endParaRPr lang="pt-BR"/>
          </a:p>
        </p:txBody>
      </p:sp>
      <p:sp>
        <p:nvSpPr>
          <p:cNvPr id="62" name="Espaço Reservado para Texto 3">
            <a:extLst>
              <a:ext uri="{FF2B5EF4-FFF2-40B4-BE49-F238E27FC236}">
                <a16:creationId xmlns:a16="http://schemas.microsoft.com/office/drawing/2014/main" id="{79D8D897-387E-A66E-3D4D-C6E8F6F7055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1170391" y="3235508"/>
            <a:ext cx="3044731" cy="951402"/>
          </a:xfrm>
        </p:spPr>
        <p:txBody>
          <a:bodyPr>
            <a:normAutofit/>
          </a:bodyPr>
          <a:lstStyle>
            <a:lvl1pPr marL="0" marR="0" indent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lang="pt-BR" sz="1100" b="0" i="0" u="none" strike="noStrike" cap="none" dirty="0">
                <a:solidFill>
                  <a:schemeClr val="bg1">
                    <a:lumMod val="50000"/>
                  </a:schemeClr>
                </a:solidFill>
                <a:latin typeface="+mn-lt"/>
                <a:ea typeface="Times New Roman" panose="02020603050405020304" pitchFamily="18" charset="0"/>
                <a:cs typeface="Arial"/>
                <a:sym typeface="Arial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</p:spTree>
    <p:extLst>
      <p:ext uri="{BB962C8B-B14F-4D97-AF65-F5344CB8AC3E}">
        <p14:creationId xmlns:p14="http://schemas.microsoft.com/office/powerpoint/2010/main" val="1359621627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m Branco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áfico 3">
            <a:extLst>
              <a:ext uri="{FF2B5EF4-FFF2-40B4-BE49-F238E27FC236}">
                <a16:creationId xmlns:a16="http://schemas.microsoft.com/office/drawing/2014/main" id="{5536CC76-6171-B09D-FDF3-59407A13526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277600" y="-1751088"/>
            <a:ext cx="2647804" cy="3111172"/>
          </a:xfrm>
          <a:prstGeom prst="rect">
            <a:avLst/>
          </a:prstGeom>
        </p:spPr>
      </p:pic>
      <p:pic>
        <p:nvPicPr>
          <p:cNvPr id="5" name="Gráfico 4">
            <a:extLst>
              <a:ext uri="{FF2B5EF4-FFF2-40B4-BE49-F238E27FC236}">
                <a16:creationId xmlns:a16="http://schemas.microsoft.com/office/drawing/2014/main" id="{5C99EB3E-B5D8-9B44-1758-975265A41B45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-1477559" y="3052763"/>
            <a:ext cx="5182891" cy="6089900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BBDA759A-9915-56A7-B65A-20AE4C2B5F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70391" y="1668084"/>
            <a:ext cx="3046009" cy="1281113"/>
          </a:xfrm>
        </p:spPr>
        <p:txBody>
          <a:bodyPr>
            <a:normAutofit/>
          </a:bodyPr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6">
            <a:extLst>
              <a:ext uri="{FF2B5EF4-FFF2-40B4-BE49-F238E27FC236}">
                <a16:creationId xmlns:a16="http://schemas.microsoft.com/office/drawing/2014/main" id="{5A69258F-54AB-711A-8C68-B0EDF4C7EFE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71669" y="1313487"/>
            <a:ext cx="3044731" cy="354597"/>
          </a:xfrm>
        </p:spPr>
        <p:txBody>
          <a:bodyPr lIns="108000" anchor="b">
            <a:normAutofit/>
          </a:bodyPr>
          <a:lstStyle>
            <a:lvl1pPr algn="l">
              <a:lnSpc>
                <a:spcPct val="100000"/>
              </a:lnSpc>
              <a:defRPr sz="1100" b="0" cap="all" spc="1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BR" err="1"/>
              <a:t>TítulO</a:t>
            </a:r>
            <a:endParaRPr lang="pt-BR"/>
          </a:p>
        </p:txBody>
      </p:sp>
      <p:sp>
        <p:nvSpPr>
          <p:cNvPr id="48" name="Espaço Reservado para Texto 45">
            <a:extLst>
              <a:ext uri="{FF2B5EF4-FFF2-40B4-BE49-F238E27FC236}">
                <a16:creationId xmlns:a16="http://schemas.microsoft.com/office/drawing/2014/main" id="{AA0A1508-379C-FE57-7F02-B2F7615EF5CA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230813" y="1607419"/>
            <a:ext cx="2744787" cy="625475"/>
          </a:xfrm>
        </p:spPr>
        <p:txBody>
          <a:bodyPr>
            <a:noAutofit/>
          </a:bodyPr>
          <a:lstStyle>
            <a:lvl1pPr>
              <a:lnSpc>
                <a:spcPct val="130000"/>
              </a:lnSpc>
              <a:defRPr sz="1400" b="0">
                <a:solidFill>
                  <a:schemeClr val="bg2"/>
                </a:solidFill>
              </a:defRPr>
            </a:lvl1pPr>
            <a:lvl2pPr>
              <a:lnSpc>
                <a:spcPct val="130000"/>
              </a:lnSpc>
              <a:defRPr sz="1300">
                <a:solidFill>
                  <a:schemeClr val="tx2"/>
                </a:solidFill>
              </a:defRPr>
            </a:lvl2pPr>
            <a:lvl3pPr>
              <a:lnSpc>
                <a:spcPct val="130000"/>
              </a:lnSpc>
              <a:defRPr sz="1300">
                <a:solidFill>
                  <a:schemeClr val="tx2"/>
                </a:solidFill>
              </a:defRPr>
            </a:lvl3pPr>
            <a:lvl4pPr>
              <a:lnSpc>
                <a:spcPct val="130000"/>
              </a:lnSpc>
              <a:defRPr sz="1300">
                <a:solidFill>
                  <a:schemeClr val="tx2"/>
                </a:solidFill>
              </a:defRPr>
            </a:lvl4pPr>
            <a:lvl5pPr marL="1828800" indent="0">
              <a:lnSpc>
                <a:spcPct val="130000"/>
              </a:lnSpc>
              <a:buNone/>
              <a:defRPr sz="1300">
                <a:solidFill>
                  <a:schemeClr val="tx2"/>
                </a:solidFill>
              </a:defRPr>
            </a:lvl5pPr>
          </a:lstStyle>
          <a:p>
            <a:pPr lvl="0"/>
            <a:endParaRPr lang="pt-BR"/>
          </a:p>
        </p:txBody>
      </p:sp>
      <p:sp>
        <p:nvSpPr>
          <p:cNvPr id="50" name="Espaço Reservado para Texto 45">
            <a:extLst>
              <a:ext uri="{FF2B5EF4-FFF2-40B4-BE49-F238E27FC236}">
                <a16:creationId xmlns:a16="http://schemas.microsoft.com/office/drawing/2014/main" id="{90EFF4E9-FB08-5C1A-9AE1-FC5E00F8336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230813" y="2579309"/>
            <a:ext cx="2744787" cy="625475"/>
          </a:xfrm>
        </p:spPr>
        <p:txBody>
          <a:bodyPr>
            <a:noAutofit/>
          </a:bodyPr>
          <a:lstStyle>
            <a:lvl1pPr>
              <a:lnSpc>
                <a:spcPct val="130000"/>
              </a:lnSpc>
              <a:defRPr sz="1400" b="0">
                <a:solidFill>
                  <a:schemeClr val="bg2"/>
                </a:solidFill>
              </a:defRPr>
            </a:lvl1pPr>
            <a:lvl2pPr>
              <a:lnSpc>
                <a:spcPct val="130000"/>
              </a:lnSpc>
              <a:defRPr sz="1300">
                <a:solidFill>
                  <a:schemeClr val="tx2"/>
                </a:solidFill>
              </a:defRPr>
            </a:lvl2pPr>
            <a:lvl3pPr>
              <a:lnSpc>
                <a:spcPct val="130000"/>
              </a:lnSpc>
              <a:defRPr sz="1300">
                <a:solidFill>
                  <a:schemeClr val="tx2"/>
                </a:solidFill>
              </a:defRPr>
            </a:lvl3pPr>
            <a:lvl4pPr>
              <a:lnSpc>
                <a:spcPct val="130000"/>
              </a:lnSpc>
              <a:defRPr sz="1300">
                <a:solidFill>
                  <a:schemeClr val="tx2"/>
                </a:solidFill>
              </a:defRPr>
            </a:lvl4pPr>
            <a:lvl5pPr marL="1828800" indent="0">
              <a:lnSpc>
                <a:spcPct val="130000"/>
              </a:lnSpc>
              <a:buNone/>
              <a:defRPr sz="1300">
                <a:solidFill>
                  <a:schemeClr val="tx2"/>
                </a:solidFill>
              </a:defRPr>
            </a:lvl5pPr>
          </a:lstStyle>
          <a:p>
            <a:pPr lvl="0"/>
            <a:endParaRPr lang="pt-BR"/>
          </a:p>
        </p:txBody>
      </p:sp>
      <p:sp>
        <p:nvSpPr>
          <p:cNvPr id="56" name="Espaço Reservado para Texto 45">
            <a:extLst>
              <a:ext uri="{FF2B5EF4-FFF2-40B4-BE49-F238E27FC236}">
                <a16:creationId xmlns:a16="http://schemas.microsoft.com/office/drawing/2014/main" id="{69EED1E0-BCD6-F969-095D-CB3F4281C4CC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5230813" y="4500843"/>
            <a:ext cx="2744787" cy="625475"/>
          </a:xfrm>
        </p:spPr>
        <p:txBody>
          <a:bodyPr>
            <a:noAutofit/>
          </a:bodyPr>
          <a:lstStyle>
            <a:lvl1pPr>
              <a:lnSpc>
                <a:spcPct val="130000"/>
              </a:lnSpc>
              <a:defRPr sz="1400" b="0">
                <a:solidFill>
                  <a:schemeClr val="bg2"/>
                </a:solidFill>
              </a:defRPr>
            </a:lvl1pPr>
            <a:lvl2pPr>
              <a:lnSpc>
                <a:spcPct val="130000"/>
              </a:lnSpc>
              <a:defRPr sz="1300">
                <a:solidFill>
                  <a:schemeClr val="tx2"/>
                </a:solidFill>
              </a:defRPr>
            </a:lvl2pPr>
            <a:lvl3pPr>
              <a:lnSpc>
                <a:spcPct val="130000"/>
              </a:lnSpc>
              <a:defRPr sz="1300">
                <a:solidFill>
                  <a:schemeClr val="tx2"/>
                </a:solidFill>
              </a:defRPr>
            </a:lvl3pPr>
            <a:lvl4pPr>
              <a:lnSpc>
                <a:spcPct val="130000"/>
              </a:lnSpc>
              <a:defRPr sz="1300">
                <a:solidFill>
                  <a:schemeClr val="tx2"/>
                </a:solidFill>
              </a:defRPr>
            </a:lvl4pPr>
            <a:lvl5pPr marL="1828800" indent="0">
              <a:lnSpc>
                <a:spcPct val="130000"/>
              </a:lnSpc>
              <a:buNone/>
              <a:defRPr sz="1300">
                <a:solidFill>
                  <a:schemeClr val="tx2"/>
                </a:solidFill>
              </a:defRPr>
            </a:lvl5pPr>
          </a:lstStyle>
          <a:p>
            <a:pPr lvl="0"/>
            <a:endParaRPr lang="pt-BR"/>
          </a:p>
        </p:txBody>
      </p:sp>
      <p:sp>
        <p:nvSpPr>
          <p:cNvPr id="57" name="Espaço Reservado para Texto 45">
            <a:extLst>
              <a:ext uri="{FF2B5EF4-FFF2-40B4-BE49-F238E27FC236}">
                <a16:creationId xmlns:a16="http://schemas.microsoft.com/office/drawing/2014/main" id="{FC661200-4B00-8BE8-EBFB-A1ADFE405EB1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5230813" y="3533705"/>
            <a:ext cx="2744787" cy="625475"/>
          </a:xfrm>
        </p:spPr>
        <p:txBody>
          <a:bodyPr>
            <a:noAutofit/>
          </a:bodyPr>
          <a:lstStyle>
            <a:lvl1pPr>
              <a:lnSpc>
                <a:spcPct val="130000"/>
              </a:lnSpc>
              <a:defRPr sz="1400" b="0">
                <a:solidFill>
                  <a:schemeClr val="bg2"/>
                </a:solidFill>
              </a:defRPr>
            </a:lvl1pPr>
            <a:lvl2pPr>
              <a:lnSpc>
                <a:spcPct val="130000"/>
              </a:lnSpc>
              <a:defRPr sz="1300">
                <a:solidFill>
                  <a:schemeClr val="tx2"/>
                </a:solidFill>
              </a:defRPr>
            </a:lvl2pPr>
            <a:lvl3pPr>
              <a:lnSpc>
                <a:spcPct val="130000"/>
              </a:lnSpc>
              <a:defRPr sz="1300">
                <a:solidFill>
                  <a:schemeClr val="tx2"/>
                </a:solidFill>
              </a:defRPr>
            </a:lvl3pPr>
            <a:lvl4pPr>
              <a:lnSpc>
                <a:spcPct val="130000"/>
              </a:lnSpc>
              <a:defRPr sz="1300">
                <a:solidFill>
                  <a:schemeClr val="tx2"/>
                </a:solidFill>
              </a:defRPr>
            </a:lvl4pPr>
            <a:lvl5pPr marL="1828800" indent="0">
              <a:lnSpc>
                <a:spcPct val="130000"/>
              </a:lnSpc>
              <a:buNone/>
              <a:defRPr sz="1300">
                <a:solidFill>
                  <a:schemeClr val="tx2"/>
                </a:solidFill>
              </a:defRPr>
            </a:lvl5pPr>
          </a:lstStyle>
          <a:p>
            <a:pPr lvl="0"/>
            <a:endParaRPr lang="pt-BR"/>
          </a:p>
        </p:txBody>
      </p:sp>
      <p:sp>
        <p:nvSpPr>
          <p:cNvPr id="58" name="Espaço Reservado para Texto 45">
            <a:extLst>
              <a:ext uri="{FF2B5EF4-FFF2-40B4-BE49-F238E27FC236}">
                <a16:creationId xmlns:a16="http://schemas.microsoft.com/office/drawing/2014/main" id="{345D7696-2F1D-1E51-5609-E3C0EBA299DC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8756650" y="1607419"/>
            <a:ext cx="2516187" cy="625475"/>
          </a:xfrm>
        </p:spPr>
        <p:txBody>
          <a:bodyPr>
            <a:noAutofit/>
          </a:bodyPr>
          <a:lstStyle>
            <a:lvl1pPr>
              <a:lnSpc>
                <a:spcPct val="130000"/>
              </a:lnSpc>
              <a:defRPr sz="1400" b="0">
                <a:solidFill>
                  <a:schemeClr val="bg2"/>
                </a:solidFill>
              </a:defRPr>
            </a:lvl1pPr>
            <a:lvl2pPr>
              <a:lnSpc>
                <a:spcPct val="130000"/>
              </a:lnSpc>
              <a:defRPr sz="1300">
                <a:solidFill>
                  <a:schemeClr val="tx2"/>
                </a:solidFill>
              </a:defRPr>
            </a:lvl2pPr>
            <a:lvl3pPr>
              <a:lnSpc>
                <a:spcPct val="130000"/>
              </a:lnSpc>
              <a:defRPr sz="1300">
                <a:solidFill>
                  <a:schemeClr val="tx2"/>
                </a:solidFill>
              </a:defRPr>
            </a:lvl3pPr>
            <a:lvl4pPr>
              <a:lnSpc>
                <a:spcPct val="130000"/>
              </a:lnSpc>
              <a:defRPr sz="1300">
                <a:solidFill>
                  <a:schemeClr val="tx2"/>
                </a:solidFill>
              </a:defRPr>
            </a:lvl4pPr>
            <a:lvl5pPr marL="1828800" indent="0">
              <a:lnSpc>
                <a:spcPct val="130000"/>
              </a:lnSpc>
              <a:buNone/>
              <a:defRPr sz="1300">
                <a:solidFill>
                  <a:schemeClr val="tx2"/>
                </a:solidFill>
              </a:defRPr>
            </a:lvl5pPr>
          </a:lstStyle>
          <a:p>
            <a:pPr lvl="0"/>
            <a:endParaRPr lang="pt-BR"/>
          </a:p>
        </p:txBody>
      </p:sp>
      <p:sp>
        <p:nvSpPr>
          <p:cNvPr id="59" name="Espaço Reservado para Texto 45">
            <a:extLst>
              <a:ext uri="{FF2B5EF4-FFF2-40B4-BE49-F238E27FC236}">
                <a16:creationId xmlns:a16="http://schemas.microsoft.com/office/drawing/2014/main" id="{22E326E2-1473-4ABD-2CF9-3D37955704CC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8756650" y="2579309"/>
            <a:ext cx="2516187" cy="625475"/>
          </a:xfrm>
        </p:spPr>
        <p:txBody>
          <a:bodyPr>
            <a:noAutofit/>
          </a:bodyPr>
          <a:lstStyle>
            <a:lvl1pPr>
              <a:lnSpc>
                <a:spcPct val="130000"/>
              </a:lnSpc>
              <a:defRPr sz="1400" b="0">
                <a:solidFill>
                  <a:schemeClr val="bg2"/>
                </a:solidFill>
              </a:defRPr>
            </a:lvl1pPr>
            <a:lvl2pPr>
              <a:lnSpc>
                <a:spcPct val="130000"/>
              </a:lnSpc>
              <a:defRPr sz="1300">
                <a:solidFill>
                  <a:schemeClr val="tx2"/>
                </a:solidFill>
              </a:defRPr>
            </a:lvl2pPr>
            <a:lvl3pPr>
              <a:lnSpc>
                <a:spcPct val="130000"/>
              </a:lnSpc>
              <a:defRPr sz="1300">
                <a:solidFill>
                  <a:schemeClr val="tx2"/>
                </a:solidFill>
              </a:defRPr>
            </a:lvl3pPr>
            <a:lvl4pPr>
              <a:lnSpc>
                <a:spcPct val="130000"/>
              </a:lnSpc>
              <a:defRPr sz="1300">
                <a:solidFill>
                  <a:schemeClr val="tx2"/>
                </a:solidFill>
              </a:defRPr>
            </a:lvl4pPr>
            <a:lvl5pPr marL="1828800" indent="0">
              <a:lnSpc>
                <a:spcPct val="130000"/>
              </a:lnSpc>
              <a:buNone/>
              <a:defRPr sz="1300">
                <a:solidFill>
                  <a:schemeClr val="tx2"/>
                </a:solidFill>
              </a:defRPr>
            </a:lvl5pPr>
          </a:lstStyle>
          <a:p>
            <a:pPr lvl="0"/>
            <a:endParaRPr lang="pt-BR"/>
          </a:p>
        </p:txBody>
      </p:sp>
      <p:sp>
        <p:nvSpPr>
          <p:cNvPr id="60" name="Espaço Reservado para Texto 45">
            <a:extLst>
              <a:ext uri="{FF2B5EF4-FFF2-40B4-BE49-F238E27FC236}">
                <a16:creationId xmlns:a16="http://schemas.microsoft.com/office/drawing/2014/main" id="{5A6A8A0A-A9DC-57C3-F49B-D204B25F3ED9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8756650" y="4500843"/>
            <a:ext cx="2516187" cy="625475"/>
          </a:xfrm>
        </p:spPr>
        <p:txBody>
          <a:bodyPr>
            <a:noAutofit/>
          </a:bodyPr>
          <a:lstStyle>
            <a:lvl1pPr>
              <a:lnSpc>
                <a:spcPct val="130000"/>
              </a:lnSpc>
              <a:defRPr sz="1400" b="0">
                <a:solidFill>
                  <a:schemeClr val="bg2"/>
                </a:solidFill>
              </a:defRPr>
            </a:lvl1pPr>
            <a:lvl2pPr>
              <a:lnSpc>
                <a:spcPct val="130000"/>
              </a:lnSpc>
              <a:defRPr sz="1300">
                <a:solidFill>
                  <a:schemeClr val="tx2"/>
                </a:solidFill>
              </a:defRPr>
            </a:lvl2pPr>
            <a:lvl3pPr>
              <a:lnSpc>
                <a:spcPct val="130000"/>
              </a:lnSpc>
              <a:defRPr sz="1300">
                <a:solidFill>
                  <a:schemeClr val="tx2"/>
                </a:solidFill>
              </a:defRPr>
            </a:lvl3pPr>
            <a:lvl4pPr>
              <a:lnSpc>
                <a:spcPct val="130000"/>
              </a:lnSpc>
              <a:defRPr sz="1300">
                <a:solidFill>
                  <a:schemeClr val="tx2"/>
                </a:solidFill>
              </a:defRPr>
            </a:lvl4pPr>
            <a:lvl5pPr marL="1828800" indent="0">
              <a:lnSpc>
                <a:spcPct val="130000"/>
              </a:lnSpc>
              <a:buNone/>
              <a:defRPr sz="1300">
                <a:solidFill>
                  <a:schemeClr val="tx2"/>
                </a:solidFill>
              </a:defRPr>
            </a:lvl5pPr>
          </a:lstStyle>
          <a:p>
            <a:pPr lvl="0"/>
            <a:endParaRPr lang="pt-BR"/>
          </a:p>
        </p:txBody>
      </p:sp>
      <p:sp>
        <p:nvSpPr>
          <p:cNvPr id="61" name="Espaço Reservado para Texto 45">
            <a:extLst>
              <a:ext uri="{FF2B5EF4-FFF2-40B4-BE49-F238E27FC236}">
                <a16:creationId xmlns:a16="http://schemas.microsoft.com/office/drawing/2014/main" id="{D3BE16D6-E390-D1BC-569E-B7C8A4BAC1EF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8756650" y="3533705"/>
            <a:ext cx="2516187" cy="625475"/>
          </a:xfrm>
        </p:spPr>
        <p:txBody>
          <a:bodyPr>
            <a:noAutofit/>
          </a:bodyPr>
          <a:lstStyle>
            <a:lvl1pPr>
              <a:lnSpc>
                <a:spcPct val="130000"/>
              </a:lnSpc>
              <a:defRPr sz="1400" b="0">
                <a:solidFill>
                  <a:schemeClr val="bg2"/>
                </a:solidFill>
              </a:defRPr>
            </a:lvl1pPr>
            <a:lvl2pPr>
              <a:lnSpc>
                <a:spcPct val="130000"/>
              </a:lnSpc>
              <a:defRPr sz="1300">
                <a:solidFill>
                  <a:schemeClr val="tx2"/>
                </a:solidFill>
              </a:defRPr>
            </a:lvl2pPr>
            <a:lvl3pPr>
              <a:lnSpc>
                <a:spcPct val="130000"/>
              </a:lnSpc>
              <a:defRPr sz="1300">
                <a:solidFill>
                  <a:schemeClr val="tx2"/>
                </a:solidFill>
              </a:defRPr>
            </a:lvl3pPr>
            <a:lvl4pPr>
              <a:lnSpc>
                <a:spcPct val="130000"/>
              </a:lnSpc>
              <a:defRPr sz="1300">
                <a:solidFill>
                  <a:schemeClr val="tx2"/>
                </a:solidFill>
              </a:defRPr>
            </a:lvl4pPr>
            <a:lvl5pPr marL="1828800" indent="0">
              <a:lnSpc>
                <a:spcPct val="130000"/>
              </a:lnSpc>
              <a:buNone/>
              <a:defRPr sz="1300">
                <a:solidFill>
                  <a:schemeClr val="tx2"/>
                </a:solidFill>
              </a:defRPr>
            </a:lvl5pPr>
          </a:lstStyle>
          <a:p>
            <a:pPr lvl="0"/>
            <a:endParaRPr lang="pt-BR"/>
          </a:p>
        </p:txBody>
      </p:sp>
      <p:sp>
        <p:nvSpPr>
          <p:cNvPr id="7" name="Espaço Reservado para Imagem 6">
            <a:extLst>
              <a:ext uri="{FF2B5EF4-FFF2-40B4-BE49-F238E27FC236}">
                <a16:creationId xmlns:a16="http://schemas.microsoft.com/office/drawing/2014/main" id="{9F790EC3-C462-56AD-2B08-F7FF72508A8C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4576763" y="1571153"/>
            <a:ext cx="654050" cy="65405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endParaRPr lang="pt-BR"/>
          </a:p>
        </p:txBody>
      </p:sp>
      <p:sp>
        <p:nvSpPr>
          <p:cNvPr id="9" name="Espaço Reservado para Imagem 6">
            <a:extLst>
              <a:ext uri="{FF2B5EF4-FFF2-40B4-BE49-F238E27FC236}">
                <a16:creationId xmlns:a16="http://schemas.microsoft.com/office/drawing/2014/main" id="{117F00D3-8A9D-BA5C-B4D6-56F53DABE081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4576763" y="4468922"/>
            <a:ext cx="654050" cy="654050"/>
          </a:xfrm>
          <a:prstGeom prst="ellipse">
            <a:avLst/>
          </a:prstGeom>
        </p:spPr>
        <p:txBody>
          <a:bodyPr/>
          <a:lstStyle/>
          <a:p>
            <a:endParaRPr lang="pt-BR"/>
          </a:p>
        </p:txBody>
      </p:sp>
      <p:sp>
        <p:nvSpPr>
          <p:cNvPr id="11" name="Espaço Reservado para Imagem 6">
            <a:extLst>
              <a:ext uri="{FF2B5EF4-FFF2-40B4-BE49-F238E27FC236}">
                <a16:creationId xmlns:a16="http://schemas.microsoft.com/office/drawing/2014/main" id="{C63AF8FD-7A31-97C0-140D-F6C27992E08A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4576763" y="3507444"/>
            <a:ext cx="654050" cy="654050"/>
          </a:xfrm>
          <a:prstGeom prst="ellipse">
            <a:avLst/>
          </a:prstGeom>
        </p:spPr>
        <p:txBody>
          <a:bodyPr/>
          <a:lstStyle/>
          <a:p>
            <a:endParaRPr lang="pt-BR"/>
          </a:p>
        </p:txBody>
      </p:sp>
      <p:sp>
        <p:nvSpPr>
          <p:cNvPr id="13" name="Espaço Reservado para Imagem 6">
            <a:extLst>
              <a:ext uri="{FF2B5EF4-FFF2-40B4-BE49-F238E27FC236}">
                <a16:creationId xmlns:a16="http://schemas.microsoft.com/office/drawing/2014/main" id="{F1E03703-2380-F3EB-4FA7-CE7A98BD8A46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4576763" y="2545093"/>
            <a:ext cx="654050" cy="654050"/>
          </a:xfrm>
          <a:prstGeom prst="ellipse">
            <a:avLst/>
          </a:prstGeom>
        </p:spPr>
        <p:txBody>
          <a:bodyPr/>
          <a:lstStyle/>
          <a:p>
            <a:endParaRPr lang="pt-BR"/>
          </a:p>
        </p:txBody>
      </p:sp>
      <p:sp>
        <p:nvSpPr>
          <p:cNvPr id="18" name="Espaço Reservado para Imagem 6">
            <a:extLst>
              <a:ext uri="{FF2B5EF4-FFF2-40B4-BE49-F238E27FC236}">
                <a16:creationId xmlns:a16="http://schemas.microsoft.com/office/drawing/2014/main" id="{F2561D0A-B2DA-2E1A-6F9F-4F820557716D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8102600" y="1571153"/>
            <a:ext cx="654050" cy="654050"/>
          </a:xfrm>
          <a:prstGeom prst="ellipse">
            <a:avLst/>
          </a:prstGeom>
        </p:spPr>
        <p:txBody>
          <a:bodyPr/>
          <a:lstStyle/>
          <a:p>
            <a:endParaRPr lang="pt-BR"/>
          </a:p>
        </p:txBody>
      </p:sp>
      <p:sp>
        <p:nvSpPr>
          <p:cNvPr id="19" name="Espaço Reservado para Imagem 6">
            <a:extLst>
              <a:ext uri="{FF2B5EF4-FFF2-40B4-BE49-F238E27FC236}">
                <a16:creationId xmlns:a16="http://schemas.microsoft.com/office/drawing/2014/main" id="{5FF9A836-CC47-5A5F-1F9F-77925A1F4580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8102600" y="4468922"/>
            <a:ext cx="654050" cy="654050"/>
          </a:xfrm>
          <a:prstGeom prst="ellipse">
            <a:avLst/>
          </a:prstGeom>
        </p:spPr>
        <p:txBody>
          <a:bodyPr/>
          <a:lstStyle/>
          <a:p>
            <a:endParaRPr lang="pt-BR"/>
          </a:p>
        </p:txBody>
      </p:sp>
      <p:sp>
        <p:nvSpPr>
          <p:cNvPr id="20" name="Espaço Reservado para Imagem 6">
            <a:extLst>
              <a:ext uri="{FF2B5EF4-FFF2-40B4-BE49-F238E27FC236}">
                <a16:creationId xmlns:a16="http://schemas.microsoft.com/office/drawing/2014/main" id="{6B2CA7E3-B922-EC4D-43CF-64B5C722AF49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8102600" y="3507444"/>
            <a:ext cx="654050" cy="654050"/>
          </a:xfrm>
          <a:prstGeom prst="ellipse">
            <a:avLst/>
          </a:prstGeom>
        </p:spPr>
        <p:txBody>
          <a:bodyPr/>
          <a:lstStyle/>
          <a:p>
            <a:endParaRPr lang="pt-BR"/>
          </a:p>
        </p:txBody>
      </p:sp>
      <p:sp>
        <p:nvSpPr>
          <p:cNvPr id="21" name="Espaço Reservado para Imagem 6">
            <a:extLst>
              <a:ext uri="{FF2B5EF4-FFF2-40B4-BE49-F238E27FC236}">
                <a16:creationId xmlns:a16="http://schemas.microsoft.com/office/drawing/2014/main" id="{59009F60-9F6B-1234-55D4-BBD6C8FA18BA}"/>
              </a:ext>
            </a:extLst>
          </p:cNvPr>
          <p:cNvSpPr>
            <a:spLocks noGrp="1"/>
          </p:cNvSpPr>
          <p:nvPr>
            <p:ph type="pic" sz="quarter" idx="39"/>
          </p:nvPr>
        </p:nvSpPr>
        <p:spPr>
          <a:xfrm>
            <a:off x="8102600" y="2545093"/>
            <a:ext cx="654050" cy="654050"/>
          </a:xfrm>
          <a:prstGeom prst="ellipse">
            <a:avLst/>
          </a:prstGeom>
        </p:spPr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755211073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32440888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Layout Personalizado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>
            <a:extLst>
              <a:ext uri="{FF2B5EF4-FFF2-40B4-BE49-F238E27FC236}">
                <a16:creationId xmlns:a16="http://schemas.microsoft.com/office/drawing/2014/main" id="{7E784451-CC4E-93D5-53EF-156F58A6E8B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11813960"/>
              </p:ext>
            </p:extLst>
          </p:nvPr>
        </p:nvGraphicFramePr>
        <p:xfrm>
          <a:off x="801" y="794"/>
          <a:ext cx="801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3" imgW="425" imgH="426" progId="TCLayout.ActiveDocument.1">
                  <p:embed/>
                </p:oleObj>
              </mc:Choice>
              <mc:Fallback>
                <p:oleObj name="Slide do think-cell" r:id="rId3" imgW="425" imgH="426" progId="TCLayout.ActiveDocument.1">
                  <p:embed/>
                  <p:pic>
                    <p:nvPicPr>
                      <p:cNvPr id="3" name="Objeto 2" hidden="1">
                        <a:extLst>
                          <a:ext uri="{FF2B5EF4-FFF2-40B4-BE49-F238E27FC236}">
                            <a16:creationId xmlns:a16="http://schemas.microsoft.com/office/drawing/2014/main" id="{7E784451-CC4E-93D5-53EF-156F58A6E8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801" y="794"/>
                        <a:ext cx="801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object 2">
            <a:extLst>
              <a:ext uri="{FF2B5EF4-FFF2-40B4-BE49-F238E27FC236}">
                <a16:creationId xmlns:a16="http://schemas.microsoft.com/office/drawing/2014/main" id="{7E253372-8C30-6088-C34D-5A12FD6B829E}"/>
              </a:ext>
            </a:extLst>
          </p:cNvPr>
          <p:cNvSpPr/>
          <p:nvPr userDrawn="1"/>
        </p:nvSpPr>
        <p:spPr>
          <a:xfrm>
            <a:off x="7190090" y="2821"/>
            <a:ext cx="1567052" cy="1004719"/>
          </a:xfrm>
          <a:custGeom>
            <a:avLst/>
            <a:gdLst/>
            <a:ahLst/>
            <a:cxnLst/>
            <a:rect l="l" t="t" r="r" b="b"/>
            <a:pathLst>
              <a:path w="2239009" h="1447800">
                <a:moveTo>
                  <a:pt x="421759" y="0"/>
                </a:moveTo>
                <a:lnTo>
                  <a:pt x="48729" y="0"/>
                </a:lnTo>
                <a:lnTo>
                  <a:pt x="48540" y="577"/>
                </a:lnTo>
                <a:lnTo>
                  <a:pt x="35894" y="45334"/>
                </a:lnTo>
                <a:lnTo>
                  <a:pt x="25078" y="90829"/>
                </a:lnTo>
                <a:lnTo>
                  <a:pt x="16134" y="137021"/>
                </a:lnTo>
                <a:lnTo>
                  <a:pt x="9105" y="183867"/>
                </a:lnTo>
                <a:lnTo>
                  <a:pt x="4031" y="231354"/>
                </a:lnTo>
                <a:lnTo>
                  <a:pt x="966" y="279235"/>
                </a:lnTo>
                <a:lnTo>
                  <a:pt x="0" y="324357"/>
                </a:lnTo>
                <a:lnTo>
                  <a:pt x="27" y="332739"/>
                </a:lnTo>
                <a:lnTo>
                  <a:pt x="958" y="376462"/>
                </a:lnTo>
                <a:lnTo>
                  <a:pt x="4032" y="424482"/>
                </a:lnTo>
                <a:lnTo>
                  <a:pt x="9105" y="471934"/>
                </a:lnTo>
                <a:lnTo>
                  <a:pt x="16134" y="518773"/>
                </a:lnTo>
                <a:lnTo>
                  <a:pt x="25078" y="564959"/>
                </a:lnTo>
                <a:lnTo>
                  <a:pt x="35927" y="610567"/>
                </a:lnTo>
                <a:lnTo>
                  <a:pt x="48540" y="655202"/>
                </a:lnTo>
                <a:lnTo>
                  <a:pt x="62974" y="699175"/>
                </a:lnTo>
                <a:lnTo>
                  <a:pt x="79155" y="742327"/>
                </a:lnTo>
                <a:lnTo>
                  <a:pt x="97040" y="784614"/>
                </a:lnTo>
                <a:lnTo>
                  <a:pt x="116588" y="825995"/>
                </a:lnTo>
                <a:lnTo>
                  <a:pt x="137756" y="866429"/>
                </a:lnTo>
                <a:lnTo>
                  <a:pt x="160502" y="905873"/>
                </a:lnTo>
                <a:lnTo>
                  <a:pt x="184785" y="944285"/>
                </a:lnTo>
                <a:lnTo>
                  <a:pt x="210562" y="981622"/>
                </a:lnTo>
                <a:lnTo>
                  <a:pt x="237791" y="1017844"/>
                </a:lnTo>
                <a:lnTo>
                  <a:pt x="266431" y="1052908"/>
                </a:lnTo>
                <a:lnTo>
                  <a:pt x="296440" y="1086772"/>
                </a:lnTo>
                <a:lnTo>
                  <a:pt x="327774" y="1119393"/>
                </a:lnTo>
                <a:lnTo>
                  <a:pt x="360393" y="1150730"/>
                </a:lnTo>
                <a:lnTo>
                  <a:pt x="394255" y="1180742"/>
                </a:lnTo>
                <a:lnTo>
                  <a:pt x="429317" y="1209385"/>
                </a:lnTo>
                <a:lnTo>
                  <a:pt x="465538" y="1236617"/>
                </a:lnTo>
                <a:lnTo>
                  <a:pt x="502874" y="1262398"/>
                </a:lnTo>
                <a:lnTo>
                  <a:pt x="541286" y="1286684"/>
                </a:lnTo>
                <a:lnTo>
                  <a:pt x="580730" y="1309433"/>
                </a:lnTo>
                <a:lnTo>
                  <a:pt x="621164" y="1330605"/>
                </a:lnTo>
                <a:lnTo>
                  <a:pt x="662547" y="1350155"/>
                </a:lnTo>
                <a:lnTo>
                  <a:pt x="704836" y="1368044"/>
                </a:lnTo>
                <a:lnTo>
                  <a:pt x="747990" y="1384228"/>
                </a:lnTo>
                <a:lnTo>
                  <a:pt x="791966" y="1398665"/>
                </a:lnTo>
                <a:lnTo>
                  <a:pt x="836723" y="1411313"/>
                </a:lnTo>
                <a:lnTo>
                  <a:pt x="882218" y="1422132"/>
                </a:lnTo>
                <a:lnTo>
                  <a:pt x="928410" y="1431077"/>
                </a:lnTo>
                <a:lnTo>
                  <a:pt x="975256" y="1438108"/>
                </a:lnTo>
                <a:lnTo>
                  <a:pt x="1022715" y="1443182"/>
                </a:lnTo>
                <a:lnTo>
                  <a:pt x="1070744" y="1446257"/>
                </a:lnTo>
                <a:lnTo>
                  <a:pt x="1119302" y="1447291"/>
                </a:lnTo>
                <a:lnTo>
                  <a:pt x="1122731" y="1447291"/>
                </a:lnTo>
                <a:lnTo>
                  <a:pt x="1171285" y="1446098"/>
                </a:lnTo>
                <a:lnTo>
                  <a:pt x="1219305" y="1442866"/>
                </a:lnTo>
                <a:lnTo>
                  <a:pt x="1266749" y="1437639"/>
                </a:lnTo>
                <a:lnTo>
                  <a:pt x="1313574" y="1430457"/>
                </a:lnTo>
                <a:lnTo>
                  <a:pt x="1359738" y="1421364"/>
                </a:lnTo>
                <a:lnTo>
                  <a:pt x="1405200" y="1410401"/>
                </a:lnTo>
                <a:lnTo>
                  <a:pt x="1449919" y="1397610"/>
                </a:lnTo>
                <a:lnTo>
                  <a:pt x="1493851" y="1383035"/>
                </a:lnTo>
                <a:lnTo>
                  <a:pt x="1536955" y="1366715"/>
                </a:lnTo>
                <a:lnTo>
                  <a:pt x="1579190" y="1348695"/>
                </a:lnTo>
                <a:lnTo>
                  <a:pt x="1620513" y="1329015"/>
                </a:lnTo>
                <a:lnTo>
                  <a:pt x="1660883" y="1307718"/>
                </a:lnTo>
                <a:lnTo>
                  <a:pt x="1700257" y="1284847"/>
                </a:lnTo>
                <a:lnTo>
                  <a:pt x="1738595" y="1260442"/>
                </a:lnTo>
                <a:lnTo>
                  <a:pt x="1775853" y="1234547"/>
                </a:lnTo>
                <a:lnTo>
                  <a:pt x="1811990" y="1207203"/>
                </a:lnTo>
                <a:lnTo>
                  <a:pt x="1846965" y="1178453"/>
                </a:lnTo>
                <a:lnTo>
                  <a:pt x="1880735" y="1148338"/>
                </a:lnTo>
                <a:lnTo>
                  <a:pt x="1913258" y="1116901"/>
                </a:lnTo>
                <a:lnTo>
                  <a:pt x="1931869" y="1097406"/>
                </a:lnTo>
                <a:lnTo>
                  <a:pt x="1122731" y="1097406"/>
                </a:lnTo>
                <a:lnTo>
                  <a:pt x="1074061" y="1096198"/>
                </a:lnTo>
                <a:lnTo>
                  <a:pt x="1026177" y="1092018"/>
                </a:lnTo>
                <a:lnTo>
                  <a:pt x="979168" y="1084955"/>
                </a:lnTo>
                <a:lnTo>
                  <a:pt x="933126" y="1075099"/>
                </a:lnTo>
                <a:lnTo>
                  <a:pt x="888141" y="1062540"/>
                </a:lnTo>
                <a:lnTo>
                  <a:pt x="844304" y="1047367"/>
                </a:lnTo>
                <a:lnTo>
                  <a:pt x="801705" y="1029668"/>
                </a:lnTo>
                <a:lnTo>
                  <a:pt x="760436" y="1009535"/>
                </a:lnTo>
                <a:lnTo>
                  <a:pt x="720586" y="987056"/>
                </a:lnTo>
                <a:lnTo>
                  <a:pt x="682248" y="962321"/>
                </a:lnTo>
                <a:lnTo>
                  <a:pt x="645510" y="935419"/>
                </a:lnTo>
                <a:lnTo>
                  <a:pt x="610465" y="906440"/>
                </a:lnTo>
                <a:lnTo>
                  <a:pt x="577202" y="875474"/>
                </a:lnTo>
                <a:lnTo>
                  <a:pt x="545813" y="842609"/>
                </a:lnTo>
                <a:lnTo>
                  <a:pt x="516388" y="807935"/>
                </a:lnTo>
                <a:lnTo>
                  <a:pt x="489018" y="771542"/>
                </a:lnTo>
                <a:lnTo>
                  <a:pt x="463793" y="733519"/>
                </a:lnTo>
                <a:lnTo>
                  <a:pt x="440805" y="693956"/>
                </a:lnTo>
                <a:lnTo>
                  <a:pt x="420143" y="652943"/>
                </a:lnTo>
                <a:lnTo>
                  <a:pt x="401857" y="610450"/>
                </a:lnTo>
                <a:lnTo>
                  <a:pt x="386164" y="566920"/>
                </a:lnTo>
                <a:lnTo>
                  <a:pt x="373027" y="522091"/>
                </a:lnTo>
                <a:lnTo>
                  <a:pt x="362580" y="476169"/>
                </a:lnTo>
                <a:lnTo>
                  <a:pt x="354914" y="429243"/>
                </a:lnTo>
                <a:lnTo>
                  <a:pt x="350118" y="381403"/>
                </a:lnTo>
                <a:lnTo>
                  <a:pt x="348285" y="332739"/>
                </a:lnTo>
                <a:lnTo>
                  <a:pt x="349493" y="284070"/>
                </a:lnTo>
                <a:lnTo>
                  <a:pt x="353675" y="236185"/>
                </a:lnTo>
                <a:lnTo>
                  <a:pt x="360740" y="189177"/>
                </a:lnTo>
                <a:lnTo>
                  <a:pt x="370599" y="143135"/>
                </a:lnTo>
                <a:lnTo>
                  <a:pt x="383162" y="98150"/>
                </a:lnTo>
                <a:lnTo>
                  <a:pt x="398340" y="54312"/>
                </a:lnTo>
                <a:lnTo>
                  <a:pt x="416043" y="11714"/>
                </a:lnTo>
                <a:lnTo>
                  <a:pt x="421759" y="0"/>
                </a:lnTo>
                <a:close/>
              </a:path>
              <a:path w="2239009" h="1447800">
                <a:moveTo>
                  <a:pt x="2189813" y="0"/>
                </a:moveTo>
                <a:lnTo>
                  <a:pt x="1815079" y="0"/>
                </a:lnTo>
                <a:lnTo>
                  <a:pt x="1818559" y="7069"/>
                </a:lnTo>
                <a:lnTo>
                  <a:pt x="1836408" y="49609"/>
                </a:lnTo>
                <a:lnTo>
                  <a:pt x="1851736" y="93398"/>
                </a:lnTo>
                <a:lnTo>
                  <a:pt x="1864451" y="138345"/>
                </a:lnTo>
                <a:lnTo>
                  <a:pt x="1874465" y="184361"/>
                </a:lnTo>
                <a:lnTo>
                  <a:pt x="1881688" y="231354"/>
                </a:lnTo>
                <a:lnTo>
                  <a:pt x="1886032" y="279355"/>
                </a:lnTo>
                <a:lnTo>
                  <a:pt x="1887398" y="327913"/>
                </a:lnTo>
                <a:lnTo>
                  <a:pt x="1885887" y="376462"/>
                </a:lnTo>
                <a:lnTo>
                  <a:pt x="1881454" y="424011"/>
                </a:lnTo>
                <a:lnTo>
                  <a:pt x="1874157" y="470782"/>
                </a:lnTo>
                <a:lnTo>
                  <a:pt x="1864095" y="516580"/>
                </a:lnTo>
                <a:lnTo>
                  <a:pt x="1851357" y="561318"/>
                </a:lnTo>
                <a:lnTo>
                  <a:pt x="1836031" y="604906"/>
                </a:lnTo>
                <a:lnTo>
                  <a:pt x="1818207" y="647254"/>
                </a:lnTo>
                <a:lnTo>
                  <a:pt x="1797972" y="688272"/>
                </a:lnTo>
                <a:lnTo>
                  <a:pt x="1775416" y="727872"/>
                </a:lnTo>
                <a:lnTo>
                  <a:pt x="1750627" y="765964"/>
                </a:lnTo>
                <a:lnTo>
                  <a:pt x="1723694" y="802459"/>
                </a:lnTo>
                <a:lnTo>
                  <a:pt x="1694706" y="837267"/>
                </a:lnTo>
                <a:lnTo>
                  <a:pt x="1663751" y="870299"/>
                </a:lnTo>
                <a:lnTo>
                  <a:pt x="1630918" y="901465"/>
                </a:lnTo>
                <a:lnTo>
                  <a:pt x="1596296" y="930676"/>
                </a:lnTo>
                <a:lnTo>
                  <a:pt x="1559973" y="957843"/>
                </a:lnTo>
                <a:lnTo>
                  <a:pt x="1522038" y="982876"/>
                </a:lnTo>
                <a:lnTo>
                  <a:pt x="1482581" y="1005686"/>
                </a:lnTo>
                <a:lnTo>
                  <a:pt x="1441689" y="1026184"/>
                </a:lnTo>
                <a:lnTo>
                  <a:pt x="1399451" y="1044279"/>
                </a:lnTo>
                <a:lnTo>
                  <a:pt x="1355956" y="1059884"/>
                </a:lnTo>
                <a:lnTo>
                  <a:pt x="1311293" y="1072907"/>
                </a:lnTo>
                <a:lnTo>
                  <a:pt x="1265550" y="1083261"/>
                </a:lnTo>
                <a:lnTo>
                  <a:pt x="1218816" y="1090855"/>
                </a:lnTo>
                <a:lnTo>
                  <a:pt x="1171180" y="1095600"/>
                </a:lnTo>
                <a:lnTo>
                  <a:pt x="1122731" y="1097406"/>
                </a:lnTo>
                <a:lnTo>
                  <a:pt x="1931869" y="1097406"/>
                </a:lnTo>
                <a:lnTo>
                  <a:pt x="1974398" y="1050228"/>
                </a:lnTo>
                <a:lnTo>
                  <a:pt x="2002931" y="1015077"/>
                </a:lnTo>
                <a:lnTo>
                  <a:pt x="2030049" y="978771"/>
                </a:lnTo>
                <a:lnTo>
                  <a:pt x="2055712" y="941354"/>
                </a:lnTo>
                <a:lnTo>
                  <a:pt x="2079877" y="902868"/>
                </a:lnTo>
                <a:lnTo>
                  <a:pt x="2102503" y="863353"/>
                </a:lnTo>
                <a:lnTo>
                  <a:pt x="2123547" y="822854"/>
                </a:lnTo>
                <a:lnTo>
                  <a:pt x="2142967" y="781410"/>
                </a:lnTo>
                <a:lnTo>
                  <a:pt x="2160723" y="739066"/>
                </a:lnTo>
                <a:lnTo>
                  <a:pt x="2176771" y="695862"/>
                </a:lnTo>
                <a:lnTo>
                  <a:pt x="2191071" y="651842"/>
                </a:lnTo>
                <a:lnTo>
                  <a:pt x="2203579" y="607046"/>
                </a:lnTo>
                <a:lnTo>
                  <a:pt x="2214293" y="561318"/>
                </a:lnTo>
                <a:lnTo>
                  <a:pt x="2223057" y="515299"/>
                </a:lnTo>
                <a:lnTo>
                  <a:pt x="2229942" y="468431"/>
                </a:lnTo>
                <a:lnTo>
                  <a:pt x="2234869" y="420957"/>
                </a:lnTo>
                <a:lnTo>
                  <a:pt x="2237795" y="372918"/>
                </a:lnTo>
                <a:lnTo>
                  <a:pt x="2238680" y="324357"/>
                </a:lnTo>
                <a:lnTo>
                  <a:pt x="2237491" y="275911"/>
                </a:lnTo>
                <a:lnTo>
                  <a:pt x="2234272" y="227997"/>
                </a:lnTo>
                <a:lnTo>
                  <a:pt x="2229066" y="180655"/>
                </a:lnTo>
                <a:lnTo>
                  <a:pt x="2221914" y="133928"/>
                </a:lnTo>
                <a:lnTo>
                  <a:pt x="2212858" y="87858"/>
                </a:lnTo>
                <a:lnTo>
                  <a:pt x="2201939" y="42485"/>
                </a:lnTo>
                <a:lnTo>
                  <a:pt x="2189813" y="0"/>
                </a:lnTo>
                <a:close/>
              </a:path>
            </a:pathLst>
          </a:custGeom>
          <a:solidFill>
            <a:srgbClr val="F1F1F1"/>
          </a:solidFill>
        </p:spPr>
        <p:txBody>
          <a:bodyPr wrap="square" lIns="0" tIns="0" rIns="0" bIns="0" rtlCol="0"/>
          <a:lstStyle/>
          <a:p>
            <a:pPr defTabSz="634548"/>
            <a:endParaRPr sz="1249">
              <a:solidFill>
                <a:prstClr val="black"/>
              </a:solidFill>
              <a:latin typeface="Calibri"/>
            </a:endParaRPr>
          </a:p>
        </p:txBody>
      </p:sp>
      <p:sp>
        <p:nvSpPr>
          <p:cNvPr id="5" name="object 3">
            <a:extLst>
              <a:ext uri="{FF2B5EF4-FFF2-40B4-BE49-F238E27FC236}">
                <a16:creationId xmlns:a16="http://schemas.microsoft.com/office/drawing/2014/main" id="{DE04FEEE-904B-F42F-8CBB-DEA43F468C2C}"/>
              </a:ext>
            </a:extLst>
          </p:cNvPr>
          <p:cNvSpPr/>
          <p:nvPr userDrawn="1"/>
        </p:nvSpPr>
        <p:spPr>
          <a:xfrm>
            <a:off x="6491487" y="383556"/>
            <a:ext cx="563534" cy="558765"/>
          </a:xfrm>
          <a:custGeom>
            <a:avLst/>
            <a:gdLst/>
            <a:ahLst/>
            <a:cxnLst/>
            <a:rect l="l" t="t" r="r" b="b"/>
            <a:pathLst>
              <a:path w="805179" h="805180">
                <a:moveTo>
                  <a:pt x="402335" y="0"/>
                </a:moveTo>
                <a:lnTo>
                  <a:pt x="355406" y="2706"/>
                </a:lnTo>
                <a:lnTo>
                  <a:pt x="310069" y="10623"/>
                </a:lnTo>
                <a:lnTo>
                  <a:pt x="266626" y="23450"/>
                </a:lnTo>
                <a:lnTo>
                  <a:pt x="225378" y="40885"/>
                </a:lnTo>
                <a:lnTo>
                  <a:pt x="186628" y="62627"/>
                </a:lnTo>
                <a:lnTo>
                  <a:pt x="150676" y="88374"/>
                </a:lnTo>
                <a:lnTo>
                  <a:pt x="117824" y="117824"/>
                </a:lnTo>
                <a:lnTo>
                  <a:pt x="88374" y="150676"/>
                </a:lnTo>
                <a:lnTo>
                  <a:pt x="62627" y="186628"/>
                </a:lnTo>
                <a:lnTo>
                  <a:pt x="40885" y="225378"/>
                </a:lnTo>
                <a:lnTo>
                  <a:pt x="23450" y="266626"/>
                </a:lnTo>
                <a:lnTo>
                  <a:pt x="10623" y="310069"/>
                </a:lnTo>
                <a:lnTo>
                  <a:pt x="2706" y="355406"/>
                </a:lnTo>
                <a:lnTo>
                  <a:pt x="0" y="402335"/>
                </a:lnTo>
                <a:lnTo>
                  <a:pt x="2706" y="449265"/>
                </a:lnTo>
                <a:lnTo>
                  <a:pt x="10623" y="494602"/>
                </a:lnTo>
                <a:lnTo>
                  <a:pt x="23450" y="538045"/>
                </a:lnTo>
                <a:lnTo>
                  <a:pt x="40885" y="579293"/>
                </a:lnTo>
                <a:lnTo>
                  <a:pt x="62627" y="618043"/>
                </a:lnTo>
                <a:lnTo>
                  <a:pt x="88374" y="653995"/>
                </a:lnTo>
                <a:lnTo>
                  <a:pt x="117824" y="686847"/>
                </a:lnTo>
                <a:lnTo>
                  <a:pt x="150676" y="716297"/>
                </a:lnTo>
                <a:lnTo>
                  <a:pt x="186628" y="742044"/>
                </a:lnTo>
                <a:lnTo>
                  <a:pt x="225378" y="763786"/>
                </a:lnTo>
                <a:lnTo>
                  <a:pt x="266626" y="781221"/>
                </a:lnTo>
                <a:lnTo>
                  <a:pt x="310069" y="794048"/>
                </a:lnTo>
                <a:lnTo>
                  <a:pt x="355406" y="801965"/>
                </a:lnTo>
                <a:lnTo>
                  <a:pt x="402335" y="804672"/>
                </a:lnTo>
                <a:lnTo>
                  <a:pt x="449265" y="801965"/>
                </a:lnTo>
                <a:lnTo>
                  <a:pt x="494602" y="794048"/>
                </a:lnTo>
                <a:lnTo>
                  <a:pt x="538045" y="781221"/>
                </a:lnTo>
                <a:lnTo>
                  <a:pt x="579293" y="763786"/>
                </a:lnTo>
                <a:lnTo>
                  <a:pt x="618043" y="742044"/>
                </a:lnTo>
                <a:lnTo>
                  <a:pt x="653995" y="716297"/>
                </a:lnTo>
                <a:lnTo>
                  <a:pt x="686847" y="686847"/>
                </a:lnTo>
                <a:lnTo>
                  <a:pt x="716297" y="653995"/>
                </a:lnTo>
                <a:lnTo>
                  <a:pt x="742044" y="618043"/>
                </a:lnTo>
                <a:lnTo>
                  <a:pt x="763786" y="579293"/>
                </a:lnTo>
                <a:lnTo>
                  <a:pt x="781221" y="538045"/>
                </a:lnTo>
                <a:lnTo>
                  <a:pt x="794048" y="494602"/>
                </a:lnTo>
                <a:lnTo>
                  <a:pt x="801965" y="449265"/>
                </a:lnTo>
                <a:lnTo>
                  <a:pt x="804671" y="402335"/>
                </a:lnTo>
                <a:lnTo>
                  <a:pt x="801965" y="355406"/>
                </a:lnTo>
                <a:lnTo>
                  <a:pt x="794048" y="310069"/>
                </a:lnTo>
                <a:lnTo>
                  <a:pt x="781221" y="266626"/>
                </a:lnTo>
                <a:lnTo>
                  <a:pt x="763786" y="225378"/>
                </a:lnTo>
                <a:lnTo>
                  <a:pt x="742044" y="186628"/>
                </a:lnTo>
                <a:lnTo>
                  <a:pt x="716297" y="150676"/>
                </a:lnTo>
                <a:lnTo>
                  <a:pt x="686847" y="117824"/>
                </a:lnTo>
                <a:lnTo>
                  <a:pt x="653995" y="88374"/>
                </a:lnTo>
                <a:lnTo>
                  <a:pt x="618043" y="62627"/>
                </a:lnTo>
                <a:lnTo>
                  <a:pt x="579293" y="40885"/>
                </a:lnTo>
                <a:lnTo>
                  <a:pt x="538045" y="23450"/>
                </a:lnTo>
                <a:lnTo>
                  <a:pt x="494602" y="10623"/>
                </a:lnTo>
                <a:lnTo>
                  <a:pt x="449265" y="2706"/>
                </a:lnTo>
                <a:lnTo>
                  <a:pt x="402335" y="0"/>
                </a:lnTo>
                <a:close/>
              </a:path>
            </a:pathLst>
          </a:custGeom>
          <a:solidFill>
            <a:srgbClr val="F1F1F1"/>
          </a:solidFill>
        </p:spPr>
        <p:txBody>
          <a:bodyPr wrap="square" lIns="0" tIns="0" rIns="0" bIns="0" rtlCol="0"/>
          <a:lstStyle/>
          <a:p>
            <a:pPr defTabSz="634548"/>
            <a:endParaRPr sz="1249">
              <a:solidFill>
                <a:prstClr val="black"/>
              </a:solidFill>
              <a:latin typeface="Calibri"/>
            </a:endParaRPr>
          </a:p>
        </p:txBody>
      </p:sp>
      <p:pic>
        <p:nvPicPr>
          <p:cNvPr id="6" name="Imagem 5" descr="Logotipo&#10;&#10;Descrição gerada automaticamente">
            <a:extLst>
              <a:ext uri="{FF2B5EF4-FFF2-40B4-BE49-F238E27FC236}">
                <a16:creationId xmlns:a16="http://schemas.microsoft.com/office/drawing/2014/main" id="{A033AB7A-5BA9-AA55-9B3E-FFC871CAAC9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18982" y="204766"/>
            <a:ext cx="1106883" cy="644178"/>
          </a:xfrm>
          <a:prstGeom prst="rect">
            <a:avLst/>
          </a:prstGeom>
        </p:spPr>
      </p:pic>
      <p:sp>
        <p:nvSpPr>
          <p:cNvPr id="8" name="Espaço Reservado para Título 17">
            <a:extLst>
              <a:ext uri="{FF2B5EF4-FFF2-40B4-BE49-F238E27FC236}">
                <a16:creationId xmlns:a16="http://schemas.microsoft.com/office/drawing/2014/main" id="{18851D86-05BF-BF2F-BCB3-CDA789FECBA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2006" y="427757"/>
            <a:ext cx="6111248" cy="514564"/>
          </a:xfrm>
          <a:prstGeom prst="rect">
            <a:avLst/>
          </a:prstGeom>
          <a:ln w="3175">
            <a:noFill/>
          </a:ln>
        </p:spPr>
        <p:txBody>
          <a:bodyPr vert="horz" lIns="91440" tIns="45720" rIns="91440" bIns="45720" rtlCol="0" anchor="ctr">
            <a:normAutofit/>
          </a:bodyPr>
          <a:lstStyle>
            <a:lvl1pPr>
              <a:defRPr sz="2700">
                <a:solidFill>
                  <a:srgbClr val="F1653E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pt-BR"/>
              <a:t>Clique para editar título Mestre</a:t>
            </a:r>
          </a:p>
        </p:txBody>
      </p:sp>
    </p:spTree>
    <p:extLst>
      <p:ext uri="{BB962C8B-B14F-4D97-AF65-F5344CB8AC3E}">
        <p14:creationId xmlns:p14="http://schemas.microsoft.com/office/powerpoint/2010/main" val="57505771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E339FF7-E679-BC64-FE01-C490964293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44562" y="2848767"/>
            <a:ext cx="6832600" cy="1281113"/>
          </a:xfrm>
        </p:spPr>
        <p:txBody>
          <a:bodyPr>
            <a:noAutofit/>
          </a:bodyPr>
          <a:lstStyle>
            <a:lvl1pPr>
              <a:lnSpc>
                <a:spcPct val="85000"/>
              </a:lnSpc>
              <a:defRPr lang="pt-BR" sz="5400" b="1" i="0" u="none" strike="noStrike" kern="1200" cap="all" spc="-100" baseline="0" dirty="0" smtClean="0">
                <a:solidFill>
                  <a:schemeClr val="accent1"/>
                </a:solidFill>
                <a:latin typeface="+mj-lt"/>
                <a:ea typeface="+mj-ea"/>
                <a:cs typeface="+mj-cs"/>
                <a:sym typeface="Arial"/>
              </a:defRPr>
            </a:lvl1pPr>
          </a:lstStyle>
          <a:p>
            <a:r>
              <a:rPr lang="pt-BR"/>
              <a:t>Clique para editar o </a:t>
            </a:r>
            <a:r>
              <a:rPr lang="pt-BR" err="1"/>
              <a:t>títulO</a:t>
            </a:r>
            <a:endParaRPr lang="pt-BR"/>
          </a:p>
        </p:txBody>
      </p:sp>
      <p:pic>
        <p:nvPicPr>
          <p:cNvPr id="9" name="Gráfico 8">
            <a:extLst>
              <a:ext uri="{FF2B5EF4-FFF2-40B4-BE49-F238E27FC236}">
                <a16:creationId xmlns:a16="http://schemas.microsoft.com/office/drawing/2014/main" id="{74D81A32-4C7C-0CCE-4AE1-180F087D38D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8386" y="476863"/>
            <a:ext cx="1412714" cy="829797"/>
          </a:xfrm>
          <a:prstGeom prst="rect">
            <a:avLst/>
          </a:prstGeom>
        </p:spPr>
      </p:pic>
      <p:pic>
        <p:nvPicPr>
          <p:cNvPr id="10" name="Gráfico 9">
            <a:extLst>
              <a:ext uri="{FF2B5EF4-FFF2-40B4-BE49-F238E27FC236}">
                <a16:creationId xmlns:a16="http://schemas.microsoft.com/office/drawing/2014/main" id="{9BD457A8-84E7-7430-6D08-43149ED43C5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-643448" y="4877887"/>
            <a:ext cx="1577057" cy="1853043"/>
          </a:xfrm>
          <a:prstGeom prst="rect">
            <a:avLst/>
          </a:prstGeom>
        </p:spPr>
      </p:pic>
      <p:sp>
        <p:nvSpPr>
          <p:cNvPr id="12" name="Espaço Reservado para Texto 11">
            <a:extLst>
              <a:ext uri="{FF2B5EF4-FFF2-40B4-BE49-F238E27FC236}">
                <a16:creationId xmlns:a16="http://schemas.microsoft.com/office/drawing/2014/main" id="{0D810081-EA73-009A-C87B-3D42044833B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14400" y="2449218"/>
            <a:ext cx="6832600" cy="447675"/>
          </a:xfrm>
        </p:spPr>
        <p:txBody>
          <a:bodyPr lIns="144000">
            <a:normAutofit/>
          </a:bodyPr>
          <a:lstStyle>
            <a:lvl1pPr marL="0" marR="0" indent="0" algn="l" defTabSz="914400" rtl="0" eaLnBrk="1" latinLnBrk="0" hangingPunct="1">
              <a:lnSpc>
                <a:spcPct val="100000"/>
              </a:lnSpc>
              <a:spcBef>
                <a:spcPts val="2000"/>
              </a:spcBef>
              <a:spcAft>
                <a:spcPts val="500"/>
              </a:spcAft>
              <a:buClrTx/>
              <a:buFont typeface="Arial" panose="020B0604020202020204" pitchFamily="34" charset="0"/>
              <a:buNone/>
              <a:defRPr lang="pt-BR" sz="1500" b="0" i="0" u="none" strike="noStrike" kern="1200" cap="all" spc="10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Arial"/>
              </a:defRPr>
            </a:lvl1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13" name="Espaço Reservado para Texto 11">
            <a:extLst>
              <a:ext uri="{FF2B5EF4-FFF2-40B4-BE49-F238E27FC236}">
                <a16:creationId xmlns:a16="http://schemas.microsoft.com/office/drawing/2014/main" id="{C8458586-A2E0-FAC7-BE44-2EA68F6CF93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914400" y="4205706"/>
            <a:ext cx="6832600" cy="447675"/>
          </a:xfrm>
        </p:spPr>
        <p:txBody>
          <a:bodyPr lIns="144000" anchor="t">
            <a:normAutofit/>
          </a:bodyPr>
          <a:lstStyle>
            <a:lvl1pPr marL="0" marR="0" indent="0" algn="l" defTabSz="914400" rtl="0" eaLnBrk="1" latinLnBrk="0" hangingPunct="1">
              <a:lnSpc>
                <a:spcPct val="100000"/>
              </a:lnSpc>
              <a:spcBef>
                <a:spcPts val="2000"/>
              </a:spcBef>
              <a:spcAft>
                <a:spcPts val="500"/>
              </a:spcAft>
              <a:buClrTx/>
              <a:buFont typeface="Arial" panose="020B0604020202020204" pitchFamily="34" charset="0"/>
              <a:buNone/>
              <a:defRPr lang="pt-BR" sz="1500" b="0" i="0" u="none" strike="noStrike" kern="1200" cap="all" spc="10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Arial"/>
              </a:defRPr>
            </a:lvl1pPr>
          </a:lstStyle>
          <a:p>
            <a:pPr lvl="0"/>
            <a:r>
              <a:rPr lang="pt-BR"/>
              <a:t>Clique para editar os estilos de texto Mestres</a:t>
            </a:r>
          </a:p>
        </p:txBody>
      </p:sp>
      <p:pic>
        <p:nvPicPr>
          <p:cNvPr id="14" name="Gráfico 13">
            <a:extLst>
              <a:ext uri="{FF2B5EF4-FFF2-40B4-BE49-F238E27FC236}">
                <a16:creationId xmlns:a16="http://schemas.microsoft.com/office/drawing/2014/main" id="{24C9451C-4B61-4874-1435-D78622F233BB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975600" y="-2844501"/>
            <a:ext cx="6858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822904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ço Reservado para Gráfico 7">
            <a:extLst>
              <a:ext uri="{FF2B5EF4-FFF2-40B4-BE49-F238E27FC236}">
                <a16:creationId xmlns:a16="http://schemas.microsoft.com/office/drawing/2014/main" id="{525D5F98-DDB4-B94B-66E6-7FC4458751DE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1109663" y="2438030"/>
            <a:ext cx="4676775" cy="2674937"/>
          </a:xfrm>
        </p:spPr>
        <p:txBody>
          <a:bodyPr/>
          <a:lstStyle/>
          <a:p>
            <a:endParaRPr lang="pt-BR"/>
          </a:p>
        </p:txBody>
      </p:sp>
      <p:sp>
        <p:nvSpPr>
          <p:cNvPr id="13" name="Título 12">
            <a:extLst>
              <a:ext uri="{FF2B5EF4-FFF2-40B4-BE49-F238E27FC236}">
                <a16:creationId xmlns:a16="http://schemas.microsoft.com/office/drawing/2014/main" id="{ADF69FDE-B23B-9656-AB0E-FA565B8CC7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4400" y="655275"/>
            <a:ext cx="7160897" cy="476190"/>
          </a:xfrm>
        </p:spPr>
        <p:txBody>
          <a:bodyPr>
            <a:noAutofit/>
          </a:bodyPr>
          <a:lstStyle>
            <a:lvl1pPr>
              <a:defRPr sz="3000"/>
            </a:lvl1pPr>
          </a:lstStyle>
          <a:p>
            <a:r>
              <a:rPr lang="pt-BR"/>
              <a:t>Clique para editar o título Mestre</a:t>
            </a:r>
          </a:p>
        </p:txBody>
      </p:sp>
      <p:pic>
        <p:nvPicPr>
          <p:cNvPr id="5" name="Gráfico 4">
            <a:extLst>
              <a:ext uri="{FF2B5EF4-FFF2-40B4-BE49-F238E27FC236}">
                <a16:creationId xmlns:a16="http://schemas.microsoft.com/office/drawing/2014/main" id="{A55B6DD7-EF35-1A47-0682-FB0263AE46F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28972" y="-1239748"/>
            <a:ext cx="2726056" cy="2726056"/>
          </a:xfrm>
          <a:prstGeom prst="rect">
            <a:avLst/>
          </a:prstGeom>
        </p:spPr>
      </p:pic>
      <p:pic>
        <p:nvPicPr>
          <p:cNvPr id="6" name="Gráfico 5">
            <a:extLst>
              <a:ext uri="{FF2B5EF4-FFF2-40B4-BE49-F238E27FC236}">
                <a16:creationId xmlns:a16="http://schemas.microsoft.com/office/drawing/2014/main" id="{6BB7C3AF-C957-8BE3-AA41-01756EF205A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680864" y="6346864"/>
            <a:ext cx="1022272" cy="1022272"/>
          </a:xfrm>
          <a:prstGeom prst="rect">
            <a:avLst/>
          </a:prstGeom>
        </p:spPr>
      </p:pic>
      <p:sp>
        <p:nvSpPr>
          <p:cNvPr id="2" name="Espaço Reservado para Gráfico 7">
            <a:extLst>
              <a:ext uri="{FF2B5EF4-FFF2-40B4-BE49-F238E27FC236}">
                <a16:creationId xmlns:a16="http://schemas.microsoft.com/office/drawing/2014/main" id="{794511CE-6AEF-6FC7-2BBF-27E054E2A872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7096321" y="1365660"/>
            <a:ext cx="3298629" cy="1941860"/>
          </a:xfrm>
        </p:spPr>
        <p:txBody>
          <a:bodyPr/>
          <a:lstStyle/>
          <a:p>
            <a:endParaRPr lang="pt-BR"/>
          </a:p>
        </p:txBody>
      </p:sp>
      <p:sp>
        <p:nvSpPr>
          <p:cNvPr id="3" name="Espaço Reservado para Gráfico 7">
            <a:extLst>
              <a:ext uri="{FF2B5EF4-FFF2-40B4-BE49-F238E27FC236}">
                <a16:creationId xmlns:a16="http://schemas.microsoft.com/office/drawing/2014/main" id="{ABB453D1-8782-5B15-4AA3-58BC9064C3CB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096321" y="4274791"/>
            <a:ext cx="3298629" cy="1941860"/>
          </a:xfrm>
        </p:spPr>
        <p:txBody>
          <a:bodyPr/>
          <a:lstStyle/>
          <a:p>
            <a:endParaRPr lang="pt-BR"/>
          </a:p>
        </p:txBody>
      </p:sp>
      <p:pic>
        <p:nvPicPr>
          <p:cNvPr id="4" name="Imagem 3" descr="Logotipo&#10;&#10;Descrição gerada automaticamente">
            <a:extLst>
              <a:ext uri="{FF2B5EF4-FFF2-40B4-BE49-F238E27FC236}">
                <a16:creationId xmlns:a16="http://schemas.microsoft.com/office/drawing/2014/main" id="{661E7BC8-B2B9-4F0A-8111-4B95CFCCF33E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9877675" y="278512"/>
            <a:ext cx="864013" cy="507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4257054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áfico 5">
            <a:extLst>
              <a:ext uri="{FF2B5EF4-FFF2-40B4-BE49-F238E27FC236}">
                <a16:creationId xmlns:a16="http://schemas.microsoft.com/office/drawing/2014/main" id="{63E891D6-3C9E-6CA7-58C5-A99C0C4D22B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458099" y="274462"/>
            <a:ext cx="1577057" cy="1853043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B9827399-D6D9-8189-3904-36F5D87972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4400" y="2838195"/>
            <a:ext cx="5067300" cy="1326091"/>
          </a:xfrm>
          <a:prstGeom prst="rect">
            <a:avLst/>
          </a:prstGeom>
        </p:spPr>
        <p:txBody>
          <a:bodyPr>
            <a:noAutofit/>
          </a:bodyPr>
          <a:lstStyle>
            <a:lvl1pPr marR="0" algn="l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pt-BR" sz="4800" b="1" i="0" u="none" strike="noStrike" cap="none" spc="-100" baseline="0" dirty="0">
                <a:solidFill>
                  <a:schemeClr val="accent1"/>
                </a:solidFill>
                <a:latin typeface="+mj-lt"/>
                <a:ea typeface="Arial"/>
                <a:cs typeface="Poppins" panose="00000500000000000000" pitchFamily="2" charset="0"/>
                <a:sym typeface="Arial"/>
              </a:defRPr>
            </a:lvl1pPr>
          </a:lstStyle>
          <a:p>
            <a:r>
              <a:rPr lang="pt-BR"/>
              <a:t>Clique para editar o título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53DD9C0-0B7B-4802-9204-0F90379C05A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230111" y="1170710"/>
            <a:ext cx="4516582" cy="4516582"/>
          </a:xfrm>
          <a:custGeom>
            <a:avLst/>
            <a:gdLst>
              <a:gd name="connsiteX0" fmla="*/ 3543300 w 7086600"/>
              <a:gd name="connsiteY0" fmla="*/ 0 h 7086600"/>
              <a:gd name="connsiteX1" fmla="*/ 7086600 w 7086600"/>
              <a:gd name="connsiteY1" fmla="*/ 3543300 h 7086600"/>
              <a:gd name="connsiteX2" fmla="*/ 3543300 w 7086600"/>
              <a:gd name="connsiteY2" fmla="*/ 7086600 h 7086600"/>
              <a:gd name="connsiteX3" fmla="*/ 0 w 7086600"/>
              <a:gd name="connsiteY3" fmla="*/ 3543300 h 7086600"/>
              <a:gd name="connsiteX4" fmla="*/ 3543300 w 7086600"/>
              <a:gd name="connsiteY4" fmla="*/ 0 h 7086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086600" h="7086600">
                <a:moveTo>
                  <a:pt x="3543300" y="0"/>
                </a:moveTo>
                <a:cubicBezTo>
                  <a:pt x="5500211" y="0"/>
                  <a:pt x="7086600" y="1586389"/>
                  <a:pt x="7086600" y="3543300"/>
                </a:cubicBezTo>
                <a:cubicBezTo>
                  <a:pt x="7086600" y="5500211"/>
                  <a:pt x="5500211" y="7086600"/>
                  <a:pt x="3543300" y="7086600"/>
                </a:cubicBezTo>
                <a:cubicBezTo>
                  <a:pt x="1586389" y="7086600"/>
                  <a:pt x="0" y="5500211"/>
                  <a:pt x="0" y="3543300"/>
                </a:cubicBezTo>
                <a:cubicBezTo>
                  <a:pt x="0" y="1586389"/>
                  <a:pt x="1586389" y="0"/>
                  <a:pt x="35433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 algn="ctr">
              <a:defRPr sz="1333"/>
            </a:lvl1pPr>
          </a:lstStyle>
          <a:p>
            <a:endParaRPr lang="en-ID"/>
          </a:p>
        </p:txBody>
      </p:sp>
      <p:sp>
        <p:nvSpPr>
          <p:cNvPr id="3" name="Elipse 2">
            <a:extLst>
              <a:ext uri="{FF2B5EF4-FFF2-40B4-BE49-F238E27FC236}">
                <a16:creationId xmlns:a16="http://schemas.microsoft.com/office/drawing/2014/main" id="{3DA375F6-7AA0-AEC1-BC95-CE2BAFBDE8A2}"/>
              </a:ext>
            </a:extLst>
          </p:cNvPr>
          <p:cNvSpPr/>
          <p:nvPr userDrawn="1"/>
        </p:nvSpPr>
        <p:spPr>
          <a:xfrm>
            <a:off x="6114793" y="1078111"/>
            <a:ext cx="4747217" cy="4747217"/>
          </a:xfrm>
          <a:prstGeom prst="ellipse">
            <a:avLst/>
          </a:prstGeom>
          <a:noFill/>
          <a:ln w="28575">
            <a:solidFill>
              <a:schemeClr val="bg1"/>
            </a:solidFill>
            <a:extLst>
              <a:ext uri="{C807C97D-BFC1-408E-A445-0C87EB9F89A2}">
                <ask:lineSketchStyleProps xmlns:ask="http://schemas.microsoft.com/office/drawing/2018/sketchyshapes" sd="264327539">
                  <a:custGeom>
                    <a:avLst/>
                    <a:gdLst>
                      <a:gd name="connsiteX0" fmla="*/ 0 w 4747217"/>
                      <a:gd name="connsiteY0" fmla="*/ 2373609 h 4747217"/>
                      <a:gd name="connsiteX1" fmla="*/ 2373609 w 4747217"/>
                      <a:gd name="connsiteY1" fmla="*/ 0 h 4747217"/>
                      <a:gd name="connsiteX2" fmla="*/ 4747218 w 4747217"/>
                      <a:gd name="connsiteY2" fmla="*/ 2373609 h 4747217"/>
                      <a:gd name="connsiteX3" fmla="*/ 2373609 w 4747217"/>
                      <a:gd name="connsiteY3" fmla="*/ 4747218 h 4747217"/>
                      <a:gd name="connsiteX4" fmla="*/ 0 w 4747217"/>
                      <a:gd name="connsiteY4" fmla="*/ 2373609 h 474721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747217" h="4747217" extrusionOk="0">
                        <a:moveTo>
                          <a:pt x="0" y="2373609"/>
                        </a:moveTo>
                        <a:cubicBezTo>
                          <a:pt x="-47287" y="930507"/>
                          <a:pt x="1050209" y="-151600"/>
                          <a:pt x="2373609" y="0"/>
                        </a:cubicBezTo>
                        <a:cubicBezTo>
                          <a:pt x="3459270" y="-54555"/>
                          <a:pt x="4685701" y="1074288"/>
                          <a:pt x="4747218" y="2373609"/>
                        </a:cubicBezTo>
                        <a:cubicBezTo>
                          <a:pt x="4844760" y="3890868"/>
                          <a:pt x="3836141" y="4684234"/>
                          <a:pt x="2373609" y="4747218"/>
                        </a:cubicBezTo>
                        <a:cubicBezTo>
                          <a:pt x="1311770" y="4759003"/>
                          <a:pt x="3635" y="3726051"/>
                          <a:pt x="0" y="2373609"/>
                        </a:cubicBezTo>
                        <a:close/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933"/>
          </a:p>
        </p:txBody>
      </p:sp>
      <p:pic>
        <p:nvPicPr>
          <p:cNvPr id="9" name="Gráfico 8">
            <a:extLst>
              <a:ext uri="{FF2B5EF4-FFF2-40B4-BE49-F238E27FC236}">
                <a16:creationId xmlns:a16="http://schemas.microsoft.com/office/drawing/2014/main" id="{F3284FE4-4CFB-8D54-E3D2-F2EE05FC531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38386" y="1200983"/>
            <a:ext cx="1412714" cy="829797"/>
          </a:xfrm>
          <a:prstGeom prst="rect">
            <a:avLst/>
          </a:prstGeom>
        </p:spPr>
      </p:pic>
      <p:pic>
        <p:nvPicPr>
          <p:cNvPr id="11" name="Gráfico 10">
            <a:extLst>
              <a:ext uri="{FF2B5EF4-FFF2-40B4-BE49-F238E27FC236}">
                <a16:creationId xmlns:a16="http://schemas.microsoft.com/office/drawing/2014/main" id="{E1E74A66-AB3B-0B9D-E917-184B6A4C9939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-585919" y="-473413"/>
            <a:ext cx="1577057" cy="1853043"/>
          </a:xfrm>
          <a:prstGeom prst="rect">
            <a:avLst/>
          </a:prstGeom>
        </p:spPr>
      </p:pic>
      <p:sp>
        <p:nvSpPr>
          <p:cNvPr id="13" name="Título 1">
            <a:extLst>
              <a:ext uri="{FF2B5EF4-FFF2-40B4-BE49-F238E27FC236}">
                <a16:creationId xmlns:a16="http://schemas.microsoft.com/office/drawing/2014/main" id="{40E63747-3802-E5CE-C8ED-52D01051B737}"/>
              </a:ext>
            </a:extLst>
          </p:cNvPr>
          <p:cNvSpPr txBox="1">
            <a:spLocks/>
          </p:cNvSpPr>
          <p:nvPr userDrawn="1"/>
        </p:nvSpPr>
        <p:spPr>
          <a:xfrm>
            <a:off x="914400" y="4763247"/>
            <a:ext cx="5067300" cy="1326091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R="0" algn="l" defTabSz="914400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lang="pt-BR" sz="4800" b="1" i="0" u="none" strike="noStrike" kern="1200" cap="none" spc="-40" baseline="0" dirty="0">
                <a:solidFill>
                  <a:schemeClr val="accent1"/>
                </a:solidFill>
                <a:latin typeface="+mj-lt"/>
                <a:ea typeface="Arial"/>
                <a:cs typeface="Poppins" panose="00000500000000000000" pitchFamily="2" charset="0"/>
                <a:sym typeface="Arial"/>
              </a:defRPr>
            </a:lvl1pPr>
          </a:lstStyle>
          <a:p>
            <a:endParaRPr lang="pt-BR"/>
          </a:p>
        </p:txBody>
      </p:sp>
      <p:sp>
        <p:nvSpPr>
          <p:cNvPr id="15" name="Espaço Reservado para Texto 14">
            <a:extLst>
              <a:ext uri="{FF2B5EF4-FFF2-40B4-BE49-F238E27FC236}">
                <a16:creationId xmlns:a16="http://schemas.microsoft.com/office/drawing/2014/main" id="{6AB1257F-413F-25D8-39C5-3FCF673DA0F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14400" y="4268788"/>
            <a:ext cx="5067300" cy="261937"/>
          </a:xfrm>
        </p:spPr>
        <p:txBody>
          <a:bodyPr>
            <a:noAutofit/>
          </a:bodyPr>
          <a:lstStyle>
            <a:lvl1pPr marR="0" algn="l" defTabSz="914400" rtl="0" eaLnBrk="1" latinLnBrk="0" hangingPunct="1">
              <a:lnSpc>
                <a:spcPct val="100000"/>
              </a:lnSpc>
              <a:spcBef>
                <a:spcPts val="2000"/>
              </a:spcBef>
              <a:spcAft>
                <a:spcPts val="500"/>
              </a:spcAft>
              <a:buClr>
                <a:srgbClr val="000000"/>
              </a:buClr>
              <a:buFont typeface="Arial"/>
              <a:buNone/>
              <a:defRPr lang="pt-BR" sz="1100" b="0" i="0" u="none" strike="noStrike" kern="1200" cap="all" spc="10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Arial"/>
              </a:defRPr>
            </a:lvl1pPr>
            <a:lvl2pPr marL="0" marR="0" indent="0" algn="l" defTabSz="914400" rtl="0" eaLnBrk="1" latinLnBrk="0" hangingPunct="1">
              <a:lnSpc>
                <a:spcPct val="100000"/>
              </a:lnSpc>
              <a:spcBef>
                <a:spcPts val="2000"/>
              </a:spcBef>
              <a:spcAft>
                <a:spcPts val="500"/>
              </a:spcAft>
              <a:buClr>
                <a:srgbClr val="000000"/>
              </a:buClr>
              <a:buFont typeface="Arial"/>
              <a:buNone/>
              <a:defRPr lang="pt-BR" sz="1100" b="0" i="0" u="none" strike="noStrike" kern="1200" cap="all" spc="10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Arial"/>
              </a:defRPr>
            </a:lvl2pPr>
          </a:lstStyle>
          <a:p>
            <a:pPr lvl="0"/>
            <a:r>
              <a:rPr lang="pt-BR"/>
              <a:t>Clique para editar os estilos de texto Mestres</a:t>
            </a:r>
          </a:p>
        </p:txBody>
      </p:sp>
      <p:pic>
        <p:nvPicPr>
          <p:cNvPr id="4" name="Gráfico 3">
            <a:extLst>
              <a:ext uri="{FF2B5EF4-FFF2-40B4-BE49-F238E27FC236}">
                <a16:creationId xmlns:a16="http://schemas.microsoft.com/office/drawing/2014/main" id="{1E35B455-200F-4413-6A26-E292AAB88A11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 flipH="1">
            <a:off x="10751250" y="5199385"/>
            <a:ext cx="953097" cy="953097"/>
          </a:xfrm>
          <a:prstGeom prst="rect">
            <a:avLst/>
          </a:prstGeom>
        </p:spPr>
      </p:pic>
      <p:sp>
        <p:nvSpPr>
          <p:cNvPr id="7" name="Arco">
            <a:extLst>
              <a:ext uri="{FF2B5EF4-FFF2-40B4-BE49-F238E27FC236}">
                <a16:creationId xmlns:a16="http://schemas.microsoft.com/office/drawing/2014/main" id="{FEACC453-19FE-F672-C06C-EFABEC608F0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6604789">
            <a:off x="6305041" y="536830"/>
            <a:ext cx="2987899" cy="2987899"/>
          </a:xfrm>
          <a:prstGeom prst="arc">
            <a:avLst>
              <a:gd name="adj1" fmla="val 14455503"/>
              <a:gd name="adj2" fmla="val 0"/>
            </a:avLst>
          </a:prstGeom>
          <a:ln w="127000" cap="rnd">
            <a:solidFill>
              <a:schemeClr val="bg2"/>
            </a:solidFill>
            <a:prstDash val="dash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Rectangle: Rounded Corners 11">
            <a:extLst>
              <a:ext uri="{FF2B5EF4-FFF2-40B4-BE49-F238E27FC236}">
                <a16:creationId xmlns:a16="http://schemas.microsoft.com/office/drawing/2014/main" id="{5DDD0DB3-501E-0143-8384-4B5B0B19366F}"/>
              </a:ext>
            </a:extLst>
          </p:cNvPr>
          <p:cNvSpPr/>
          <p:nvPr userDrawn="1"/>
        </p:nvSpPr>
        <p:spPr>
          <a:xfrm>
            <a:off x="914399" y="5094580"/>
            <a:ext cx="1725959" cy="396583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err="1">
                <a:solidFill>
                  <a:schemeClr val="bg1"/>
                </a:solidFill>
              </a:rPr>
              <a:t>Iniciar</a:t>
            </a:r>
            <a:r>
              <a:rPr lang="en-US" sz="1100">
                <a:solidFill>
                  <a:schemeClr val="bg1"/>
                </a:solidFill>
              </a:rPr>
              <a:t> </a:t>
            </a:r>
            <a:r>
              <a:rPr lang="en-US" sz="1100" err="1">
                <a:solidFill>
                  <a:schemeClr val="bg1"/>
                </a:solidFill>
              </a:rPr>
              <a:t>Apresentação</a:t>
            </a:r>
            <a:endParaRPr lang="en-ID" sz="11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42725251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lipse 9">
            <a:extLst>
              <a:ext uri="{FF2B5EF4-FFF2-40B4-BE49-F238E27FC236}">
                <a16:creationId xmlns:a16="http://schemas.microsoft.com/office/drawing/2014/main" id="{1DA6EAF7-7A58-A806-93AB-79252ADE3D02}"/>
              </a:ext>
            </a:extLst>
          </p:cNvPr>
          <p:cNvSpPr/>
          <p:nvPr userDrawn="1"/>
        </p:nvSpPr>
        <p:spPr>
          <a:xfrm>
            <a:off x="5991426" y="507252"/>
            <a:ext cx="3400926" cy="3400926"/>
          </a:xfrm>
          <a:prstGeom prst="ellipse">
            <a:avLst/>
          </a:prstGeom>
          <a:noFill/>
          <a:ln w="57150" cap="rnd">
            <a:solidFill>
              <a:schemeClr val="bg2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6" name="Gráfico 5">
            <a:extLst>
              <a:ext uri="{FF2B5EF4-FFF2-40B4-BE49-F238E27FC236}">
                <a16:creationId xmlns:a16="http://schemas.microsoft.com/office/drawing/2014/main" id="{63E891D6-3C9E-6CA7-58C5-A99C0C4D22B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458099" y="274462"/>
            <a:ext cx="1577057" cy="1853043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B9827399-D6D9-8189-3904-36F5D87972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4400" y="2838195"/>
            <a:ext cx="5067300" cy="1326091"/>
          </a:xfrm>
          <a:prstGeom prst="rect">
            <a:avLst/>
          </a:prstGeom>
        </p:spPr>
        <p:txBody>
          <a:bodyPr>
            <a:noAutofit/>
          </a:bodyPr>
          <a:lstStyle>
            <a:lvl1pPr marR="0" algn="l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pt-BR" sz="4800" b="1" i="0" u="none" strike="noStrike" cap="none" spc="-100" baseline="0" dirty="0">
                <a:solidFill>
                  <a:schemeClr val="accent1"/>
                </a:solidFill>
                <a:latin typeface="+mj-lt"/>
                <a:ea typeface="Arial"/>
                <a:cs typeface="Poppins" panose="00000500000000000000" pitchFamily="2" charset="0"/>
                <a:sym typeface="Arial"/>
              </a:defRPr>
            </a:lvl1pPr>
          </a:lstStyle>
          <a:p>
            <a:r>
              <a:rPr lang="pt-BR"/>
              <a:t>Clique para editar o título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53DD9C0-0B7B-4802-9204-0F90379C05A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230111" y="1170710"/>
            <a:ext cx="4516582" cy="4516582"/>
          </a:xfrm>
          <a:custGeom>
            <a:avLst/>
            <a:gdLst>
              <a:gd name="connsiteX0" fmla="*/ 3543300 w 7086600"/>
              <a:gd name="connsiteY0" fmla="*/ 0 h 7086600"/>
              <a:gd name="connsiteX1" fmla="*/ 7086600 w 7086600"/>
              <a:gd name="connsiteY1" fmla="*/ 3543300 h 7086600"/>
              <a:gd name="connsiteX2" fmla="*/ 3543300 w 7086600"/>
              <a:gd name="connsiteY2" fmla="*/ 7086600 h 7086600"/>
              <a:gd name="connsiteX3" fmla="*/ 0 w 7086600"/>
              <a:gd name="connsiteY3" fmla="*/ 3543300 h 7086600"/>
              <a:gd name="connsiteX4" fmla="*/ 3543300 w 7086600"/>
              <a:gd name="connsiteY4" fmla="*/ 0 h 7086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086600" h="7086600">
                <a:moveTo>
                  <a:pt x="3543300" y="0"/>
                </a:moveTo>
                <a:cubicBezTo>
                  <a:pt x="5500211" y="0"/>
                  <a:pt x="7086600" y="1586389"/>
                  <a:pt x="7086600" y="3543300"/>
                </a:cubicBezTo>
                <a:cubicBezTo>
                  <a:pt x="7086600" y="5500211"/>
                  <a:pt x="5500211" y="7086600"/>
                  <a:pt x="3543300" y="7086600"/>
                </a:cubicBezTo>
                <a:cubicBezTo>
                  <a:pt x="1586389" y="7086600"/>
                  <a:pt x="0" y="5500211"/>
                  <a:pt x="0" y="3543300"/>
                </a:cubicBezTo>
                <a:cubicBezTo>
                  <a:pt x="0" y="1586389"/>
                  <a:pt x="1586389" y="0"/>
                  <a:pt x="35433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 algn="ctr">
              <a:defRPr sz="1333"/>
            </a:lvl1pPr>
          </a:lstStyle>
          <a:p>
            <a:endParaRPr lang="en-ID"/>
          </a:p>
        </p:txBody>
      </p:sp>
      <p:sp>
        <p:nvSpPr>
          <p:cNvPr id="3" name="Elipse 2">
            <a:extLst>
              <a:ext uri="{FF2B5EF4-FFF2-40B4-BE49-F238E27FC236}">
                <a16:creationId xmlns:a16="http://schemas.microsoft.com/office/drawing/2014/main" id="{3DA375F6-7AA0-AEC1-BC95-CE2BAFBDE8A2}"/>
              </a:ext>
            </a:extLst>
          </p:cNvPr>
          <p:cNvSpPr/>
          <p:nvPr userDrawn="1"/>
        </p:nvSpPr>
        <p:spPr>
          <a:xfrm>
            <a:off x="6114793" y="1078111"/>
            <a:ext cx="4747217" cy="4747217"/>
          </a:xfrm>
          <a:prstGeom prst="ellipse">
            <a:avLst/>
          </a:prstGeom>
          <a:noFill/>
          <a:ln w="28575">
            <a:solidFill>
              <a:schemeClr val="bg1"/>
            </a:solidFill>
            <a:extLst>
              <a:ext uri="{C807C97D-BFC1-408E-A445-0C87EB9F89A2}">
                <ask:lineSketchStyleProps xmlns:ask="http://schemas.microsoft.com/office/drawing/2018/sketchyshapes" sd="264327539">
                  <a:custGeom>
                    <a:avLst/>
                    <a:gdLst>
                      <a:gd name="connsiteX0" fmla="*/ 0 w 4747217"/>
                      <a:gd name="connsiteY0" fmla="*/ 2373609 h 4747217"/>
                      <a:gd name="connsiteX1" fmla="*/ 2373609 w 4747217"/>
                      <a:gd name="connsiteY1" fmla="*/ 0 h 4747217"/>
                      <a:gd name="connsiteX2" fmla="*/ 4747218 w 4747217"/>
                      <a:gd name="connsiteY2" fmla="*/ 2373609 h 4747217"/>
                      <a:gd name="connsiteX3" fmla="*/ 2373609 w 4747217"/>
                      <a:gd name="connsiteY3" fmla="*/ 4747218 h 4747217"/>
                      <a:gd name="connsiteX4" fmla="*/ 0 w 4747217"/>
                      <a:gd name="connsiteY4" fmla="*/ 2373609 h 474721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747217" h="4747217" extrusionOk="0">
                        <a:moveTo>
                          <a:pt x="0" y="2373609"/>
                        </a:moveTo>
                        <a:cubicBezTo>
                          <a:pt x="-47287" y="930507"/>
                          <a:pt x="1050209" y="-151600"/>
                          <a:pt x="2373609" y="0"/>
                        </a:cubicBezTo>
                        <a:cubicBezTo>
                          <a:pt x="3459270" y="-54555"/>
                          <a:pt x="4685701" y="1074288"/>
                          <a:pt x="4747218" y="2373609"/>
                        </a:cubicBezTo>
                        <a:cubicBezTo>
                          <a:pt x="4844760" y="3890868"/>
                          <a:pt x="3836141" y="4684234"/>
                          <a:pt x="2373609" y="4747218"/>
                        </a:cubicBezTo>
                        <a:cubicBezTo>
                          <a:pt x="1311770" y="4759003"/>
                          <a:pt x="3635" y="3726051"/>
                          <a:pt x="0" y="2373609"/>
                        </a:cubicBezTo>
                        <a:close/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933"/>
          </a:p>
        </p:txBody>
      </p:sp>
      <p:pic>
        <p:nvPicPr>
          <p:cNvPr id="9" name="Gráfico 8">
            <a:extLst>
              <a:ext uri="{FF2B5EF4-FFF2-40B4-BE49-F238E27FC236}">
                <a16:creationId xmlns:a16="http://schemas.microsoft.com/office/drawing/2014/main" id="{F3284FE4-4CFB-8D54-E3D2-F2EE05FC531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38386" y="1200983"/>
            <a:ext cx="1412714" cy="829797"/>
          </a:xfrm>
          <a:prstGeom prst="rect">
            <a:avLst/>
          </a:prstGeom>
        </p:spPr>
      </p:pic>
      <p:pic>
        <p:nvPicPr>
          <p:cNvPr id="11" name="Gráfico 10">
            <a:extLst>
              <a:ext uri="{FF2B5EF4-FFF2-40B4-BE49-F238E27FC236}">
                <a16:creationId xmlns:a16="http://schemas.microsoft.com/office/drawing/2014/main" id="{E1E74A66-AB3B-0B9D-E917-184B6A4C9939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-585919" y="-473413"/>
            <a:ext cx="1577057" cy="1853043"/>
          </a:xfrm>
          <a:prstGeom prst="rect">
            <a:avLst/>
          </a:prstGeom>
        </p:spPr>
      </p:pic>
      <p:sp>
        <p:nvSpPr>
          <p:cNvPr id="13" name="Título 1">
            <a:extLst>
              <a:ext uri="{FF2B5EF4-FFF2-40B4-BE49-F238E27FC236}">
                <a16:creationId xmlns:a16="http://schemas.microsoft.com/office/drawing/2014/main" id="{40E63747-3802-E5CE-C8ED-52D01051B737}"/>
              </a:ext>
            </a:extLst>
          </p:cNvPr>
          <p:cNvSpPr txBox="1">
            <a:spLocks/>
          </p:cNvSpPr>
          <p:nvPr userDrawn="1"/>
        </p:nvSpPr>
        <p:spPr>
          <a:xfrm>
            <a:off x="914400" y="4763247"/>
            <a:ext cx="5067300" cy="1326091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R="0" algn="l" defTabSz="914400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lang="pt-BR" sz="4800" b="1" i="0" u="none" strike="noStrike" kern="1200" cap="none" spc="-40" baseline="0" dirty="0">
                <a:solidFill>
                  <a:schemeClr val="accent1"/>
                </a:solidFill>
                <a:latin typeface="+mj-lt"/>
                <a:ea typeface="Arial"/>
                <a:cs typeface="Poppins" panose="00000500000000000000" pitchFamily="2" charset="0"/>
                <a:sym typeface="Arial"/>
              </a:defRPr>
            </a:lvl1pPr>
          </a:lstStyle>
          <a:p>
            <a:endParaRPr lang="pt-BR"/>
          </a:p>
        </p:txBody>
      </p:sp>
      <p:sp>
        <p:nvSpPr>
          <p:cNvPr id="15" name="Espaço Reservado para Texto 14">
            <a:extLst>
              <a:ext uri="{FF2B5EF4-FFF2-40B4-BE49-F238E27FC236}">
                <a16:creationId xmlns:a16="http://schemas.microsoft.com/office/drawing/2014/main" id="{6AB1257F-413F-25D8-39C5-3FCF673DA0F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14400" y="4268788"/>
            <a:ext cx="5067300" cy="261937"/>
          </a:xfrm>
        </p:spPr>
        <p:txBody>
          <a:bodyPr>
            <a:noAutofit/>
          </a:bodyPr>
          <a:lstStyle>
            <a:lvl1pPr marR="0" algn="l" defTabSz="914400" rtl="0" eaLnBrk="1" latinLnBrk="0" hangingPunct="1">
              <a:lnSpc>
                <a:spcPct val="100000"/>
              </a:lnSpc>
              <a:spcBef>
                <a:spcPts val="2000"/>
              </a:spcBef>
              <a:spcAft>
                <a:spcPts val="500"/>
              </a:spcAft>
              <a:buClr>
                <a:srgbClr val="000000"/>
              </a:buClr>
              <a:buFont typeface="Arial"/>
              <a:buNone/>
              <a:defRPr lang="pt-BR" sz="1100" b="0" i="0" u="none" strike="noStrike" kern="1200" cap="all" spc="10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Arial"/>
              </a:defRPr>
            </a:lvl1pPr>
            <a:lvl2pPr marL="0" marR="0" indent="0" algn="l" defTabSz="914400" rtl="0" eaLnBrk="1" latinLnBrk="0" hangingPunct="1">
              <a:lnSpc>
                <a:spcPct val="100000"/>
              </a:lnSpc>
              <a:spcBef>
                <a:spcPts val="2000"/>
              </a:spcBef>
              <a:spcAft>
                <a:spcPts val="500"/>
              </a:spcAft>
              <a:buClr>
                <a:srgbClr val="000000"/>
              </a:buClr>
              <a:buFont typeface="Arial"/>
              <a:buNone/>
              <a:defRPr lang="pt-BR" sz="1100" b="0" i="0" u="none" strike="noStrike" kern="1200" cap="all" spc="10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Arial"/>
              </a:defRPr>
            </a:lvl2pPr>
          </a:lstStyle>
          <a:p>
            <a:pPr lvl="0"/>
            <a:r>
              <a:rPr lang="pt-BR"/>
              <a:t>Clique para editar os estilos de texto Mestres</a:t>
            </a:r>
          </a:p>
        </p:txBody>
      </p:sp>
      <p:pic>
        <p:nvPicPr>
          <p:cNvPr id="4" name="Gráfico 3">
            <a:extLst>
              <a:ext uri="{FF2B5EF4-FFF2-40B4-BE49-F238E27FC236}">
                <a16:creationId xmlns:a16="http://schemas.microsoft.com/office/drawing/2014/main" id="{1E35B455-200F-4413-6A26-E292AAB88A11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 flipH="1">
            <a:off x="10751250" y="5199385"/>
            <a:ext cx="953097" cy="953097"/>
          </a:xfrm>
          <a:prstGeom prst="rect">
            <a:avLst/>
          </a:prstGeom>
        </p:spPr>
      </p:pic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E825313D-A284-DF6E-CA0F-9FEA8047887C}"/>
              </a:ext>
            </a:extLst>
          </p:cNvPr>
          <p:cNvSpPr/>
          <p:nvPr userDrawn="1"/>
        </p:nvSpPr>
        <p:spPr>
          <a:xfrm>
            <a:off x="914399" y="5094580"/>
            <a:ext cx="1725959" cy="396583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err="1">
                <a:solidFill>
                  <a:schemeClr val="bg1"/>
                </a:solidFill>
              </a:rPr>
              <a:t>Iniciar</a:t>
            </a:r>
            <a:r>
              <a:rPr lang="en-US" sz="1100">
                <a:solidFill>
                  <a:schemeClr val="bg1"/>
                </a:solidFill>
              </a:rPr>
              <a:t> </a:t>
            </a:r>
            <a:r>
              <a:rPr lang="en-US" sz="1100" err="1">
                <a:solidFill>
                  <a:schemeClr val="bg1"/>
                </a:solidFill>
              </a:rPr>
              <a:t>Apresentação</a:t>
            </a:r>
            <a:endParaRPr lang="en-ID" sz="11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98588025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áfico 1">
            <a:extLst>
              <a:ext uri="{FF2B5EF4-FFF2-40B4-BE49-F238E27FC236}">
                <a16:creationId xmlns:a16="http://schemas.microsoft.com/office/drawing/2014/main" id="{88C2BB54-28D0-7B69-03DE-35D0AF2305C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945802" y="1131464"/>
            <a:ext cx="1918548" cy="1918548"/>
          </a:xfrm>
          <a:prstGeom prst="rect">
            <a:avLst/>
          </a:prstGeom>
        </p:spPr>
      </p:pic>
      <p:sp>
        <p:nvSpPr>
          <p:cNvPr id="3" name="Oval 5">
            <a:extLst>
              <a:ext uri="{FF2B5EF4-FFF2-40B4-BE49-F238E27FC236}">
                <a16:creationId xmlns:a16="http://schemas.microsoft.com/office/drawing/2014/main" id="{43A55EDC-8B05-1E90-D19A-7CF6933CD13C}"/>
              </a:ext>
            </a:extLst>
          </p:cNvPr>
          <p:cNvSpPr/>
          <p:nvPr userDrawn="1"/>
        </p:nvSpPr>
        <p:spPr>
          <a:xfrm>
            <a:off x="1982364" y="1365250"/>
            <a:ext cx="3629025" cy="362902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sz="1351"/>
          </a:p>
        </p:txBody>
      </p:sp>
      <p:sp>
        <p:nvSpPr>
          <p:cNvPr id="4" name="Oval 6">
            <a:extLst>
              <a:ext uri="{FF2B5EF4-FFF2-40B4-BE49-F238E27FC236}">
                <a16:creationId xmlns:a16="http://schemas.microsoft.com/office/drawing/2014/main" id="{32D6C9E4-DEA1-2E9C-FC67-6A4B3C700A88}"/>
              </a:ext>
            </a:extLst>
          </p:cNvPr>
          <p:cNvSpPr/>
          <p:nvPr userDrawn="1"/>
        </p:nvSpPr>
        <p:spPr>
          <a:xfrm>
            <a:off x="245178" y="3817803"/>
            <a:ext cx="2398847" cy="2398847"/>
          </a:xfrm>
          <a:prstGeom prst="ellipse">
            <a:avLst/>
          </a:prstGeom>
          <a:solidFill>
            <a:srgbClr val="F461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sz="1351"/>
          </a:p>
        </p:txBody>
      </p:sp>
      <p:sp>
        <p:nvSpPr>
          <p:cNvPr id="16" name="Retângulo: Cantos Arredondados 15">
            <a:extLst>
              <a:ext uri="{FF2B5EF4-FFF2-40B4-BE49-F238E27FC236}">
                <a16:creationId xmlns:a16="http://schemas.microsoft.com/office/drawing/2014/main" id="{1FD21CF0-8B64-28CD-3AED-D44ED776FC9F}"/>
              </a:ext>
            </a:extLst>
          </p:cNvPr>
          <p:cNvSpPr/>
          <p:nvPr userDrawn="1"/>
        </p:nvSpPr>
        <p:spPr>
          <a:xfrm>
            <a:off x="914400" y="1857271"/>
            <a:ext cx="5067300" cy="3145834"/>
          </a:xfrm>
          <a:prstGeom prst="roundRect">
            <a:avLst>
              <a:gd name="adj" fmla="val 7715"/>
            </a:avLst>
          </a:prstGeom>
          <a:solidFill>
            <a:schemeClr val="bg1"/>
          </a:solidFill>
          <a:ln>
            <a:noFill/>
          </a:ln>
          <a:effectLst>
            <a:outerShdw blurRad="177800" dist="38100" dir="8100000" algn="tr" rotWithShape="0">
              <a:prstClr val="black">
                <a:alpha val="2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351"/>
          </a:p>
        </p:txBody>
      </p:sp>
      <p:sp>
        <p:nvSpPr>
          <p:cNvPr id="9" name="Título 8">
            <a:extLst>
              <a:ext uri="{FF2B5EF4-FFF2-40B4-BE49-F238E27FC236}">
                <a16:creationId xmlns:a16="http://schemas.microsoft.com/office/drawing/2014/main" id="{86585591-BA78-5F86-74B4-C6BBAFFD14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92949" y="2124501"/>
            <a:ext cx="4184649" cy="1281113"/>
          </a:xfrm>
        </p:spPr>
        <p:txBody>
          <a:bodyPr>
            <a:noAutofit/>
          </a:bodyPr>
          <a:lstStyle>
            <a:lvl1pPr marR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pt-BR" sz="3600" b="1" i="0" u="none" strike="noStrike" cap="none" spc="-100" baseline="0" dirty="0">
                <a:solidFill>
                  <a:schemeClr val="accent1"/>
                </a:solidFill>
                <a:latin typeface="+mj-lt"/>
                <a:ea typeface="Arial"/>
                <a:cs typeface="Arial"/>
                <a:sym typeface="Arial"/>
              </a:defRPr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11" name="Espaço Reservado para Texto 10">
            <a:extLst>
              <a:ext uri="{FF2B5EF4-FFF2-40B4-BE49-F238E27FC236}">
                <a16:creationId xmlns:a16="http://schemas.microsoft.com/office/drawing/2014/main" id="{9BFCA3B0-88F8-CAC6-A24A-936EBBE3472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092950" y="3817938"/>
            <a:ext cx="4184650" cy="1176337"/>
          </a:xfrm>
        </p:spPr>
        <p:txBody>
          <a:bodyPr>
            <a:normAutofit/>
          </a:bodyPr>
          <a:lstStyle>
            <a:lvl1pPr marR="0" algn="l" rtl="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pt-BR" sz="1200" b="0" i="0" u="none" strike="noStrike" cap="none" dirty="0" smtClean="0">
                <a:solidFill>
                  <a:schemeClr val="tx2"/>
                </a:solidFill>
                <a:latin typeface="+mn-lt"/>
                <a:ea typeface="Times New Roman" panose="02020603050405020304" pitchFamily="18" charset="0"/>
                <a:cs typeface="Arial"/>
                <a:sym typeface="Arial"/>
              </a:defRPr>
            </a:lvl1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14" name="Espaço Reservado para Texto 13">
            <a:extLst>
              <a:ext uri="{FF2B5EF4-FFF2-40B4-BE49-F238E27FC236}">
                <a16:creationId xmlns:a16="http://schemas.microsoft.com/office/drawing/2014/main" id="{637AC9F0-E48A-ACAF-2021-2D19AFEAF85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092950" y="1729890"/>
            <a:ext cx="4184650" cy="347663"/>
          </a:xfrm>
        </p:spPr>
        <p:txBody>
          <a:bodyPr>
            <a:normAutofit/>
          </a:bodyPr>
          <a:lstStyle>
            <a:lvl1pPr marR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pt-BR" sz="1100" b="0" i="0" u="none" strike="noStrike" cap="all" spc="100" baseline="0" dirty="0">
                <a:solidFill>
                  <a:schemeClr val="bg1">
                    <a:lumMod val="50000"/>
                  </a:schemeClr>
                </a:solidFill>
                <a:latin typeface="+mn-lt"/>
                <a:ea typeface="Times New Roman" panose="02020603050405020304" pitchFamily="18" charset="0"/>
                <a:cs typeface="Arial"/>
                <a:sym typeface="Arial"/>
              </a:defRPr>
            </a:lvl1pPr>
          </a:lstStyle>
          <a:p>
            <a:pPr lvl="0"/>
            <a:r>
              <a:rPr lang="pt-BR"/>
              <a:t>Clique para editar o texto</a:t>
            </a:r>
          </a:p>
        </p:txBody>
      </p:sp>
      <p:sp>
        <p:nvSpPr>
          <p:cNvPr id="8" name="Espaço Reservado para Gráfico 7">
            <a:extLst>
              <a:ext uri="{FF2B5EF4-FFF2-40B4-BE49-F238E27FC236}">
                <a16:creationId xmlns:a16="http://schemas.microsoft.com/office/drawing/2014/main" id="{525D5F98-DDB4-B94B-66E6-7FC4458751DE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1109663" y="2090738"/>
            <a:ext cx="4676775" cy="2674937"/>
          </a:xfrm>
        </p:spPr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077020477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áfico 1">
            <a:extLst>
              <a:ext uri="{FF2B5EF4-FFF2-40B4-BE49-F238E27FC236}">
                <a16:creationId xmlns:a16="http://schemas.microsoft.com/office/drawing/2014/main" id="{88C2BB54-28D0-7B69-03DE-35D0AF2305C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945802" y="1131464"/>
            <a:ext cx="1918548" cy="1918548"/>
          </a:xfrm>
          <a:prstGeom prst="rect">
            <a:avLst/>
          </a:prstGeom>
        </p:spPr>
      </p:pic>
      <p:sp>
        <p:nvSpPr>
          <p:cNvPr id="3" name="Oval 5">
            <a:extLst>
              <a:ext uri="{FF2B5EF4-FFF2-40B4-BE49-F238E27FC236}">
                <a16:creationId xmlns:a16="http://schemas.microsoft.com/office/drawing/2014/main" id="{43A55EDC-8B05-1E90-D19A-7CF6933CD13C}"/>
              </a:ext>
            </a:extLst>
          </p:cNvPr>
          <p:cNvSpPr/>
          <p:nvPr userDrawn="1"/>
        </p:nvSpPr>
        <p:spPr>
          <a:xfrm>
            <a:off x="1982364" y="1365250"/>
            <a:ext cx="3629025" cy="362902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sz="1351"/>
          </a:p>
        </p:txBody>
      </p:sp>
      <p:sp>
        <p:nvSpPr>
          <p:cNvPr id="4" name="Oval 6">
            <a:extLst>
              <a:ext uri="{FF2B5EF4-FFF2-40B4-BE49-F238E27FC236}">
                <a16:creationId xmlns:a16="http://schemas.microsoft.com/office/drawing/2014/main" id="{32D6C9E4-DEA1-2E9C-FC67-6A4B3C700A88}"/>
              </a:ext>
            </a:extLst>
          </p:cNvPr>
          <p:cNvSpPr/>
          <p:nvPr userDrawn="1"/>
        </p:nvSpPr>
        <p:spPr>
          <a:xfrm>
            <a:off x="245178" y="3817803"/>
            <a:ext cx="2398847" cy="2398847"/>
          </a:xfrm>
          <a:prstGeom prst="ellipse">
            <a:avLst/>
          </a:prstGeom>
          <a:solidFill>
            <a:srgbClr val="F461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sz="1351"/>
          </a:p>
        </p:txBody>
      </p:sp>
      <p:sp>
        <p:nvSpPr>
          <p:cNvPr id="12" name="Retângulo: Cantos Arredondados 11">
            <a:extLst>
              <a:ext uri="{FF2B5EF4-FFF2-40B4-BE49-F238E27FC236}">
                <a16:creationId xmlns:a16="http://schemas.microsoft.com/office/drawing/2014/main" id="{41749C37-0E1C-DA14-42C3-889AC06FF72F}"/>
              </a:ext>
            </a:extLst>
          </p:cNvPr>
          <p:cNvSpPr/>
          <p:nvPr userDrawn="1"/>
        </p:nvSpPr>
        <p:spPr>
          <a:xfrm>
            <a:off x="699837" y="2090737"/>
            <a:ext cx="5496426" cy="3400425"/>
          </a:xfrm>
          <a:prstGeom prst="roundRect">
            <a:avLst>
              <a:gd name="adj" fmla="val 7715"/>
            </a:avLst>
          </a:prstGeom>
          <a:solidFill>
            <a:schemeClr val="bg1"/>
          </a:solidFill>
          <a:ln>
            <a:noFill/>
          </a:ln>
          <a:effectLst>
            <a:outerShdw blurRad="177800" dist="38100" dir="8100000" algn="tr" rotWithShape="0">
              <a:prstClr val="black">
                <a:alpha val="2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351"/>
          </a:p>
        </p:txBody>
      </p:sp>
      <p:sp>
        <p:nvSpPr>
          <p:cNvPr id="8" name="Espaço Reservado para Gráfico 7">
            <a:extLst>
              <a:ext uri="{FF2B5EF4-FFF2-40B4-BE49-F238E27FC236}">
                <a16:creationId xmlns:a16="http://schemas.microsoft.com/office/drawing/2014/main" id="{525D5F98-DDB4-B94B-66E6-7FC4458751DE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1109663" y="2438030"/>
            <a:ext cx="4676775" cy="2674937"/>
          </a:xfrm>
        </p:spPr>
        <p:txBody>
          <a:bodyPr/>
          <a:lstStyle/>
          <a:p>
            <a:endParaRPr lang="pt-BR"/>
          </a:p>
        </p:txBody>
      </p:sp>
      <p:sp>
        <p:nvSpPr>
          <p:cNvPr id="13" name="Título 12">
            <a:extLst>
              <a:ext uri="{FF2B5EF4-FFF2-40B4-BE49-F238E27FC236}">
                <a16:creationId xmlns:a16="http://schemas.microsoft.com/office/drawing/2014/main" id="{ADF69FDE-B23B-9656-AB0E-FA565B8CC7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6102" y="655275"/>
            <a:ext cx="7160897" cy="476190"/>
          </a:xfrm>
        </p:spPr>
        <p:txBody>
          <a:bodyPr>
            <a:noAutofit/>
          </a:bodyPr>
          <a:lstStyle>
            <a:lvl1pPr>
              <a:defRPr sz="3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18" name="Espaço Reservado para Texto 9">
            <a:extLst>
              <a:ext uri="{FF2B5EF4-FFF2-40B4-BE49-F238E27FC236}">
                <a16:creationId xmlns:a16="http://schemas.microsoft.com/office/drawing/2014/main" id="{2AC255A1-9E21-0591-850C-D24AC51F842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092951" y="1862138"/>
            <a:ext cx="4184650" cy="4132846"/>
          </a:xfrm>
        </p:spPr>
        <p:txBody>
          <a:bodyPr>
            <a:noAutofit/>
          </a:bodyPr>
          <a:lstStyle>
            <a:lvl1pPr marL="0" indent="0">
              <a:lnSpc>
                <a:spcPct val="110000"/>
              </a:lnSpc>
              <a:spcBef>
                <a:spcPts val="2000"/>
              </a:spcBef>
              <a:spcAft>
                <a:spcPts val="500"/>
              </a:spcAft>
              <a:buFont typeface="Arial" panose="020B0604020202020204" pitchFamily="34" charset="0"/>
              <a:buNone/>
              <a:defRPr sz="1700" b="1" u="none">
                <a:solidFill>
                  <a:schemeClr val="accent2"/>
                </a:solidFill>
              </a:defRPr>
            </a:lvl1pPr>
            <a:lvl2pPr marL="0" indent="0">
              <a:lnSpc>
                <a:spcPct val="130000"/>
              </a:lnSpc>
              <a:spcBef>
                <a:spcPts val="0"/>
              </a:spcBef>
              <a:spcAft>
                <a:spcPts val="500"/>
              </a:spcAft>
              <a:buNone/>
              <a:defRPr sz="1400">
                <a:solidFill>
                  <a:schemeClr val="tx2"/>
                </a:solidFill>
              </a:defRPr>
            </a:lvl2pPr>
            <a:lvl3pPr marL="792000" indent="-288000">
              <a:lnSpc>
                <a:spcPct val="110000"/>
              </a:lnSpc>
              <a:spcBef>
                <a:spcPts val="500"/>
              </a:spcBef>
              <a:spcAft>
                <a:spcPts val="0"/>
              </a:spcAft>
              <a:buFontTx/>
              <a:buBlip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</a:buBlip>
              <a:defRPr sz="1400">
                <a:solidFill>
                  <a:schemeClr val="tx2"/>
                </a:solidFill>
              </a:defRPr>
            </a:lvl3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782957749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ço Reservado para Gráfico 7">
            <a:extLst>
              <a:ext uri="{FF2B5EF4-FFF2-40B4-BE49-F238E27FC236}">
                <a16:creationId xmlns:a16="http://schemas.microsoft.com/office/drawing/2014/main" id="{525D5F98-DDB4-B94B-66E6-7FC4458751DE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1109663" y="2438030"/>
            <a:ext cx="4676775" cy="2674937"/>
          </a:xfrm>
        </p:spPr>
        <p:txBody>
          <a:bodyPr/>
          <a:lstStyle/>
          <a:p>
            <a:endParaRPr lang="pt-BR"/>
          </a:p>
        </p:txBody>
      </p:sp>
      <p:sp>
        <p:nvSpPr>
          <p:cNvPr id="13" name="Título 12">
            <a:extLst>
              <a:ext uri="{FF2B5EF4-FFF2-40B4-BE49-F238E27FC236}">
                <a16:creationId xmlns:a16="http://schemas.microsoft.com/office/drawing/2014/main" id="{ADF69FDE-B23B-9656-AB0E-FA565B8CC7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4400" y="655275"/>
            <a:ext cx="7160897" cy="476190"/>
          </a:xfrm>
        </p:spPr>
        <p:txBody>
          <a:bodyPr>
            <a:noAutofit/>
          </a:bodyPr>
          <a:lstStyle>
            <a:lvl1pPr>
              <a:defRPr sz="3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18" name="Espaço Reservado para Texto 9">
            <a:extLst>
              <a:ext uri="{FF2B5EF4-FFF2-40B4-BE49-F238E27FC236}">
                <a16:creationId xmlns:a16="http://schemas.microsoft.com/office/drawing/2014/main" id="{2AC255A1-9E21-0591-850C-D24AC51F842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092951" y="1862138"/>
            <a:ext cx="4184650" cy="4132846"/>
          </a:xfrm>
        </p:spPr>
        <p:txBody>
          <a:bodyPr>
            <a:noAutofit/>
          </a:bodyPr>
          <a:lstStyle>
            <a:lvl1pPr marL="0" indent="0">
              <a:lnSpc>
                <a:spcPct val="110000"/>
              </a:lnSpc>
              <a:spcBef>
                <a:spcPts val="2000"/>
              </a:spcBef>
              <a:spcAft>
                <a:spcPts val="500"/>
              </a:spcAft>
              <a:buFont typeface="Arial" panose="020B0604020202020204" pitchFamily="34" charset="0"/>
              <a:buNone/>
              <a:defRPr sz="1700" b="1" u="none">
                <a:solidFill>
                  <a:schemeClr val="accent2"/>
                </a:solidFill>
              </a:defRPr>
            </a:lvl1pPr>
            <a:lvl2pPr marL="0" indent="0">
              <a:lnSpc>
                <a:spcPct val="130000"/>
              </a:lnSpc>
              <a:spcBef>
                <a:spcPts val="0"/>
              </a:spcBef>
              <a:spcAft>
                <a:spcPts val="500"/>
              </a:spcAft>
              <a:buNone/>
              <a:defRPr sz="1400">
                <a:solidFill>
                  <a:schemeClr val="tx2"/>
                </a:solidFill>
              </a:defRPr>
            </a:lvl2pPr>
            <a:lvl3pPr marL="792000" indent="-288000">
              <a:lnSpc>
                <a:spcPct val="110000"/>
              </a:lnSpc>
              <a:spcBef>
                <a:spcPts val="500"/>
              </a:spcBef>
              <a:spcAft>
                <a:spcPts val="0"/>
              </a:spcAft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400">
                <a:solidFill>
                  <a:schemeClr val="tx2"/>
                </a:solidFill>
              </a:defRPr>
            </a:lvl3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endParaRPr lang="pt-BR"/>
          </a:p>
        </p:txBody>
      </p:sp>
      <p:pic>
        <p:nvPicPr>
          <p:cNvPr id="5" name="Gráfico 4">
            <a:extLst>
              <a:ext uri="{FF2B5EF4-FFF2-40B4-BE49-F238E27FC236}">
                <a16:creationId xmlns:a16="http://schemas.microsoft.com/office/drawing/2014/main" id="{A55B6DD7-EF35-1A47-0682-FB0263AE46FD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828972" y="-1239748"/>
            <a:ext cx="2726056" cy="2726056"/>
          </a:xfrm>
          <a:prstGeom prst="rect">
            <a:avLst/>
          </a:prstGeom>
        </p:spPr>
      </p:pic>
      <p:pic>
        <p:nvPicPr>
          <p:cNvPr id="6" name="Gráfico 5">
            <a:extLst>
              <a:ext uri="{FF2B5EF4-FFF2-40B4-BE49-F238E27FC236}">
                <a16:creationId xmlns:a16="http://schemas.microsoft.com/office/drawing/2014/main" id="{6BB7C3AF-C957-8BE3-AA41-01756EF205A3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680864" y="6346864"/>
            <a:ext cx="1022272" cy="10222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3560080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ço Reservado para Gráfico 7">
            <a:extLst>
              <a:ext uri="{FF2B5EF4-FFF2-40B4-BE49-F238E27FC236}">
                <a16:creationId xmlns:a16="http://schemas.microsoft.com/office/drawing/2014/main" id="{525D5F98-DDB4-B94B-66E6-7FC4458751DE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1109663" y="2438030"/>
            <a:ext cx="4676775" cy="2674937"/>
          </a:xfrm>
        </p:spPr>
        <p:txBody>
          <a:bodyPr/>
          <a:lstStyle/>
          <a:p>
            <a:endParaRPr lang="pt-BR"/>
          </a:p>
        </p:txBody>
      </p:sp>
      <p:sp>
        <p:nvSpPr>
          <p:cNvPr id="13" name="Título 12">
            <a:extLst>
              <a:ext uri="{FF2B5EF4-FFF2-40B4-BE49-F238E27FC236}">
                <a16:creationId xmlns:a16="http://schemas.microsoft.com/office/drawing/2014/main" id="{ADF69FDE-B23B-9656-AB0E-FA565B8CC7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4400" y="655275"/>
            <a:ext cx="7160897" cy="476190"/>
          </a:xfrm>
        </p:spPr>
        <p:txBody>
          <a:bodyPr>
            <a:noAutofit/>
          </a:bodyPr>
          <a:lstStyle>
            <a:lvl1pPr>
              <a:defRPr sz="3000"/>
            </a:lvl1pPr>
          </a:lstStyle>
          <a:p>
            <a:r>
              <a:rPr lang="pt-BR"/>
              <a:t>Clique para editar o título Mestre</a:t>
            </a:r>
          </a:p>
        </p:txBody>
      </p:sp>
      <p:pic>
        <p:nvPicPr>
          <p:cNvPr id="5" name="Gráfico 4">
            <a:extLst>
              <a:ext uri="{FF2B5EF4-FFF2-40B4-BE49-F238E27FC236}">
                <a16:creationId xmlns:a16="http://schemas.microsoft.com/office/drawing/2014/main" id="{A55B6DD7-EF35-1A47-0682-FB0263AE46F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28972" y="-1239748"/>
            <a:ext cx="2726056" cy="2726056"/>
          </a:xfrm>
          <a:prstGeom prst="rect">
            <a:avLst/>
          </a:prstGeom>
        </p:spPr>
      </p:pic>
      <p:pic>
        <p:nvPicPr>
          <p:cNvPr id="6" name="Gráfico 5">
            <a:extLst>
              <a:ext uri="{FF2B5EF4-FFF2-40B4-BE49-F238E27FC236}">
                <a16:creationId xmlns:a16="http://schemas.microsoft.com/office/drawing/2014/main" id="{6BB7C3AF-C957-8BE3-AA41-01756EF205A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680864" y="6346864"/>
            <a:ext cx="1022272" cy="1022272"/>
          </a:xfrm>
          <a:prstGeom prst="rect">
            <a:avLst/>
          </a:prstGeom>
        </p:spPr>
      </p:pic>
      <p:sp>
        <p:nvSpPr>
          <p:cNvPr id="2" name="Espaço Reservado para Gráfico 7">
            <a:extLst>
              <a:ext uri="{FF2B5EF4-FFF2-40B4-BE49-F238E27FC236}">
                <a16:creationId xmlns:a16="http://schemas.microsoft.com/office/drawing/2014/main" id="{794511CE-6AEF-6FC7-2BBF-27E054E2A872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7096321" y="1365660"/>
            <a:ext cx="3298629" cy="1941860"/>
          </a:xfrm>
        </p:spPr>
        <p:txBody>
          <a:bodyPr/>
          <a:lstStyle/>
          <a:p>
            <a:endParaRPr lang="pt-BR"/>
          </a:p>
        </p:txBody>
      </p:sp>
      <p:sp>
        <p:nvSpPr>
          <p:cNvPr id="3" name="Espaço Reservado para Gráfico 7">
            <a:extLst>
              <a:ext uri="{FF2B5EF4-FFF2-40B4-BE49-F238E27FC236}">
                <a16:creationId xmlns:a16="http://schemas.microsoft.com/office/drawing/2014/main" id="{ABB453D1-8782-5B15-4AA3-58BC9064C3CB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096321" y="4274791"/>
            <a:ext cx="3298629" cy="1941860"/>
          </a:xfrm>
        </p:spPr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299281677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Espaço Reservado para Imagem 19">
            <a:extLst>
              <a:ext uri="{FF2B5EF4-FFF2-40B4-BE49-F238E27FC236}">
                <a16:creationId xmlns:a16="http://schemas.microsoft.com/office/drawing/2014/main" id="{F9F2879B-1708-B68F-540E-494C085AD71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28390" y="1527646"/>
            <a:ext cx="4170660" cy="4170660"/>
          </a:xfrm>
          <a:prstGeom prst="ellipse">
            <a:avLst/>
          </a:prstGeom>
        </p:spPr>
        <p:txBody>
          <a:bodyPr/>
          <a:lstStyle>
            <a:lvl1pPr algn="ctr">
              <a:defRPr/>
            </a:lvl1pPr>
          </a:lstStyle>
          <a:p>
            <a:endParaRPr lang="pt-BR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59647610-F492-48EE-CCB8-AD39FEEDC7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10300" y="2816225"/>
            <a:ext cx="5067300" cy="1281113"/>
          </a:xfrm>
        </p:spPr>
        <p:txBody>
          <a:bodyPr>
            <a:noAutofit/>
          </a:bodyPr>
          <a:lstStyle>
            <a:lvl1pPr>
              <a:lnSpc>
                <a:spcPct val="85000"/>
              </a:lnSpc>
              <a:defRPr lang="pt-BR" sz="4800" b="1" i="0" u="none" strike="noStrike" cap="none" dirty="0">
                <a:solidFill>
                  <a:schemeClr val="accent1"/>
                </a:solidFill>
                <a:latin typeface="+mj-lt"/>
                <a:ea typeface="Arial"/>
                <a:cs typeface="Poppins" panose="00000500000000000000" pitchFamily="2" charset="0"/>
                <a:sym typeface="Arial"/>
              </a:defRPr>
            </a:lvl1pPr>
          </a:lstStyle>
          <a:p>
            <a:r>
              <a:rPr lang="pt-BR"/>
              <a:t>Clique para editar o título</a:t>
            </a:r>
          </a:p>
        </p:txBody>
      </p:sp>
      <p:sp>
        <p:nvSpPr>
          <p:cNvPr id="3" name="Espaço Reservado para Data 2">
            <a:extLst>
              <a:ext uri="{FF2B5EF4-FFF2-40B4-BE49-F238E27FC236}">
                <a16:creationId xmlns:a16="http://schemas.microsoft.com/office/drawing/2014/main" id="{5AD957BC-C55B-0228-16B7-203A5986158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14400" y="6356350"/>
            <a:ext cx="2667000" cy="365125"/>
          </a:xfrm>
          <a:prstGeom prst="rect">
            <a:avLst/>
          </a:prstGeom>
        </p:spPr>
        <p:txBody>
          <a:bodyPr/>
          <a:lstStyle/>
          <a:p>
            <a:fld id="{3E6DD1D3-15F5-4616-A348-AC448C8A14AB}" type="datetimeFigureOut">
              <a:rPr lang="pt-BR" smtClean="0"/>
              <a:t>16/01/2026</a:t>
            </a:fld>
            <a:endParaRPr lang="pt-BR"/>
          </a:p>
        </p:txBody>
      </p:sp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54899489-77E4-8AF7-E1D1-B8CA56026A6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pt-BR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99760599-4CA6-3D27-2B73-A6CBCEE6EE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667000" cy="365125"/>
          </a:xfrm>
          <a:prstGeom prst="rect">
            <a:avLst/>
          </a:prstGeom>
        </p:spPr>
        <p:txBody>
          <a:bodyPr/>
          <a:lstStyle/>
          <a:p>
            <a:fld id="{F43D91A0-3E8E-4090-8D40-C0F9E742A5CB}" type="slidenum">
              <a:rPr lang="pt-BR" smtClean="0"/>
              <a:t>‹nº›</a:t>
            </a:fld>
            <a:endParaRPr lang="pt-BR"/>
          </a:p>
        </p:txBody>
      </p:sp>
      <p:sp>
        <p:nvSpPr>
          <p:cNvPr id="7" name="Círculo (Outline Foto)">
            <a:extLst>
              <a:ext uri="{FF2B5EF4-FFF2-40B4-BE49-F238E27FC236}">
                <a16:creationId xmlns:a16="http://schemas.microsoft.com/office/drawing/2014/main" id="{DEE7ED6F-280B-4BC1-CF9E-415E582F157A}"/>
              </a:ext>
            </a:extLst>
          </p:cNvPr>
          <p:cNvSpPr/>
          <p:nvPr userDrawn="1"/>
        </p:nvSpPr>
        <p:spPr>
          <a:xfrm>
            <a:off x="805218" y="1404474"/>
            <a:ext cx="4417004" cy="4417004"/>
          </a:xfrm>
          <a:prstGeom prst="ellipse">
            <a:avLst/>
          </a:prstGeom>
          <a:noFill/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933"/>
          </a:p>
        </p:txBody>
      </p:sp>
      <p:pic>
        <p:nvPicPr>
          <p:cNvPr id="10" name="Grafismo - Círculos">
            <a:extLst>
              <a:ext uri="{FF2B5EF4-FFF2-40B4-BE49-F238E27FC236}">
                <a16:creationId xmlns:a16="http://schemas.microsoft.com/office/drawing/2014/main" id="{B7C94C14-8C01-C13E-14B6-1ECF9CC7064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35889" y="274462"/>
            <a:ext cx="1837252" cy="2158772"/>
          </a:xfrm>
          <a:prstGeom prst="rect">
            <a:avLst/>
          </a:prstGeom>
        </p:spPr>
      </p:pic>
      <p:grpSp>
        <p:nvGrpSpPr>
          <p:cNvPr id="12" name="Grafismo - Topografia">
            <a:extLst>
              <a:ext uri="{FF2B5EF4-FFF2-40B4-BE49-F238E27FC236}">
                <a16:creationId xmlns:a16="http://schemas.microsoft.com/office/drawing/2014/main" id="{7CCC5CB8-61CD-43A9-DF2F-4F45D1B21138}"/>
              </a:ext>
            </a:extLst>
          </p:cNvPr>
          <p:cNvGrpSpPr/>
          <p:nvPr userDrawn="1"/>
        </p:nvGrpSpPr>
        <p:grpSpPr>
          <a:xfrm rot="10800000">
            <a:off x="161924" y="6509730"/>
            <a:ext cx="12030075" cy="475316"/>
            <a:chOff x="0" y="6347706"/>
            <a:chExt cx="11687627" cy="461786"/>
          </a:xfrm>
        </p:grpSpPr>
        <p:pic>
          <p:nvPicPr>
            <p:cNvPr id="13" name="Google Shape;108;p2">
              <a:extLst>
                <a:ext uri="{FF2B5EF4-FFF2-40B4-BE49-F238E27FC236}">
                  <a16:creationId xmlns:a16="http://schemas.microsoft.com/office/drawing/2014/main" id="{60B6082C-721D-B164-36FA-60EC2677FB63}"/>
                </a:ext>
              </a:extLst>
            </p:cNvPr>
            <p:cNvPicPr preferRelativeResize="0"/>
            <p:nvPr/>
          </p:nvPicPr>
          <p:blipFill rotWithShape="1">
            <a:blip r:embed="rId4">
              <a:alphaModFix/>
            </a:blip>
            <a:srcRect b="61474"/>
            <a:stretch/>
          </p:blipFill>
          <p:spPr>
            <a:xfrm>
              <a:off x="0" y="6347706"/>
              <a:ext cx="5849257" cy="461786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4" name="Google Shape;109;p2">
              <a:extLst>
                <a:ext uri="{FF2B5EF4-FFF2-40B4-BE49-F238E27FC236}">
                  <a16:creationId xmlns:a16="http://schemas.microsoft.com/office/drawing/2014/main" id="{780DA761-98CD-4A24-6B8B-363BFEA33EEB}"/>
                </a:ext>
              </a:extLst>
            </p:cNvPr>
            <p:cNvPicPr preferRelativeResize="0"/>
            <p:nvPr/>
          </p:nvPicPr>
          <p:blipFill rotWithShape="1">
            <a:blip r:embed="rId4">
              <a:alphaModFix/>
            </a:blip>
            <a:srcRect b="61474"/>
            <a:stretch/>
          </p:blipFill>
          <p:spPr>
            <a:xfrm>
              <a:off x="5838371" y="6347706"/>
              <a:ext cx="5849257" cy="461786"/>
            </a:xfrm>
            <a:prstGeom prst="rect">
              <a:avLst/>
            </a:prstGeom>
            <a:noFill/>
            <a:ln>
              <a:noFill/>
            </a:ln>
          </p:spPr>
        </p:pic>
      </p:grpSp>
      <p:pic>
        <p:nvPicPr>
          <p:cNvPr id="16" name="Logo">
            <a:extLst>
              <a:ext uri="{FF2B5EF4-FFF2-40B4-BE49-F238E27FC236}">
                <a16:creationId xmlns:a16="http://schemas.microsoft.com/office/drawing/2014/main" id="{1A7D77B8-D82B-EE46-59A3-B08122B3BBE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334286" y="1200983"/>
            <a:ext cx="1412714" cy="829797"/>
          </a:xfrm>
          <a:prstGeom prst="rect">
            <a:avLst/>
          </a:prstGeom>
        </p:spPr>
      </p:pic>
      <p:sp>
        <p:nvSpPr>
          <p:cNvPr id="18" name="Espaço Reservado para Texto 17">
            <a:extLst>
              <a:ext uri="{FF2B5EF4-FFF2-40B4-BE49-F238E27FC236}">
                <a16:creationId xmlns:a16="http://schemas.microsoft.com/office/drawing/2014/main" id="{A590A436-C4FC-90AF-4136-6CB7CD1825F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10300" y="4268788"/>
            <a:ext cx="5067300" cy="365125"/>
          </a:xfrm>
        </p:spPr>
        <p:txBody>
          <a:bodyPr>
            <a:normAutofit/>
          </a:bodyPr>
          <a:lstStyle>
            <a:lvl1pPr>
              <a:defRPr lang="pt-BR" sz="1100" b="0" i="0" u="none" strike="noStrike" kern="1200" cap="all" spc="1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Arial"/>
              </a:defRPr>
            </a:lvl1pPr>
          </a:lstStyle>
          <a:p>
            <a:pPr lvl="0"/>
            <a:r>
              <a:rPr lang="pt-BR"/>
              <a:t>Clique para editar o texto</a:t>
            </a:r>
          </a:p>
        </p:txBody>
      </p:sp>
      <p:sp>
        <p:nvSpPr>
          <p:cNvPr id="25" name="Espaço Reservado para Imagem 24">
            <a:extLst>
              <a:ext uri="{FF2B5EF4-FFF2-40B4-BE49-F238E27FC236}">
                <a16:creationId xmlns:a16="http://schemas.microsoft.com/office/drawing/2014/main" id="{00B443F9-E135-FF3E-E804-8FB8BE3E8195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14400" y="1862138"/>
            <a:ext cx="2419350" cy="2178050"/>
          </a:xfrm>
        </p:spPr>
        <p:txBody>
          <a:bodyPr/>
          <a:lstStyle>
            <a:lvl1pPr algn="ctr">
              <a:defRPr b="0">
                <a:solidFill>
                  <a:schemeClr val="accent2"/>
                </a:solidFill>
              </a:defRPr>
            </a:lvl1pPr>
          </a:lstStyle>
          <a:p>
            <a:r>
              <a:rPr lang="pt-BR"/>
              <a:t>Grafismo </a:t>
            </a:r>
            <a:br>
              <a:rPr lang="pt-BR"/>
            </a:br>
            <a:r>
              <a:rPr lang="pt-BR"/>
              <a:t>(opcional)</a:t>
            </a:r>
          </a:p>
        </p:txBody>
      </p:sp>
      <p:pic>
        <p:nvPicPr>
          <p:cNvPr id="26" name="Gráfico 25">
            <a:extLst>
              <a:ext uri="{FF2B5EF4-FFF2-40B4-BE49-F238E27FC236}">
                <a16:creationId xmlns:a16="http://schemas.microsoft.com/office/drawing/2014/main" id="{F1A091A3-AFD6-49CA-1829-37DA249DD2C8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-585919" y="-483062"/>
            <a:ext cx="1577057" cy="1853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549065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áfico 1">
            <a:extLst>
              <a:ext uri="{FF2B5EF4-FFF2-40B4-BE49-F238E27FC236}">
                <a16:creationId xmlns:a16="http://schemas.microsoft.com/office/drawing/2014/main" id="{88C2BB54-28D0-7B69-03DE-35D0AF2305C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945802" y="1758649"/>
            <a:ext cx="1918548" cy="1918548"/>
          </a:xfrm>
          <a:prstGeom prst="rect">
            <a:avLst/>
          </a:prstGeom>
        </p:spPr>
      </p:pic>
      <p:sp>
        <p:nvSpPr>
          <p:cNvPr id="3" name="Oval 5">
            <a:extLst>
              <a:ext uri="{FF2B5EF4-FFF2-40B4-BE49-F238E27FC236}">
                <a16:creationId xmlns:a16="http://schemas.microsoft.com/office/drawing/2014/main" id="{43A55EDC-8B05-1E90-D19A-7CF6933CD13C}"/>
              </a:ext>
            </a:extLst>
          </p:cNvPr>
          <p:cNvSpPr/>
          <p:nvPr userDrawn="1"/>
        </p:nvSpPr>
        <p:spPr>
          <a:xfrm>
            <a:off x="1982364" y="2691731"/>
            <a:ext cx="3629025" cy="362902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sz="1351"/>
          </a:p>
        </p:txBody>
      </p:sp>
      <p:sp>
        <p:nvSpPr>
          <p:cNvPr id="4" name="Oval 6">
            <a:extLst>
              <a:ext uri="{FF2B5EF4-FFF2-40B4-BE49-F238E27FC236}">
                <a16:creationId xmlns:a16="http://schemas.microsoft.com/office/drawing/2014/main" id="{32D6C9E4-DEA1-2E9C-FC67-6A4B3C700A88}"/>
              </a:ext>
            </a:extLst>
          </p:cNvPr>
          <p:cNvSpPr/>
          <p:nvPr userDrawn="1"/>
        </p:nvSpPr>
        <p:spPr>
          <a:xfrm>
            <a:off x="245178" y="2094225"/>
            <a:ext cx="2398847" cy="2398847"/>
          </a:xfrm>
          <a:prstGeom prst="ellipse">
            <a:avLst/>
          </a:prstGeom>
          <a:solidFill>
            <a:srgbClr val="F3ABA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ID"/>
          </a:p>
        </p:txBody>
      </p:sp>
      <p:sp>
        <p:nvSpPr>
          <p:cNvPr id="5" name="Retângulo: Cantos Arredondados 4">
            <a:extLst>
              <a:ext uri="{FF2B5EF4-FFF2-40B4-BE49-F238E27FC236}">
                <a16:creationId xmlns:a16="http://schemas.microsoft.com/office/drawing/2014/main" id="{C5BCF3B3-3544-DAA9-5634-21C61FEECDBC}"/>
              </a:ext>
            </a:extLst>
          </p:cNvPr>
          <p:cNvSpPr/>
          <p:nvPr userDrawn="1"/>
        </p:nvSpPr>
        <p:spPr>
          <a:xfrm>
            <a:off x="931579" y="2094225"/>
            <a:ext cx="5055268" cy="3629025"/>
          </a:xfrm>
          <a:prstGeom prst="roundRect">
            <a:avLst>
              <a:gd name="adj" fmla="val 7715"/>
            </a:avLst>
          </a:prstGeom>
          <a:solidFill>
            <a:schemeClr val="bg1"/>
          </a:solidFill>
          <a:ln>
            <a:noFill/>
          </a:ln>
          <a:effectLst>
            <a:outerShdw blurRad="177800" dist="38100" dir="8100000" algn="tr" rotWithShape="0">
              <a:prstClr val="black">
                <a:alpha val="2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351"/>
          </a:p>
        </p:txBody>
      </p:sp>
      <p:sp>
        <p:nvSpPr>
          <p:cNvPr id="7" name="Retângulo: Cantos Arredondados 6">
            <a:extLst>
              <a:ext uri="{FF2B5EF4-FFF2-40B4-BE49-F238E27FC236}">
                <a16:creationId xmlns:a16="http://schemas.microsoft.com/office/drawing/2014/main" id="{B5DF07B2-02A4-CB71-CA7E-52A98612C97F}"/>
              </a:ext>
            </a:extLst>
          </p:cNvPr>
          <p:cNvSpPr/>
          <p:nvPr userDrawn="1"/>
        </p:nvSpPr>
        <p:spPr>
          <a:xfrm>
            <a:off x="6223200" y="2094224"/>
            <a:ext cx="5054400" cy="3622265"/>
          </a:xfrm>
          <a:prstGeom prst="roundRect">
            <a:avLst>
              <a:gd name="adj" fmla="val 7715"/>
            </a:avLst>
          </a:prstGeom>
          <a:solidFill>
            <a:schemeClr val="bg1"/>
          </a:solidFill>
          <a:ln>
            <a:noFill/>
          </a:ln>
          <a:effectLst>
            <a:outerShdw blurRad="177800" dist="38100" dir="8100000" algn="tr" rotWithShape="0">
              <a:prstClr val="black">
                <a:alpha val="2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351"/>
          </a:p>
        </p:txBody>
      </p:sp>
      <p:sp>
        <p:nvSpPr>
          <p:cNvPr id="13" name="Título 8">
            <a:extLst>
              <a:ext uri="{FF2B5EF4-FFF2-40B4-BE49-F238E27FC236}">
                <a16:creationId xmlns:a16="http://schemas.microsoft.com/office/drawing/2014/main" id="{7CD44CD7-56CD-8EB0-6CDD-B78477F926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94509" y="641350"/>
            <a:ext cx="5969841" cy="921743"/>
          </a:xfrm>
        </p:spPr>
        <p:txBody>
          <a:bodyPr>
            <a:noAutofit/>
          </a:bodyPr>
          <a:lstStyle>
            <a:lvl1pPr marR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pt-BR" sz="3000" b="1" i="0" u="none" strike="noStrike" cap="none" spc="-100" dirty="0">
                <a:solidFill>
                  <a:schemeClr val="accent1"/>
                </a:solidFill>
                <a:latin typeface="+mj-lt"/>
                <a:ea typeface="Arial"/>
                <a:cs typeface="Arial"/>
                <a:sym typeface="Arial"/>
              </a:defRPr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17" name="Espaço Reservado para Conteúdo 16">
            <a:extLst>
              <a:ext uri="{FF2B5EF4-FFF2-40B4-BE49-F238E27FC236}">
                <a16:creationId xmlns:a16="http://schemas.microsoft.com/office/drawing/2014/main" id="{70EC372B-880B-D5C5-1EC1-C8E4283A3C5C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1210139" y="2344334"/>
            <a:ext cx="4498147" cy="3146829"/>
          </a:xfrm>
        </p:spPr>
        <p:txBody>
          <a:bodyPr/>
          <a:lstStyle>
            <a:lvl1pPr algn="ctr">
              <a:spcAft>
                <a:spcPts val="1200"/>
              </a:spcAft>
              <a:defRPr sz="1500"/>
            </a:lvl1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18" name="Espaço Reservado para Conteúdo 16">
            <a:extLst>
              <a:ext uri="{FF2B5EF4-FFF2-40B4-BE49-F238E27FC236}">
                <a16:creationId xmlns:a16="http://schemas.microsoft.com/office/drawing/2014/main" id="{DD68C171-7AB8-FCB5-8C97-0B242937AFC1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501326" y="2344334"/>
            <a:ext cx="4498147" cy="3146829"/>
          </a:xfrm>
        </p:spPr>
        <p:txBody>
          <a:bodyPr/>
          <a:lstStyle>
            <a:lvl1pPr algn="ctr">
              <a:spcAft>
                <a:spcPts val="1200"/>
              </a:spcAft>
              <a:defRPr sz="1500"/>
            </a:lvl1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</p:spTree>
    <p:extLst>
      <p:ext uri="{BB962C8B-B14F-4D97-AF65-F5344CB8AC3E}">
        <p14:creationId xmlns:p14="http://schemas.microsoft.com/office/powerpoint/2010/main" val="1155217327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lipse 10">
            <a:extLst>
              <a:ext uri="{FF2B5EF4-FFF2-40B4-BE49-F238E27FC236}">
                <a16:creationId xmlns:a16="http://schemas.microsoft.com/office/drawing/2014/main" id="{33D9D3EE-07B8-DDE0-D24C-617A25DF28E4}"/>
              </a:ext>
            </a:extLst>
          </p:cNvPr>
          <p:cNvSpPr>
            <a:spLocks noGrp="1" noRot="1" noChangeAspect="1" noMove="1" noResize="1" noEditPoints="1" noAdjustHandles="1" noChangeArrowheads="1" noChangeShapeType="1"/>
          </p:cNvSpPr>
          <p:nvPr userDrawn="1"/>
        </p:nvSpPr>
        <p:spPr>
          <a:xfrm>
            <a:off x="6178550" y="-394648"/>
            <a:ext cx="6228000" cy="62280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0" name="Espaço Reservado para Imagem 9">
            <a:extLst>
              <a:ext uri="{FF2B5EF4-FFF2-40B4-BE49-F238E27FC236}">
                <a16:creationId xmlns:a16="http://schemas.microsoft.com/office/drawing/2014/main" id="{FBBB0E18-BC75-0FC9-7E6F-94F735FD7A0A}"/>
              </a:ext>
            </a:extLst>
          </p:cNvPr>
          <p:cNvSpPr>
            <a:spLocks noGrp="1" noChangeAspect="1"/>
          </p:cNvSpPr>
          <p:nvPr>
            <p:ph type="pic" sz="quarter" idx="27"/>
          </p:nvPr>
        </p:nvSpPr>
        <p:spPr>
          <a:xfrm>
            <a:off x="6178335" y="-394649"/>
            <a:ext cx="6228231" cy="5890966"/>
          </a:xfrm>
          <a:custGeom>
            <a:avLst/>
            <a:gdLst>
              <a:gd name="connsiteX0" fmla="*/ 0 w 6228000"/>
              <a:gd name="connsiteY0" fmla="*/ 3114000 h 6228000"/>
              <a:gd name="connsiteX1" fmla="*/ 3114000 w 6228000"/>
              <a:gd name="connsiteY1" fmla="*/ 0 h 6228000"/>
              <a:gd name="connsiteX2" fmla="*/ 6228000 w 6228000"/>
              <a:gd name="connsiteY2" fmla="*/ 3114000 h 6228000"/>
              <a:gd name="connsiteX3" fmla="*/ 3114000 w 6228000"/>
              <a:gd name="connsiteY3" fmla="*/ 6228000 h 6228000"/>
              <a:gd name="connsiteX4" fmla="*/ 0 w 6228000"/>
              <a:gd name="connsiteY4" fmla="*/ 3114000 h 6228000"/>
              <a:gd name="connsiteX0" fmla="*/ 335458 w 6563458"/>
              <a:gd name="connsiteY0" fmla="*/ 3114000 h 6235728"/>
              <a:gd name="connsiteX1" fmla="*/ 3449458 w 6563458"/>
              <a:gd name="connsiteY1" fmla="*/ 0 h 6235728"/>
              <a:gd name="connsiteX2" fmla="*/ 6563458 w 6563458"/>
              <a:gd name="connsiteY2" fmla="*/ 3114000 h 6235728"/>
              <a:gd name="connsiteX3" fmla="*/ 3449458 w 6563458"/>
              <a:gd name="connsiteY3" fmla="*/ 6228000 h 6235728"/>
              <a:gd name="connsiteX4" fmla="*/ 436684 w 6563458"/>
              <a:gd name="connsiteY4" fmla="*/ 3971566 h 6235728"/>
              <a:gd name="connsiteX5" fmla="*/ 335458 w 6563458"/>
              <a:gd name="connsiteY5" fmla="*/ 3114000 h 6235728"/>
              <a:gd name="connsiteX0" fmla="*/ 198652 w 6426652"/>
              <a:gd name="connsiteY0" fmla="*/ 3114000 h 6235728"/>
              <a:gd name="connsiteX1" fmla="*/ 3312652 w 6426652"/>
              <a:gd name="connsiteY1" fmla="*/ 0 h 6235728"/>
              <a:gd name="connsiteX2" fmla="*/ 6426652 w 6426652"/>
              <a:gd name="connsiteY2" fmla="*/ 3114000 h 6235728"/>
              <a:gd name="connsiteX3" fmla="*/ 3312652 w 6426652"/>
              <a:gd name="connsiteY3" fmla="*/ 6228000 h 6235728"/>
              <a:gd name="connsiteX4" fmla="*/ 299878 w 6426652"/>
              <a:gd name="connsiteY4" fmla="*/ 3971566 h 6235728"/>
              <a:gd name="connsiteX5" fmla="*/ 198652 w 6426652"/>
              <a:gd name="connsiteY5" fmla="*/ 3114000 h 6235728"/>
              <a:gd name="connsiteX0" fmla="*/ 0 w 6228000"/>
              <a:gd name="connsiteY0" fmla="*/ 3114000 h 6235728"/>
              <a:gd name="connsiteX1" fmla="*/ 3114000 w 6228000"/>
              <a:gd name="connsiteY1" fmla="*/ 0 h 6235728"/>
              <a:gd name="connsiteX2" fmla="*/ 6228000 w 6228000"/>
              <a:gd name="connsiteY2" fmla="*/ 3114000 h 6235728"/>
              <a:gd name="connsiteX3" fmla="*/ 3114000 w 6228000"/>
              <a:gd name="connsiteY3" fmla="*/ 6228000 h 6235728"/>
              <a:gd name="connsiteX4" fmla="*/ 101226 w 6228000"/>
              <a:gd name="connsiteY4" fmla="*/ 3971566 h 6235728"/>
              <a:gd name="connsiteX5" fmla="*/ 0 w 6228000"/>
              <a:gd name="connsiteY5" fmla="*/ 3114000 h 6235728"/>
              <a:gd name="connsiteX0" fmla="*/ 3161 w 6231161"/>
              <a:gd name="connsiteY0" fmla="*/ 3114000 h 6235728"/>
              <a:gd name="connsiteX1" fmla="*/ 3117161 w 6231161"/>
              <a:gd name="connsiteY1" fmla="*/ 0 h 6235728"/>
              <a:gd name="connsiteX2" fmla="*/ 6231161 w 6231161"/>
              <a:gd name="connsiteY2" fmla="*/ 3114000 h 6235728"/>
              <a:gd name="connsiteX3" fmla="*/ 3117161 w 6231161"/>
              <a:gd name="connsiteY3" fmla="*/ 6228000 h 6235728"/>
              <a:gd name="connsiteX4" fmla="*/ 104387 w 6231161"/>
              <a:gd name="connsiteY4" fmla="*/ 3971566 h 6235728"/>
              <a:gd name="connsiteX5" fmla="*/ 3161 w 6231161"/>
              <a:gd name="connsiteY5" fmla="*/ 3114000 h 6235728"/>
              <a:gd name="connsiteX0" fmla="*/ 3161 w 6231161"/>
              <a:gd name="connsiteY0" fmla="*/ 3114000 h 6234127"/>
              <a:gd name="connsiteX1" fmla="*/ 3117161 w 6231161"/>
              <a:gd name="connsiteY1" fmla="*/ 0 h 6234127"/>
              <a:gd name="connsiteX2" fmla="*/ 6231161 w 6231161"/>
              <a:gd name="connsiteY2" fmla="*/ 3114000 h 6234127"/>
              <a:gd name="connsiteX3" fmla="*/ 3117161 w 6231161"/>
              <a:gd name="connsiteY3" fmla="*/ 6228000 h 6234127"/>
              <a:gd name="connsiteX4" fmla="*/ 104387 w 6231161"/>
              <a:gd name="connsiteY4" fmla="*/ 3971566 h 6234127"/>
              <a:gd name="connsiteX5" fmla="*/ 3161 w 6231161"/>
              <a:gd name="connsiteY5" fmla="*/ 3114000 h 6234127"/>
              <a:gd name="connsiteX0" fmla="*/ 232739 w 6460739"/>
              <a:gd name="connsiteY0" fmla="*/ 3114000 h 4134120"/>
              <a:gd name="connsiteX1" fmla="*/ 3346739 w 6460739"/>
              <a:gd name="connsiteY1" fmla="*/ 0 h 4134120"/>
              <a:gd name="connsiteX2" fmla="*/ 6460739 w 6460739"/>
              <a:gd name="connsiteY2" fmla="*/ 3114000 h 4134120"/>
              <a:gd name="connsiteX3" fmla="*/ 4624210 w 6460739"/>
              <a:gd name="connsiteY3" fmla="*/ 3968895 h 4134120"/>
              <a:gd name="connsiteX4" fmla="*/ 333965 w 6460739"/>
              <a:gd name="connsiteY4" fmla="*/ 3971566 h 4134120"/>
              <a:gd name="connsiteX5" fmla="*/ 232739 w 6460739"/>
              <a:gd name="connsiteY5" fmla="*/ 3114000 h 4134120"/>
              <a:gd name="connsiteX0" fmla="*/ 232739 w 6533426"/>
              <a:gd name="connsiteY0" fmla="*/ 3114000 h 4101226"/>
              <a:gd name="connsiteX1" fmla="*/ 3346739 w 6533426"/>
              <a:gd name="connsiteY1" fmla="*/ 0 h 4101226"/>
              <a:gd name="connsiteX2" fmla="*/ 6460739 w 6533426"/>
              <a:gd name="connsiteY2" fmla="*/ 3114000 h 4101226"/>
              <a:gd name="connsiteX3" fmla="*/ 5470743 w 6533426"/>
              <a:gd name="connsiteY3" fmla="*/ 4052249 h 4101226"/>
              <a:gd name="connsiteX4" fmla="*/ 4624210 w 6533426"/>
              <a:gd name="connsiteY4" fmla="*/ 3968895 h 4101226"/>
              <a:gd name="connsiteX5" fmla="*/ 333965 w 6533426"/>
              <a:gd name="connsiteY5" fmla="*/ 3971566 h 4101226"/>
              <a:gd name="connsiteX6" fmla="*/ 232739 w 6533426"/>
              <a:gd name="connsiteY6" fmla="*/ 3114000 h 4101226"/>
              <a:gd name="connsiteX0" fmla="*/ 232739 w 6507150"/>
              <a:gd name="connsiteY0" fmla="*/ 3114000 h 5929534"/>
              <a:gd name="connsiteX1" fmla="*/ 3346739 w 6507150"/>
              <a:gd name="connsiteY1" fmla="*/ 0 h 5929534"/>
              <a:gd name="connsiteX2" fmla="*/ 6460739 w 6507150"/>
              <a:gd name="connsiteY2" fmla="*/ 3114000 h 5929534"/>
              <a:gd name="connsiteX3" fmla="*/ 4731155 w 6507150"/>
              <a:gd name="connsiteY3" fmla="*/ 5921390 h 5929534"/>
              <a:gd name="connsiteX4" fmla="*/ 4624210 w 6507150"/>
              <a:gd name="connsiteY4" fmla="*/ 3968895 h 5929534"/>
              <a:gd name="connsiteX5" fmla="*/ 333965 w 6507150"/>
              <a:gd name="connsiteY5" fmla="*/ 3971566 h 5929534"/>
              <a:gd name="connsiteX6" fmla="*/ 232739 w 6507150"/>
              <a:gd name="connsiteY6" fmla="*/ 3114000 h 5929534"/>
              <a:gd name="connsiteX0" fmla="*/ 232739 w 6526554"/>
              <a:gd name="connsiteY0" fmla="*/ 3114000 h 5929534"/>
              <a:gd name="connsiteX1" fmla="*/ 3346739 w 6526554"/>
              <a:gd name="connsiteY1" fmla="*/ 0 h 5929534"/>
              <a:gd name="connsiteX2" fmla="*/ 6460739 w 6526554"/>
              <a:gd name="connsiteY2" fmla="*/ 3114000 h 5929534"/>
              <a:gd name="connsiteX3" fmla="*/ 4731155 w 6526554"/>
              <a:gd name="connsiteY3" fmla="*/ 5921390 h 5929534"/>
              <a:gd name="connsiteX4" fmla="*/ 4624210 w 6526554"/>
              <a:gd name="connsiteY4" fmla="*/ 3968895 h 5929534"/>
              <a:gd name="connsiteX5" fmla="*/ 333965 w 6526554"/>
              <a:gd name="connsiteY5" fmla="*/ 3971566 h 5929534"/>
              <a:gd name="connsiteX6" fmla="*/ 232739 w 6526554"/>
              <a:gd name="connsiteY6" fmla="*/ 3114000 h 5929534"/>
              <a:gd name="connsiteX0" fmla="*/ 232739 w 6526554"/>
              <a:gd name="connsiteY0" fmla="*/ 3114000 h 5929534"/>
              <a:gd name="connsiteX1" fmla="*/ 3346739 w 6526554"/>
              <a:gd name="connsiteY1" fmla="*/ 0 h 5929534"/>
              <a:gd name="connsiteX2" fmla="*/ 6460739 w 6526554"/>
              <a:gd name="connsiteY2" fmla="*/ 3114000 h 5929534"/>
              <a:gd name="connsiteX3" fmla="*/ 4731155 w 6526554"/>
              <a:gd name="connsiteY3" fmla="*/ 5921390 h 5929534"/>
              <a:gd name="connsiteX4" fmla="*/ 4624210 w 6526554"/>
              <a:gd name="connsiteY4" fmla="*/ 3968895 h 5929534"/>
              <a:gd name="connsiteX5" fmla="*/ 333965 w 6526554"/>
              <a:gd name="connsiteY5" fmla="*/ 3971566 h 5929534"/>
              <a:gd name="connsiteX6" fmla="*/ 232739 w 6526554"/>
              <a:gd name="connsiteY6" fmla="*/ 3114000 h 5929534"/>
              <a:gd name="connsiteX0" fmla="*/ 232739 w 6462699"/>
              <a:gd name="connsiteY0" fmla="*/ 3114000 h 5929534"/>
              <a:gd name="connsiteX1" fmla="*/ 3346739 w 6462699"/>
              <a:gd name="connsiteY1" fmla="*/ 0 h 5929534"/>
              <a:gd name="connsiteX2" fmla="*/ 6460739 w 6462699"/>
              <a:gd name="connsiteY2" fmla="*/ 3114000 h 5929534"/>
              <a:gd name="connsiteX3" fmla="*/ 4731155 w 6462699"/>
              <a:gd name="connsiteY3" fmla="*/ 5921390 h 5929534"/>
              <a:gd name="connsiteX4" fmla="*/ 4624210 w 6462699"/>
              <a:gd name="connsiteY4" fmla="*/ 3968895 h 5929534"/>
              <a:gd name="connsiteX5" fmla="*/ 333965 w 6462699"/>
              <a:gd name="connsiteY5" fmla="*/ 3971566 h 5929534"/>
              <a:gd name="connsiteX6" fmla="*/ 232739 w 6462699"/>
              <a:gd name="connsiteY6" fmla="*/ 3114000 h 5929534"/>
              <a:gd name="connsiteX0" fmla="*/ 232739 w 6462699"/>
              <a:gd name="connsiteY0" fmla="*/ 3114000 h 5929534"/>
              <a:gd name="connsiteX1" fmla="*/ 3346739 w 6462699"/>
              <a:gd name="connsiteY1" fmla="*/ 0 h 5929534"/>
              <a:gd name="connsiteX2" fmla="*/ 6460739 w 6462699"/>
              <a:gd name="connsiteY2" fmla="*/ 3114000 h 5929534"/>
              <a:gd name="connsiteX3" fmla="*/ 4731155 w 6462699"/>
              <a:gd name="connsiteY3" fmla="*/ 5921390 h 5929534"/>
              <a:gd name="connsiteX4" fmla="*/ 4624210 w 6462699"/>
              <a:gd name="connsiteY4" fmla="*/ 3968895 h 5929534"/>
              <a:gd name="connsiteX5" fmla="*/ 333965 w 6462699"/>
              <a:gd name="connsiteY5" fmla="*/ 3971566 h 5929534"/>
              <a:gd name="connsiteX6" fmla="*/ 232739 w 6462699"/>
              <a:gd name="connsiteY6" fmla="*/ 3114000 h 5929534"/>
              <a:gd name="connsiteX0" fmla="*/ 232739 w 6462699"/>
              <a:gd name="connsiteY0" fmla="*/ 3114000 h 5929534"/>
              <a:gd name="connsiteX1" fmla="*/ 3346739 w 6462699"/>
              <a:gd name="connsiteY1" fmla="*/ 0 h 5929534"/>
              <a:gd name="connsiteX2" fmla="*/ 6460739 w 6462699"/>
              <a:gd name="connsiteY2" fmla="*/ 3114000 h 5929534"/>
              <a:gd name="connsiteX3" fmla="*/ 4731155 w 6462699"/>
              <a:gd name="connsiteY3" fmla="*/ 5921390 h 5929534"/>
              <a:gd name="connsiteX4" fmla="*/ 4624210 w 6462699"/>
              <a:gd name="connsiteY4" fmla="*/ 3968895 h 5929534"/>
              <a:gd name="connsiteX5" fmla="*/ 333965 w 6462699"/>
              <a:gd name="connsiteY5" fmla="*/ 3971566 h 5929534"/>
              <a:gd name="connsiteX6" fmla="*/ 232739 w 6462699"/>
              <a:gd name="connsiteY6" fmla="*/ 3114000 h 5929534"/>
              <a:gd name="connsiteX0" fmla="*/ 232739 w 6462699"/>
              <a:gd name="connsiteY0" fmla="*/ 3114000 h 5929534"/>
              <a:gd name="connsiteX1" fmla="*/ 3346739 w 6462699"/>
              <a:gd name="connsiteY1" fmla="*/ 0 h 5929534"/>
              <a:gd name="connsiteX2" fmla="*/ 6460739 w 6462699"/>
              <a:gd name="connsiteY2" fmla="*/ 3114000 h 5929534"/>
              <a:gd name="connsiteX3" fmla="*/ 4731155 w 6462699"/>
              <a:gd name="connsiteY3" fmla="*/ 5921390 h 5929534"/>
              <a:gd name="connsiteX4" fmla="*/ 4624210 w 6462699"/>
              <a:gd name="connsiteY4" fmla="*/ 3968895 h 5929534"/>
              <a:gd name="connsiteX5" fmla="*/ 333965 w 6462699"/>
              <a:gd name="connsiteY5" fmla="*/ 3971566 h 5929534"/>
              <a:gd name="connsiteX6" fmla="*/ 232739 w 6462699"/>
              <a:gd name="connsiteY6" fmla="*/ 3114000 h 5929534"/>
              <a:gd name="connsiteX0" fmla="*/ 3162 w 6233122"/>
              <a:gd name="connsiteY0" fmla="*/ 3114000 h 5929534"/>
              <a:gd name="connsiteX1" fmla="*/ 3117162 w 6233122"/>
              <a:gd name="connsiteY1" fmla="*/ 0 h 5929534"/>
              <a:gd name="connsiteX2" fmla="*/ 6231162 w 6233122"/>
              <a:gd name="connsiteY2" fmla="*/ 3114000 h 5929534"/>
              <a:gd name="connsiteX3" fmla="*/ 4501578 w 6233122"/>
              <a:gd name="connsiteY3" fmla="*/ 5921390 h 5929534"/>
              <a:gd name="connsiteX4" fmla="*/ 4394633 w 6233122"/>
              <a:gd name="connsiteY4" fmla="*/ 3968895 h 5929534"/>
              <a:gd name="connsiteX5" fmla="*/ 104388 w 6233122"/>
              <a:gd name="connsiteY5" fmla="*/ 3971566 h 5929534"/>
              <a:gd name="connsiteX6" fmla="*/ 3162 w 6233122"/>
              <a:gd name="connsiteY6" fmla="*/ 3114000 h 5929534"/>
              <a:gd name="connsiteX0" fmla="*/ 5446 w 6235406"/>
              <a:gd name="connsiteY0" fmla="*/ 3114000 h 5929534"/>
              <a:gd name="connsiteX1" fmla="*/ 3119446 w 6235406"/>
              <a:gd name="connsiteY1" fmla="*/ 0 h 5929534"/>
              <a:gd name="connsiteX2" fmla="*/ 6233446 w 6235406"/>
              <a:gd name="connsiteY2" fmla="*/ 3114000 h 5929534"/>
              <a:gd name="connsiteX3" fmla="*/ 4503862 w 6235406"/>
              <a:gd name="connsiteY3" fmla="*/ 5921390 h 5929534"/>
              <a:gd name="connsiteX4" fmla="*/ 4396917 w 6235406"/>
              <a:gd name="connsiteY4" fmla="*/ 3968895 h 5929534"/>
              <a:gd name="connsiteX5" fmla="*/ 106672 w 6235406"/>
              <a:gd name="connsiteY5" fmla="*/ 3971566 h 5929534"/>
              <a:gd name="connsiteX6" fmla="*/ 5446 w 6235406"/>
              <a:gd name="connsiteY6" fmla="*/ 3114000 h 5929534"/>
              <a:gd name="connsiteX0" fmla="*/ 5446 w 6235406"/>
              <a:gd name="connsiteY0" fmla="*/ 3114000 h 5929534"/>
              <a:gd name="connsiteX1" fmla="*/ 3119446 w 6235406"/>
              <a:gd name="connsiteY1" fmla="*/ 0 h 5929534"/>
              <a:gd name="connsiteX2" fmla="*/ 6233446 w 6235406"/>
              <a:gd name="connsiteY2" fmla="*/ 3114000 h 5929534"/>
              <a:gd name="connsiteX3" fmla="*/ 4503862 w 6235406"/>
              <a:gd name="connsiteY3" fmla="*/ 5921390 h 5929534"/>
              <a:gd name="connsiteX4" fmla="*/ 4396917 w 6235406"/>
              <a:gd name="connsiteY4" fmla="*/ 3968895 h 5929534"/>
              <a:gd name="connsiteX5" fmla="*/ 106672 w 6235406"/>
              <a:gd name="connsiteY5" fmla="*/ 3971566 h 5929534"/>
              <a:gd name="connsiteX6" fmla="*/ 5446 w 6235406"/>
              <a:gd name="connsiteY6" fmla="*/ 3114000 h 5929534"/>
              <a:gd name="connsiteX0" fmla="*/ 5446 w 6235406"/>
              <a:gd name="connsiteY0" fmla="*/ 3114000 h 5929534"/>
              <a:gd name="connsiteX1" fmla="*/ 3119446 w 6235406"/>
              <a:gd name="connsiteY1" fmla="*/ 0 h 5929534"/>
              <a:gd name="connsiteX2" fmla="*/ 6233446 w 6235406"/>
              <a:gd name="connsiteY2" fmla="*/ 3114000 h 5929534"/>
              <a:gd name="connsiteX3" fmla="*/ 4503862 w 6235406"/>
              <a:gd name="connsiteY3" fmla="*/ 5921390 h 5929534"/>
              <a:gd name="connsiteX4" fmla="*/ 4396917 w 6235406"/>
              <a:gd name="connsiteY4" fmla="*/ 3968895 h 5929534"/>
              <a:gd name="connsiteX5" fmla="*/ 106672 w 6235406"/>
              <a:gd name="connsiteY5" fmla="*/ 3971566 h 5929534"/>
              <a:gd name="connsiteX6" fmla="*/ 5446 w 6235406"/>
              <a:gd name="connsiteY6" fmla="*/ 3114000 h 5929534"/>
              <a:gd name="connsiteX0" fmla="*/ 5446 w 6235406"/>
              <a:gd name="connsiteY0" fmla="*/ 3114000 h 5929534"/>
              <a:gd name="connsiteX1" fmla="*/ 3119446 w 6235406"/>
              <a:gd name="connsiteY1" fmla="*/ 0 h 5929534"/>
              <a:gd name="connsiteX2" fmla="*/ 6233446 w 6235406"/>
              <a:gd name="connsiteY2" fmla="*/ 3114000 h 5929534"/>
              <a:gd name="connsiteX3" fmla="*/ 4503862 w 6235406"/>
              <a:gd name="connsiteY3" fmla="*/ 5921390 h 5929534"/>
              <a:gd name="connsiteX4" fmla="*/ 4396917 w 6235406"/>
              <a:gd name="connsiteY4" fmla="*/ 3968895 h 5929534"/>
              <a:gd name="connsiteX5" fmla="*/ 106672 w 6235406"/>
              <a:gd name="connsiteY5" fmla="*/ 3971566 h 5929534"/>
              <a:gd name="connsiteX6" fmla="*/ 5446 w 6235406"/>
              <a:gd name="connsiteY6" fmla="*/ 3114000 h 5929534"/>
              <a:gd name="connsiteX0" fmla="*/ 5446 w 6235406"/>
              <a:gd name="connsiteY0" fmla="*/ 3114000 h 5929534"/>
              <a:gd name="connsiteX1" fmla="*/ 3119446 w 6235406"/>
              <a:gd name="connsiteY1" fmla="*/ 0 h 5929534"/>
              <a:gd name="connsiteX2" fmla="*/ 6233446 w 6235406"/>
              <a:gd name="connsiteY2" fmla="*/ 3114000 h 5929534"/>
              <a:gd name="connsiteX3" fmla="*/ 4503862 w 6235406"/>
              <a:gd name="connsiteY3" fmla="*/ 5921390 h 5929534"/>
              <a:gd name="connsiteX4" fmla="*/ 4396917 w 6235406"/>
              <a:gd name="connsiteY4" fmla="*/ 3968895 h 5929534"/>
              <a:gd name="connsiteX5" fmla="*/ 106672 w 6235406"/>
              <a:gd name="connsiteY5" fmla="*/ 3971566 h 5929534"/>
              <a:gd name="connsiteX6" fmla="*/ 5446 w 6235406"/>
              <a:gd name="connsiteY6" fmla="*/ 3114000 h 5929534"/>
              <a:gd name="connsiteX0" fmla="*/ 5446 w 6235406"/>
              <a:gd name="connsiteY0" fmla="*/ 3114000 h 5929650"/>
              <a:gd name="connsiteX1" fmla="*/ 3119446 w 6235406"/>
              <a:gd name="connsiteY1" fmla="*/ 0 h 5929650"/>
              <a:gd name="connsiteX2" fmla="*/ 6233446 w 6235406"/>
              <a:gd name="connsiteY2" fmla="*/ 3114000 h 5929650"/>
              <a:gd name="connsiteX3" fmla="*/ 4503862 w 6235406"/>
              <a:gd name="connsiteY3" fmla="*/ 5921390 h 5929650"/>
              <a:gd name="connsiteX4" fmla="*/ 4396917 w 6235406"/>
              <a:gd name="connsiteY4" fmla="*/ 3968895 h 5929650"/>
              <a:gd name="connsiteX5" fmla="*/ 106672 w 6235406"/>
              <a:gd name="connsiteY5" fmla="*/ 3971566 h 5929650"/>
              <a:gd name="connsiteX6" fmla="*/ 5446 w 6235406"/>
              <a:gd name="connsiteY6" fmla="*/ 3114000 h 5929650"/>
              <a:gd name="connsiteX0" fmla="*/ 5446 w 6235406"/>
              <a:gd name="connsiteY0" fmla="*/ 3114000 h 5929650"/>
              <a:gd name="connsiteX1" fmla="*/ 3119446 w 6235406"/>
              <a:gd name="connsiteY1" fmla="*/ 0 h 5929650"/>
              <a:gd name="connsiteX2" fmla="*/ 6233446 w 6235406"/>
              <a:gd name="connsiteY2" fmla="*/ 3114000 h 5929650"/>
              <a:gd name="connsiteX3" fmla="*/ 4503862 w 6235406"/>
              <a:gd name="connsiteY3" fmla="*/ 5921390 h 5929650"/>
              <a:gd name="connsiteX4" fmla="*/ 4396917 w 6235406"/>
              <a:gd name="connsiteY4" fmla="*/ 3968895 h 5929650"/>
              <a:gd name="connsiteX5" fmla="*/ 106672 w 6235406"/>
              <a:gd name="connsiteY5" fmla="*/ 3971566 h 5929650"/>
              <a:gd name="connsiteX6" fmla="*/ 5446 w 6235406"/>
              <a:gd name="connsiteY6" fmla="*/ 3114000 h 5929650"/>
              <a:gd name="connsiteX0" fmla="*/ 5446 w 6235406"/>
              <a:gd name="connsiteY0" fmla="*/ 3114000 h 5929650"/>
              <a:gd name="connsiteX1" fmla="*/ 3119446 w 6235406"/>
              <a:gd name="connsiteY1" fmla="*/ 0 h 5929650"/>
              <a:gd name="connsiteX2" fmla="*/ 6233446 w 6235406"/>
              <a:gd name="connsiteY2" fmla="*/ 3114000 h 5929650"/>
              <a:gd name="connsiteX3" fmla="*/ 4503862 w 6235406"/>
              <a:gd name="connsiteY3" fmla="*/ 5921390 h 5929650"/>
              <a:gd name="connsiteX4" fmla="*/ 4396917 w 6235406"/>
              <a:gd name="connsiteY4" fmla="*/ 3968895 h 5929650"/>
              <a:gd name="connsiteX5" fmla="*/ 106672 w 6235406"/>
              <a:gd name="connsiteY5" fmla="*/ 3971566 h 5929650"/>
              <a:gd name="connsiteX6" fmla="*/ 5446 w 6235406"/>
              <a:gd name="connsiteY6" fmla="*/ 3114000 h 5929650"/>
              <a:gd name="connsiteX0" fmla="*/ 5446 w 6235406"/>
              <a:gd name="connsiteY0" fmla="*/ 3114000 h 5921390"/>
              <a:gd name="connsiteX1" fmla="*/ 3119446 w 6235406"/>
              <a:gd name="connsiteY1" fmla="*/ 0 h 5921390"/>
              <a:gd name="connsiteX2" fmla="*/ 6233446 w 6235406"/>
              <a:gd name="connsiteY2" fmla="*/ 3114000 h 5921390"/>
              <a:gd name="connsiteX3" fmla="*/ 4503862 w 6235406"/>
              <a:gd name="connsiteY3" fmla="*/ 5921390 h 5921390"/>
              <a:gd name="connsiteX4" fmla="*/ 4396917 w 6235406"/>
              <a:gd name="connsiteY4" fmla="*/ 3968895 h 5921390"/>
              <a:gd name="connsiteX5" fmla="*/ 106672 w 6235406"/>
              <a:gd name="connsiteY5" fmla="*/ 3971566 h 5921390"/>
              <a:gd name="connsiteX6" fmla="*/ 5446 w 6235406"/>
              <a:gd name="connsiteY6" fmla="*/ 3114000 h 5921390"/>
              <a:gd name="connsiteX0" fmla="*/ 5446 w 6235406"/>
              <a:gd name="connsiteY0" fmla="*/ 3114000 h 5921390"/>
              <a:gd name="connsiteX1" fmla="*/ 3119446 w 6235406"/>
              <a:gd name="connsiteY1" fmla="*/ 0 h 5921390"/>
              <a:gd name="connsiteX2" fmla="*/ 6233446 w 6235406"/>
              <a:gd name="connsiteY2" fmla="*/ 3114000 h 5921390"/>
              <a:gd name="connsiteX3" fmla="*/ 4503862 w 6235406"/>
              <a:gd name="connsiteY3" fmla="*/ 5921390 h 5921390"/>
              <a:gd name="connsiteX4" fmla="*/ 4396917 w 6235406"/>
              <a:gd name="connsiteY4" fmla="*/ 3968895 h 5921390"/>
              <a:gd name="connsiteX5" fmla="*/ 106672 w 6235406"/>
              <a:gd name="connsiteY5" fmla="*/ 3971566 h 5921390"/>
              <a:gd name="connsiteX6" fmla="*/ 5446 w 6235406"/>
              <a:gd name="connsiteY6" fmla="*/ 3114000 h 5921390"/>
              <a:gd name="connsiteX0" fmla="*/ 5446 w 6235406"/>
              <a:gd name="connsiteY0" fmla="*/ 3114000 h 5921390"/>
              <a:gd name="connsiteX1" fmla="*/ 3119446 w 6235406"/>
              <a:gd name="connsiteY1" fmla="*/ 0 h 5921390"/>
              <a:gd name="connsiteX2" fmla="*/ 6233446 w 6235406"/>
              <a:gd name="connsiteY2" fmla="*/ 3114000 h 5921390"/>
              <a:gd name="connsiteX3" fmla="*/ 4503862 w 6235406"/>
              <a:gd name="connsiteY3" fmla="*/ 5921390 h 5921390"/>
              <a:gd name="connsiteX4" fmla="*/ 4396917 w 6235406"/>
              <a:gd name="connsiteY4" fmla="*/ 3968895 h 5921390"/>
              <a:gd name="connsiteX5" fmla="*/ 106672 w 6235406"/>
              <a:gd name="connsiteY5" fmla="*/ 3971566 h 5921390"/>
              <a:gd name="connsiteX6" fmla="*/ 5446 w 6235406"/>
              <a:gd name="connsiteY6" fmla="*/ 3114000 h 5921390"/>
              <a:gd name="connsiteX0" fmla="*/ 5446 w 6235406"/>
              <a:gd name="connsiteY0" fmla="*/ 3114000 h 5938745"/>
              <a:gd name="connsiteX1" fmla="*/ 3119446 w 6235406"/>
              <a:gd name="connsiteY1" fmla="*/ 0 h 5938745"/>
              <a:gd name="connsiteX2" fmla="*/ 6233446 w 6235406"/>
              <a:gd name="connsiteY2" fmla="*/ 3114000 h 5938745"/>
              <a:gd name="connsiteX3" fmla="*/ 4503862 w 6235406"/>
              <a:gd name="connsiteY3" fmla="*/ 5921390 h 5938745"/>
              <a:gd name="connsiteX4" fmla="*/ 4455038 w 6235406"/>
              <a:gd name="connsiteY4" fmla="*/ 4284366 h 5938745"/>
              <a:gd name="connsiteX5" fmla="*/ 4396917 w 6235406"/>
              <a:gd name="connsiteY5" fmla="*/ 3968895 h 5938745"/>
              <a:gd name="connsiteX6" fmla="*/ 106672 w 6235406"/>
              <a:gd name="connsiteY6" fmla="*/ 3971566 h 5938745"/>
              <a:gd name="connsiteX7" fmla="*/ 5446 w 6235406"/>
              <a:gd name="connsiteY7" fmla="*/ 3114000 h 5938745"/>
              <a:gd name="connsiteX0" fmla="*/ 5446 w 6235406"/>
              <a:gd name="connsiteY0" fmla="*/ 3114000 h 5938745"/>
              <a:gd name="connsiteX1" fmla="*/ 3119446 w 6235406"/>
              <a:gd name="connsiteY1" fmla="*/ 0 h 5938745"/>
              <a:gd name="connsiteX2" fmla="*/ 6233446 w 6235406"/>
              <a:gd name="connsiteY2" fmla="*/ 3114000 h 5938745"/>
              <a:gd name="connsiteX3" fmla="*/ 4503862 w 6235406"/>
              <a:gd name="connsiteY3" fmla="*/ 5921390 h 5938745"/>
              <a:gd name="connsiteX4" fmla="*/ 4455038 w 6235406"/>
              <a:gd name="connsiteY4" fmla="*/ 4284366 h 5938745"/>
              <a:gd name="connsiteX5" fmla="*/ 4396917 w 6235406"/>
              <a:gd name="connsiteY5" fmla="*/ 3968895 h 5938745"/>
              <a:gd name="connsiteX6" fmla="*/ 106672 w 6235406"/>
              <a:gd name="connsiteY6" fmla="*/ 3971566 h 5938745"/>
              <a:gd name="connsiteX7" fmla="*/ 5446 w 6235406"/>
              <a:gd name="connsiteY7" fmla="*/ 3114000 h 5938745"/>
              <a:gd name="connsiteX0" fmla="*/ 5446 w 6235406"/>
              <a:gd name="connsiteY0" fmla="*/ 3114000 h 5938745"/>
              <a:gd name="connsiteX1" fmla="*/ 3119446 w 6235406"/>
              <a:gd name="connsiteY1" fmla="*/ 0 h 5938745"/>
              <a:gd name="connsiteX2" fmla="*/ 6233446 w 6235406"/>
              <a:gd name="connsiteY2" fmla="*/ 3114000 h 5938745"/>
              <a:gd name="connsiteX3" fmla="*/ 4503862 w 6235406"/>
              <a:gd name="connsiteY3" fmla="*/ 5921390 h 5938745"/>
              <a:gd name="connsiteX4" fmla="*/ 4483173 w 6235406"/>
              <a:gd name="connsiteY4" fmla="*/ 4284366 h 5938745"/>
              <a:gd name="connsiteX5" fmla="*/ 4396917 w 6235406"/>
              <a:gd name="connsiteY5" fmla="*/ 3968895 h 5938745"/>
              <a:gd name="connsiteX6" fmla="*/ 106672 w 6235406"/>
              <a:gd name="connsiteY6" fmla="*/ 3971566 h 5938745"/>
              <a:gd name="connsiteX7" fmla="*/ 5446 w 6235406"/>
              <a:gd name="connsiteY7" fmla="*/ 3114000 h 5938745"/>
              <a:gd name="connsiteX0" fmla="*/ 5446 w 6235406"/>
              <a:gd name="connsiteY0" fmla="*/ 3114000 h 5938818"/>
              <a:gd name="connsiteX1" fmla="*/ 3119446 w 6235406"/>
              <a:gd name="connsiteY1" fmla="*/ 0 h 5938818"/>
              <a:gd name="connsiteX2" fmla="*/ 6233446 w 6235406"/>
              <a:gd name="connsiteY2" fmla="*/ 3114000 h 5938818"/>
              <a:gd name="connsiteX3" fmla="*/ 4503862 w 6235406"/>
              <a:gd name="connsiteY3" fmla="*/ 5921390 h 5938818"/>
              <a:gd name="connsiteX4" fmla="*/ 4483173 w 6235406"/>
              <a:gd name="connsiteY4" fmla="*/ 4284366 h 5938818"/>
              <a:gd name="connsiteX5" fmla="*/ 4396917 w 6235406"/>
              <a:gd name="connsiteY5" fmla="*/ 3968895 h 5938818"/>
              <a:gd name="connsiteX6" fmla="*/ 106672 w 6235406"/>
              <a:gd name="connsiteY6" fmla="*/ 3971566 h 5938818"/>
              <a:gd name="connsiteX7" fmla="*/ 5446 w 6235406"/>
              <a:gd name="connsiteY7" fmla="*/ 3114000 h 5938818"/>
              <a:gd name="connsiteX0" fmla="*/ 5446 w 6235406"/>
              <a:gd name="connsiteY0" fmla="*/ 3114000 h 5938818"/>
              <a:gd name="connsiteX1" fmla="*/ 3119446 w 6235406"/>
              <a:gd name="connsiteY1" fmla="*/ 0 h 5938818"/>
              <a:gd name="connsiteX2" fmla="*/ 6233446 w 6235406"/>
              <a:gd name="connsiteY2" fmla="*/ 3114000 h 5938818"/>
              <a:gd name="connsiteX3" fmla="*/ 4503862 w 6235406"/>
              <a:gd name="connsiteY3" fmla="*/ 5921390 h 5938818"/>
              <a:gd name="connsiteX4" fmla="*/ 4483173 w 6235406"/>
              <a:gd name="connsiteY4" fmla="*/ 4284366 h 5938818"/>
              <a:gd name="connsiteX5" fmla="*/ 4396917 w 6235406"/>
              <a:gd name="connsiteY5" fmla="*/ 3968895 h 5938818"/>
              <a:gd name="connsiteX6" fmla="*/ 106672 w 6235406"/>
              <a:gd name="connsiteY6" fmla="*/ 3971566 h 5938818"/>
              <a:gd name="connsiteX7" fmla="*/ 5446 w 6235406"/>
              <a:gd name="connsiteY7" fmla="*/ 3114000 h 5938818"/>
              <a:gd name="connsiteX0" fmla="*/ 5446 w 6235406"/>
              <a:gd name="connsiteY0" fmla="*/ 3114000 h 5938818"/>
              <a:gd name="connsiteX1" fmla="*/ 3119446 w 6235406"/>
              <a:gd name="connsiteY1" fmla="*/ 0 h 5938818"/>
              <a:gd name="connsiteX2" fmla="*/ 6233446 w 6235406"/>
              <a:gd name="connsiteY2" fmla="*/ 3114000 h 5938818"/>
              <a:gd name="connsiteX3" fmla="*/ 4503862 w 6235406"/>
              <a:gd name="connsiteY3" fmla="*/ 5921390 h 5938818"/>
              <a:gd name="connsiteX4" fmla="*/ 4483173 w 6235406"/>
              <a:gd name="connsiteY4" fmla="*/ 4284366 h 5938818"/>
              <a:gd name="connsiteX5" fmla="*/ 4396917 w 6235406"/>
              <a:gd name="connsiteY5" fmla="*/ 3968895 h 5938818"/>
              <a:gd name="connsiteX6" fmla="*/ 106672 w 6235406"/>
              <a:gd name="connsiteY6" fmla="*/ 3971566 h 5938818"/>
              <a:gd name="connsiteX7" fmla="*/ 5446 w 6235406"/>
              <a:gd name="connsiteY7" fmla="*/ 3114000 h 5938818"/>
              <a:gd name="connsiteX0" fmla="*/ 5446 w 6235406"/>
              <a:gd name="connsiteY0" fmla="*/ 3114000 h 5938818"/>
              <a:gd name="connsiteX1" fmla="*/ 3119446 w 6235406"/>
              <a:gd name="connsiteY1" fmla="*/ 0 h 5938818"/>
              <a:gd name="connsiteX2" fmla="*/ 6233446 w 6235406"/>
              <a:gd name="connsiteY2" fmla="*/ 3114000 h 5938818"/>
              <a:gd name="connsiteX3" fmla="*/ 4503862 w 6235406"/>
              <a:gd name="connsiteY3" fmla="*/ 5921390 h 5938818"/>
              <a:gd name="connsiteX4" fmla="*/ 4483173 w 6235406"/>
              <a:gd name="connsiteY4" fmla="*/ 4284366 h 5938818"/>
              <a:gd name="connsiteX5" fmla="*/ 4396917 w 6235406"/>
              <a:gd name="connsiteY5" fmla="*/ 3968895 h 5938818"/>
              <a:gd name="connsiteX6" fmla="*/ 106672 w 6235406"/>
              <a:gd name="connsiteY6" fmla="*/ 3971566 h 5938818"/>
              <a:gd name="connsiteX7" fmla="*/ 5446 w 6235406"/>
              <a:gd name="connsiteY7" fmla="*/ 3114000 h 5938818"/>
              <a:gd name="connsiteX0" fmla="*/ 5446 w 6235406"/>
              <a:gd name="connsiteY0" fmla="*/ 3114000 h 5921941"/>
              <a:gd name="connsiteX1" fmla="*/ 3119446 w 6235406"/>
              <a:gd name="connsiteY1" fmla="*/ 0 h 5921941"/>
              <a:gd name="connsiteX2" fmla="*/ 6233446 w 6235406"/>
              <a:gd name="connsiteY2" fmla="*/ 3114000 h 5921941"/>
              <a:gd name="connsiteX3" fmla="*/ 4490214 w 6235406"/>
              <a:gd name="connsiteY3" fmla="*/ 5904331 h 5921941"/>
              <a:gd name="connsiteX4" fmla="*/ 4483173 w 6235406"/>
              <a:gd name="connsiteY4" fmla="*/ 4284366 h 5921941"/>
              <a:gd name="connsiteX5" fmla="*/ 4396917 w 6235406"/>
              <a:gd name="connsiteY5" fmla="*/ 3968895 h 5921941"/>
              <a:gd name="connsiteX6" fmla="*/ 106672 w 6235406"/>
              <a:gd name="connsiteY6" fmla="*/ 3971566 h 5921941"/>
              <a:gd name="connsiteX7" fmla="*/ 5446 w 6235406"/>
              <a:gd name="connsiteY7" fmla="*/ 3114000 h 5921941"/>
              <a:gd name="connsiteX0" fmla="*/ 5446 w 6235406"/>
              <a:gd name="connsiteY0" fmla="*/ 3114000 h 5921941"/>
              <a:gd name="connsiteX1" fmla="*/ 3119446 w 6235406"/>
              <a:gd name="connsiteY1" fmla="*/ 0 h 5921941"/>
              <a:gd name="connsiteX2" fmla="*/ 6233446 w 6235406"/>
              <a:gd name="connsiteY2" fmla="*/ 3114000 h 5921941"/>
              <a:gd name="connsiteX3" fmla="*/ 4490214 w 6235406"/>
              <a:gd name="connsiteY3" fmla="*/ 5904331 h 5921941"/>
              <a:gd name="connsiteX4" fmla="*/ 4483173 w 6235406"/>
              <a:gd name="connsiteY4" fmla="*/ 4284366 h 5921941"/>
              <a:gd name="connsiteX5" fmla="*/ 4396917 w 6235406"/>
              <a:gd name="connsiteY5" fmla="*/ 3968895 h 5921941"/>
              <a:gd name="connsiteX6" fmla="*/ 106672 w 6235406"/>
              <a:gd name="connsiteY6" fmla="*/ 3971566 h 5921941"/>
              <a:gd name="connsiteX7" fmla="*/ 5446 w 6235406"/>
              <a:gd name="connsiteY7" fmla="*/ 3114000 h 5921941"/>
              <a:gd name="connsiteX0" fmla="*/ 5446 w 6235406"/>
              <a:gd name="connsiteY0" fmla="*/ 3114000 h 5904331"/>
              <a:gd name="connsiteX1" fmla="*/ 3119446 w 6235406"/>
              <a:gd name="connsiteY1" fmla="*/ 0 h 5904331"/>
              <a:gd name="connsiteX2" fmla="*/ 6233446 w 6235406"/>
              <a:gd name="connsiteY2" fmla="*/ 3114000 h 5904331"/>
              <a:gd name="connsiteX3" fmla="*/ 4490214 w 6235406"/>
              <a:gd name="connsiteY3" fmla="*/ 5904331 h 5904331"/>
              <a:gd name="connsiteX4" fmla="*/ 4483173 w 6235406"/>
              <a:gd name="connsiteY4" fmla="*/ 4284366 h 5904331"/>
              <a:gd name="connsiteX5" fmla="*/ 4396917 w 6235406"/>
              <a:gd name="connsiteY5" fmla="*/ 3968895 h 5904331"/>
              <a:gd name="connsiteX6" fmla="*/ 106672 w 6235406"/>
              <a:gd name="connsiteY6" fmla="*/ 3971566 h 5904331"/>
              <a:gd name="connsiteX7" fmla="*/ 5446 w 6235406"/>
              <a:gd name="connsiteY7" fmla="*/ 3114000 h 5904331"/>
              <a:gd name="connsiteX0" fmla="*/ 5446 w 6235406"/>
              <a:gd name="connsiteY0" fmla="*/ 3114000 h 5904331"/>
              <a:gd name="connsiteX1" fmla="*/ 3119446 w 6235406"/>
              <a:gd name="connsiteY1" fmla="*/ 0 h 5904331"/>
              <a:gd name="connsiteX2" fmla="*/ 6233446 w 6235406"/>
              <a:gd name="connsiteY2" fmla="*/ 3114000 h 5904331"/>
              <a:gd name="connsiteX3" fmla="*/ 4490214 w 6235406"/>
              <a:gd name="connsiteY3" fmla="*/ 5904331 h 5904331"/>
              <a:gd name="connsiteX4" fmla="*/ 4483173 w 6235406"/>
              <a:gd name="connsiteY4" fmla="*/ 4284366 h 5904331"/>
              <a:gd name="connsiteX5" fmla="*/ 4396917 w 6235406"/>
              <a:gd name="connsiteY5" fmla="*/ 3968895 h 5904331"/>
              <a:gd name="connsiteX6" fmla="*/ 106672 w 6235406"/>
              <a:gd name="connsiteY6" fmla="*/ 3971566 h 5904331"/>
              <a:gd name="connsiteX7" fmla="*/ 5446 w 6235406"/>
              <a:gd name="connsiteY7" fmla="*/ 3114000 h 5904331"/>
              <a:gd name="connsiteX0" fmla="*/ 5446 w 6235406"/>
              <a:gd name="connsiteY0" fmla="*/ 3114000 h 5904331"/>
              <a:gd name="connsiteX1" fmla="*/ 3119446 w 6235406"/>
              <a:gd name="connsiteY1" fmla="*/ 0 h 5904331"/>
              <a:gd name="connsiteX2" fmla="*/ 6233446 w 6235406"/>
              <a:gd name="connsiteY2" fmla="*/ 3114000 h 5904331"/>
              <a:gd name="connsiteX3" fmla="*/ 4490214 w 6235406"/>
              <a:gd name="connsiteY3" fmla="*/ 5904331 h 5904331"/>
              <a:gd name="connsiteX4" fmla="*/ 4483173 w 6235406"/>
              <a:gd name="connsiteY4" fmla="*/ 4284366 h 5904331"/>
              <a:gd name="connsiteX5" fmla="*/ 4396917 w 6235406"/>
              <a:gd name="connsiteY5" fmla="*/ 3968895 h 5904331"/>
              <a:gd name="connsiteX6" fmla="*/ 106672 w 6235406"/>
              <a:gd name="connsiteY6" fmla="*/ 3971566 h 5904331"/>
              <a:gd name="connsiteX7" fmla="*/ 5446 w 6235406"/>
              <a:gd name="connsiteY7" fmla="*/ 3114000 h 5904331"/>
              <a:gd name="connsiteX0" fmla="*/ 5446 w 6235406"/>
              <a:gd name="connsiteY0" fmla="*/ 3114000 h 5904331"/>
              <a:gd name="connsiteX1" fmla="*/ 3119446 w 6235406"/>
              <a:gd name="connsiteY1" fmla="*/ 0 h 5904331"/>
              <a:gd name="connsiteX2" fmla="*/ 6233446 w 6235406"/>
              <a:gd name="connsiteY2" fmla="*/ 3114000 h 5904331"/>
              <a:gd name="connsiteX3" fmla="*/ 4490214 w 6235406"/>
              <a:gd name="connsiteY3" fmla="*/ 5904331 h 5904331"/>
              <a:gd name="connsiteX4" fmla="*/ 4483173 w 6235406"/>
              <a:gd name="connsiteY4" fmla="*/ 4284366 h 5904331"/>
              <a:gd name="connsiteX5" fmla="*/ 4396917 w 6235406"/>
              <a:gd name="connsiteY5" fmla="*/ 3968895 h 5904331"/>
              <a:gd name="connsiteX6" fmla="*/ 106672 w 6235406"/>
              <a:gd name="connsiteY6" fmla="*/ 3971566 h 5904331"/>
              <a:gd name="connsiteX7" fmla="*/ 5446 w 6235406"/>
              <a:gd name="connsiteY7" fmla="*/ 3114000 h 5904331"/>
              <a:gd name="connsiteX0" fmla="*/ 5446 w 6235406"/>
              <a:gd name="connsiteY0" fmla="*/ 3114000 h 5904331"/>
              <a:gd name="connsiteX1" fmla="*/ 3119446 w 6235406"/>
              <a:gd name="connsiteY1" fmla="*/ 0 h 5904331"/>
              <a:gd name="connsiteX2" fmla="*/ 6233446 w 6235406"/>
              <a:gd name="connsiteY2" fmla="*/ 3114000 h 5904331"/>
              <a:gd name="connsiteX3" fmla="*/ 4490214 w 6235406"/>
              <a:gd name="connsiteY3" fmla="*/ 5904331 h 5904331"/>
              <a:gd name="connsiteX4" fmla="*/ 4486585 w 6235406"/>
              <a:gd name="connsiteY4" fmla="*/ 4137653 h 5904331"/>
              <a:gd name="connsiteX5" fmla="*/ 4396917 w 6235406"/>
              <a:gd name="connsiteY5" fmla="*/ 3968895 h 5904331"/>
              <a:gd name="connsiteX6" fmla="*/ 106672 w 6235406"/>
              <a:gd name="connsiteY6" fmla="*/ 3971566 h 5904331"/>
              <a:gd name="connsiteX7" fmla="*/ 5446 w 6235406"/>
              <a:gd name="connsiteY7" fmla="*/ 3114000 h 5904331"/>
              <a:gd name="connsiteX0" fmla="*/ 5446 w 6235406"/>
              <a:gd name="connsiteY0" fmla="*/ 3114000 h 5904331"/>
              <a:gd name="connsiteX1" fmla="*/ 3119446 w 6235406"/>
              <a:gd name="connsiteY1" fmla="*/ 0 h 5904331"/>
              <a:gd name="connsiteX2" fmla="*/ 6233446 w 6235406"/>
              <a:gd name="connsiteY2" fmla="*/ 3114000 h 5904331"/>
              <a:gd name="connsiteX3" fmla="*/ 4490214 w 6235406"/>
              <a:gd name="connsiteY3" fmla="*/ 5904331 h 5904331"/>
              <a:gd name="connsiteX4" fmla="*/ 4486585 w 6235406"/>
              <a:gd name="connsiteY4" fmla="*/ 4147888 h 5904331"/>
              <a:gd name="connsiteX5" fmla="*/ 4396917 w 6235406"/>
              <a:gd name="connsiteY5" fmla="*/ 3968895 h 5904331"/>
              <a:gd name="connsiteX6" fmla="*/ 106672 w 6235406"/>
              <a:gd name="connsiteY6" fmla="*/ 3971566 h 5904331"/>
              <a:gd name="connsiteX7" fmla="*/ 5446 w 6235406"/>
              <a:gd name="connsiteY7" fmla="*/ 3114000 h 5904331"/>
              <a:gd name="connsiteX0" fmla="*/ 5446 w 6235406"/>
              <a:gd name="connsiteY0" fmla="*/ 3114000 h 5904331"/>
              <a:gd name="connsiteX1" fmla="*/ 3119446 w 6235406"/>
              <a:gd name="connsiteY1" fmla="*/ 0 h 5904331"/>
              <a:gd name="connsiteX2" fmla="*/ 6233446 w 6235406"/>
              <a:gd name="connsiteY2" fmla="*/ 3114000 h 5904331"/>
              <a:gd name="connsiteX3" fmla="*/ 4490214 w 6235406"/>
              <a:gd name="connsiteY3" fmla="*/ 5904331 h 5904331"/>
              <a:gd name="connsiteX4" fmla="*/ 4486585 w 6235406"/>
              <a:gd name="connsiteY4" fmla="*/ 4147888 h 5904331"/>
              <a:gd name="connsiteX5" fmla="*/ 4396917 w 6235406"/>
              <a:gd name="connsiteY5" fmla="*/ 3968895 h 5904331"/>
              <a:gd name="connsiteX6" fmla="*/ 106672 w 6235406"/>
              <a:gd name="connsiteY6" fmla="*/ 3971566 h 5904331"/>
              <a:gd name="connsiteX7" fmla="*/ 5446 w 6235406"/>
              <a:gd name="connsiteY7" fmla="*/ 3114000 h 5904331"/>
              <a:gd name="connsiteX0" fmla="*/ 120811 w 6350771"/>
              <a:gd name="connsiteY0" fmla="*/ 3114000 h 5904331"/>
              <a:gd name="connsiteX1" fmla="*/ 3234811 w 6350771"/>
              <a:gd name="connsiteY1" fmla="*/ 0 h 5904331"/>
              <a:gd name="connsiteX2" fmla="*/ 6348811 w 6350771"/>
              <a:gd name="connsiteY2" fmla="*/ 3114000 h 5904331"/>
              <a:gd name="connsiteX3" fmla="*/ 4605579 w 6350771"/>
              <a:gd name="connsiteY3" fmla="*/ 5904331 h 5904331"/>
              <a:gd name="connsiteX4" fmla="*/ 4601950 w 6350771"/>
              <a:gd name="connsiteY4" fmla="*/ 4147888 h 5904331"/>
              <a:gd name="connsiteX5" fmla="*/ 4512282 w 6350771"/>
              <a:gd name="connsiteY5" fmla="*/ 3968895 h 5904331"/>
              <a:gd name="connsiteX6" fmla="*/ 293688 w 6350771"/>
              <a:gd name="connsiteY6" fmla="*/ 3968154 h 5904331"/>
              <a:gd name="connsiteX7" fmla="*/ 120811 w 6350771"/>
              <a:gd name="connsiteY7" fmla="*/ 3114000 h 5904331"/>
              <a:gd name="connsiteX0" fmla="*/ 120811 w 6350771"/>
              <a:gd name="connsiteY0" fmla="*/ 3114000 h 5904331"/>
              <a:gd name="connsiteX1" fmla="*/ 3234811 w 6350771"/>
              <a:gd name="connsiteY1" fmla="*/ 0 h 5904331"/>
              <a:gd name="connsiteX2" fmla="*/ 6348811 w 6350771"/>
              <a:gd name="connsiteY2" fmla="*/ 3114000 h 5904331"/>
              <a:gd name="connsiteX3" fmla="*/ 4605579 w 6350771"/>
              <a:gd name="connsiteY3" fmla="*/ 5904331 h 5904331"/>
              <a:gd name="connsiteX4" fmla="*/ 4601950 w 6350771"/>
              <a:gd name="connsiteY4" fmla="*/ 4147888 h 5904331"/>
              <a:gd name="connsiteX5" fmla="*/ 4512282 w 6350771"/>
              <a:gd name="connsiteY5" fmla="*/ 3968895 h 5904331"/>
              <a:gd name="connsiteX6" fmla="*/ 293688 w 6350771"/>
              <a:gd name="connsiteY6" fmla="*/ 3968154 h 5904331"/>
              <a:gd name="connsiteX7" fmla="*/ 120811 w 6350771"/>
              <a:gd name="connsiteY7" fmla="*/ 3114000 h 5904331"/>
              <a:gd name="connsiteX0" fmla="*/ 12 w 6229972"/>
              <a:gd name="connsiteY0" fmla="*/ 3114000 h 5904331"/>
              <a:gd name="connsiteX1" fmla="*/ 3114012 w 6229972"/>
              <a:gd name="connsiteY1" fmla="*/ 0 h 5904331"/>
              <a:gd name="connsiteX2" fmla="*/ 6228012 w 6229972"/>
              <a:gd name="connsiteY2" fmla="*/ 3114000 h 5904331"/>
              <a:gd name="connsiteX3" fmla="*/ 4484780 w 6229972"/>
              <a:gd name="connsiteY3" fmla="*/ 5904331 h 5904331"/>
              <a:gd name="connsiteX4" fmla="*/ 4481151 w 6229972"/>
              <a:gd name="connsiteY4" fmla="*/ 4147888 h 5904331"/>
              <a:gd name="connsiteX5" fmla="*/ 4391483 w 6229972"/>
              <a:gd name="connsiteY5" fmla="*/ 3968895 h 5904331"/>
              <a:gd name="connsiteX6" fmla="*/ 172889 w 6229972"/>
              <a:gd name="connsiteY6" fmla="*/ 3968154 h 5904331"/>
              <a:gd name="connsiteX7" fmla="*/ 12 w 6229972"/>
              <a:gd name="connsiteY7" fmla="*/ 3114000 h 5904331"/>
              <a:gd name="connsiteX0" fmla="*/ 12 w 6229972"/>
              <a:gd name="connsiteY0" fmla="*/ 3114000 h 5904331"/>
              <a:gd name="connsiteX1" fmla="*/ 3114012 w 6229972"/>
              <a:gd name="connsiteY1" fmla="*/ 0 h 5904331"/>
              <a:gd name="connsiteX2" fmla="*/ 6228012 w 6229972"/>
              <a:gd name="connsiteY2" fmla="*/ 3114000 h 5904331"/>
              <a:gd name="connsiteX3" fmla="*/ 4484780 w 6229972"/>
              <a:gd name="connsiteY3" fmla="*/ 5904331 h 5904331"/>
              <a:gd name="connsiteX4" fmla="*/ 4481151 w 6229972"/>
              <a:gd name="connsiteY4" fmla="*/ 4147888 h 5904331"/>
              <a:gd name="connsiteX5" fmla="*/ 4391483 w 6229972"/>
              <a:gd name="connsiteY5" fmla="*/ 3968895 h 5904331"/>
              <a:gd name="connsiteX6" fmla="*/ 172889 w 6229972"/>
              <a:gd name="connsiteY6" fmla="*/ 3968154 h 5904331"/>
              <a:gd name="connsiteX7" fmla="*/ 12 w 6229972"/>
              <a:gd name="connsiteY7" fmla="*/ 3114000 h 5904331"/>
              <a:gd name="connsiteX0" fmla="*/ 12 w 6229972"/>
              <a:gd name="connsiteY0" fmla="*/ 3114000 h 5904331"/>
              <a:gd name="connsiteX1" fmla="*/ 3114012 w 6229972"/>
              <a:gd name="connsiteY1" fmla="*/ 0 h 5904331"/>
              <a:gd name="connsiteX2" fmla="*/ 6228012 w 6229972"/>
              <a:gd name="connsiteY2" fmla="*/ 3114000 h 5904331"/>
              <a:gd name="connsiteX3" fmla="*/ 4484780 w 6229972"/>
              <a:gd name="connsiteY3" fmla="*/ 5904331 h 5904331"/>
              <a:gd name="connsiteX4" fmla="*/ 4481151 w 6229972"/>
              <a:gd name="connsiteY4" fmla="*/ 4147888 h 5904331"/>
              <a:gd name="connsiteX5" fmla="*/ 4391483 w 6229972"/>
              <a:gd name="connsiteY5" fmla="*/ 3968895 h 5904331"/>
              <a:gd name="connsiteX6" fmla="*/ 172889 w 6229972"/>
              <a:gd name="connsiteY6" fmla="*/ 3968154 h 5904331"/>
              <a:gd name="connsiteX7" fmla="*/ 12 w 6229972"/>
              <a:gd name="connsiteY7" fmla="*/ 3114000 h 5904331"/>
              <a:gd name="connsiteX0" fmla="*/ 165707 w 6395667"/>
              <a:gd name="connsiteY0" fmla="*/ 3114000 h 5904331"/>
              <a:gd name="connsiteX1" fmla="*/ 3279707 w 6395667"/>
              <a:gd name="connsiteY1" fmla="*/ 0 h 5904331"/>
              <a:gd name="connsiteX2" fmla="*/ 6393707 w 6395667"/>
              <a:gd name="connsiteY2" fmla="*/ 3114000 h 5904331"/>
              <a:gd name="connsiteX3" fmla="*/ 4650475 w 6395667"/>
              <a:gd name="connsiteY3" fmla="*/ 5904331 h 5904331"/>
              <a:gd name="connsiteX4" fmla="*/ 4646846 w 6395667"/>
              <a:gd name="connsiteY4" fmla="*/ 4147888 h 5904331"/>
              <a:gd name="connsiteX5" fmla="*/ 4557178 w 6395667"/>
              <a:gd name="connsiteY5" fmla="*/ 3968895 h 5904331"/>
              <a:gd name="connsiteX6" fmla="*/ 338584 w 6395667"/>
              <a:gd name="connsiteY6" fmla="*/ 3968154 h 5904331"/>
              <a:gd name="connsiteX7" fmla="*/ 418664 w 6395667"/>
              <a:gd name="connsiteY7" fmla="*/ 3789530 h 5904331"/>
              <a:gd name="connsiteX8" fmla="*/ 165707 w 6395667"/>
              <a:gd name="connsiteY8" fmla="*/ 3114000 h 5904331"/>
              <a:gd name="connsiteX0" fmla="*/ 165707 w 6395667"/>
              <a:gd name="connsiteY0" fmla="*/ 3114000 h 5904331"/>
              <a:gd name="connsiteX1" fmla="*/ 3279707 w 6395667"/>
              <a:gd name="connsiteY1" fmla="*/ 0 h 5904331"/>
              <a:gd name="connsiteX2" fmla="*/ 6393707 w 6395667"/>
              <a:gd name="connsiteY2" fmla="*/ 3114000 h 5904331"/>
              <a:gd name="connsiteX3" fmla="*/ 4650475 w 6395667"/>
              <a:gd name="connsiteY3" fmla="*/ 5904331 h 5904331"/>
              <a:gd name="connsiteX4" fmla="*/ 4646846 w 6395667"/>
              <a:gd name="connsiteY4" fmla="*/ 4147888 h 5904331"/>
              <a:gd name="connsiteX5" fmla="*/ 4557178 w 6395667"/>
              <a:gd name="connsiteY5" fmla="*/ 3968895 h 5904331"/>
              <a:gd name="connsiteX6" fmla="*/ 338584 w 6395667"/>
              <a:gd name="connsiteY6" fmla="*/ 3968154 h 5904331"/>
              <a:gd name="connsiteX7" fmla="*/ 418664 w 6395667"/>
              <a:gd name="connsiteY7" fmla="*/ 3789530 h 5904331"/>
              <a:gd name="connsiteX8" fmla="*/ 165707 w 6395667"/>
              <a:gd name="connsiteY8" fmla="*/ 3114000 h 5904331"/>
              <a:gd name="connsiteX0" fmla="*/ 187804 w 6417764"/>
              <a:gd name="connsiteY0" fmla="*/ 3114000 h 5904331"/>
              <a:gd name="connsiteX1" fmla="*/ 3301804 w 6417764"/>
              <a:gd name="connsiteY1" fmla="*/ 0 h 5904331"/>
              <a:gd name="connsiteX2" fmla="*/ 6415804 w 6417764"/>
              <a:gd name="connsiteY2" fmla="*/ 3114000 h 5904331"/>
              <a:gd name="connsiteX3" fmla="*/ 4672572 w 6417764"/>
              <a:gd name="connsiteY3" fmla="*/ 5904331 h 5904331"/>
              <a:gd name="connsiteX4" fmla="*/ 4668943 w 6417764"/>
              <a:gd name="connsiteY4" fmla="*/ 4147888 h 5904331"/>
              <a:gd name="connsiteX5" fmla="*/ 4579275 w 6417764"/>
              <a:gd name="connsiteY5" fmla="*/ 3968895 h 5904331"/>
              <a:gd name="connsiteX6" fmla="*/ 360681 w 6417764"/>
              <a:gd name="connsiteY6" fmla="*/ 3968154 h 5904331"/>
              <a:gd name="connsiteX7" fmla="*/ 317931 w 6417764"/>
              <a:gd name="connsiteY7" fmla="*/ 3984011 h 5904331"/>
              <a:gd name="connsiteX8" fmla="*/ 187804 w 6417764"/>
              <a:gd name="connsiteY8" fmla="*/ 3114000 h 5904331"/>
              <a:gd name="connsiteX0" fmla="*/ 187804 w 6417764"/>
              <a:gd name="connsiteY0" fmla="*/ 3114000 h 5904331"/>
              <a:gd name="connsiteX1" fmla="*/ 3301804 w 6417764"/>
              <a:gd name="connsiteY1" fmla="*/ 0 h 5904331"/>
              <a:gd name="connsiteX2" fmla="*/ 6415804 w 6417764"/>
              <a:gd name="connsiteY2" fmla="*/ 3114000 h 5904331"/>
              <a:gd name="connsiteX3" fmla="*/ 4672572 w 6417764"/>
              <a:gd name="connsiteY3" fmla="*/ 5904331 h 5904331"/>
              <a:gd name="connsiteX4" fmla="*/ 4668943 w 6417764"/>
              <a:gd name="connsiteY4" fmla="*/ 4147888 h 5904331"/>
              <a:gd name="connsiteX5" fmla="*/ 4579275 w 6417764"/>
              <a:gd name="connsiteY5" fmla="*/ 3968895 h 5904331"/>
              <a:gd name="connsiteX6" fmla="*/ 360681 w 6417764"/>
              <a:gd name="connsiteY6" fmla="*/ 3968154 h 5904331"/>
              <a:gd name="connsiteX7" fmla="*/ 317931 w 6417764"/>
              <a:gd name="connsiteY7" fmla="*/ 3984011 h 5904331"/>
              <a:gd name="connsiteX8" fmla="*/ 187804 w 6417764"/>
              <a:gd name="connsiteY8" fmla="*/ 3114000 h 5904331"/>
              <a:gd name="connsiteX0" fmla="*/ 183019 w 6412979"/>
              <a:gd name="connsiteY0" fmla="*/ 3114000 h 5904331"/>
              <a:gd name="connsiteX1" fmla="*/ 3297019 w 6412979"/>
              <a:gd name="connsiteY1" fmla="*/ 0 h 5904331"/>
              <a:gd name="connsiteX2" fmla="*/ 6411019 w 6412979"/>
              <a:gd name="connsiteY2" fmla="*/ 3114000 h 5904331"/>
              <a:gd name="connsiteX3" fmla="*/ 4667787 w 6412979"/>
              <a:gd name="connsiteY3" fmla="*/ 5904331 h 5904331"/>
              <a:gd name="connsiteX4" fmla="*/ 4664158 w 6412979"/>
              <a:gd name="connsiteY4" fmla="*/ 4147888 h 5904331"/>
              <a:gd name="connsiteX5" fmla="*/ 4574490 w 6412979"/>
              <a:gd name="connsiteY5" fmla="*/ 3968895 h 5904331"/>
              <a:gd name="connsiteX6" fmla="*/ 355896 w 6412979"/>
              <a:gd name="connsiteY6" fmla="*/ 3968154 h 5904331"/>
              <a:gd name="connsiteX7" fmla="*/ 313146 w 6412979"/>
              <a:gd name="connsiteY7" fmla="*/ 3984011 h 5904331"/>
              <a:gd name="connsiteX8" fmla="*/ 183019 w 6412979"/>
              <a:gd name="connsiteY8" fmla="*/ 3114000 h 5904331"/>
              <a:gd name="connsiteX0" fmla="*/ 144151 w 6374111"/>
              <a:gd name="connsiteY0" fmla="*/ 3114000 h 5904331"/>
              <a:gd name="connsiteX1" fmla="*/ 3258151 w 6374111"/>
              <a:gd name="connsiteY1" fmla="*/ 0 h 5904331"/>
              <a:gd name="connsiteX2" fmla="*/ 6372151 w 6374111"/>
              <a:gd name="connsiteY2" fmla="*/ 3114000 h 5904331"/>
              <a:gd name="connsiteX3" fmla="*/ 4628919 w 6374111"/>
              <a:gd name="connsiteY3" fmla="*/ 5904331 h 5904331"/>
              <a:gd name="connsiteX4" fmla="*/ 4625290 w 6374111"/>
              <a:gd name="connsiteY4" fmla="*/ 4147888 h 5904331"/>
              <a:gd name="connsiteX5" fmla="*/ 4535622 w 6374111"/>
              <a:gd name="connsiteY5" fmla="*/ 3968895 h 5904331"/>
              <a:gd name="connsiteX6" fmla="*/ 317028 w 6374111"/>
              <a:gd name="connsiteY6" fmla="*/ 3968154 h 5904331"/>
              <a:gd name="connsiteX7" fmla="*/ 274278 w 6374111"/>
              <a:gd name="connsiteY7" fmla="*/ 3984011 h 5904331"/>
              <a:gd name="connsiteX8" fmla="*/ 144151 w 6374111"/>
              <a:gd name="connsiteY8" fmla="*/ 3114000 h 5904331"/>
              <a:gd name="connsiteX0" fmla="*/ 141340 w 6371300"/>
              <a:gd name="connsiteY0" fmla="*/ 3114000 h 5904331"/>
              <a:gd name="connsiteX1" fmla="*/ 3255340 w 6371300"/>
              <a:gd name="connsiteY1" fmla="*/ 0 h 5904331"/>
              <a:gd name="connsiteX2" fmla="*/ 6369340 w 6371300"/>
              <a:gd name="connsiteY2" fmla="*/ 3114000 h 5904331"/>
              <a:gd name="connsiteX3" fmla="*/ 4626108 w 6371300"/>
              <a:gd name="connsiteY3" fmla="*/ 5904331 h 5904331"/>
              <a:gd name="connsiteX4" fmla="*/ 4622479 w 6371300"/>
              <a:gd name="connsiteY4" fmla="*/ 4147888 h 5904331"/>
              <a:gd name="connsiteX5" fmla="*/ 4532811 w 6371300"/>
              <a:gd name="connsiteY5" fmla="*/ 3968895 h 5904331"/>
              <a:gd name="connsiteX6" fmla="*/ 314217 w 6371300"/>
              <a:gd name="connsiteY6" fmla="*/ 3968154 h 5904331"/>
              <a:gd name="connsiteX7" fmla="*/ 281702 w 6371300"/>
              <a:gd name="connsiteY7" fmla="*/ 3987423 h 5904331"/>
              <a:gd name="connsiteX8" fmla="*/ 141340 w 6371300"/>
              <a:gd name="connsiteY8" fmla="*/ 3114000 h 5904331"/>
              <a:gd name="connsiteX0" fmla="*/ 181 w 6230141"/>
              <a:gd name="connsiteY0" fmla="*/ 3114000 h 5904331"/>
              <a:gd name="connsiteX1" fmla="*/ 3114181 w 6230141"/>
              <a:gd name="connsiteY1" fmla="*/ 0 h 5904331"/>
              <a:gd name="connsiteX2" fmla="*/ 6228181 w 6230141"/>
              <a:gd name="connsiteY2" fmla="*/ 3114000 h 5904331"/>
              <a:gd name="connsiteX3" fmla="*/ 4484949 w 6230141"/>
              <a:gd name="connsiteY3" fmla="*/ 5904331 h 5904331"/>
              <a:gd name="connsiteX4" fmla="*/ 4481320 w 6230141"/>
              <a:gd name="connsiteY4" fmla="*/ 4147888 h 5904331"/>
              <a:gd name="connsiteX5" fmla="*/ 4391652 w 6230141"/>
              <a:gd name="connsiteY5" fmla="*/ 3968895 h 5904331"/>
              <a:gd name="connsiteX6" fmla="*/ 173058 w 6230141"/>
              <a:gd name="connsiteY6" fmla="*/ 3968154 h 5904331"/>
              <a:gd name="connsiteX7" fmla="*/ 140543 w 6230141"/>
              <a:gd name="connsiteY7" fmla="*/ 3987423 h 5904331"/>
              <a:gd name="connsiteX8" fmla="*/ 181 w 6230141"/>
              <a:gd name="connsiteY8" fmla="*/ 3114000 h 5904331"/>
              <a:gd name="connsiteX0" fmla="*/ 199 w 6230159"/>
              <a:gd name="connsiteY0" fmla="*/ 3114000 h 5904331"/>
              <a:gd name="connsiteX1" fmla="*/ 3114199 w 6230159"/>
              <a:gd name="connsiteY1" fmla="*/ 0 h 5904331"/>
              <a:gd name="connsiteX2" fmla="*/ 6228199 w 6230159"/>
              <a:gd name="connsiteY2" fmla="*/ 3114000 h 5904331"/>
              <a:gd name="connsiteX3" fmla="*/ 4484967 w 6230159"/>
              <a:gd name="connsiteY3" fmla="*/ 5904331 h 5904331"/>
              <a:gd name="connsiteX4" fmla="*/ 4481338 w 6230159"/>
              <a:gd name="connsiteY4" fmla="*/ 4147888 h 5904331"/>
              <a:gd name="connsiteX5" fmla="*/ 4391670 w 6230159"/>
              <a:gd name="connsiteY5" fmla="*/ 3968895 h 5904331"/>
              <a:gd name="connsiteX6" fmla="*/ 173076 w 6230159"/>
              <a:gd name="connsiteY6" fmla="*/ 3968154 h 5904331"/>
              <a:gd name="connsiteX7" fmla="*/ 126914 w 6230159"/>
              <a:gd name="connsiteY7" fmla="*/ 3990835 h 5904331"/>
              <a:gd name="connsiteX8" fmla="*/ 199 w 6230159"/>
              <a:gd name="connsiteY8" fmla="*/ 3114000 h 5904331"/>
              <a:gd name="connsiteX0" fmla="*/ 199 w 6230159"/>
              <a:gd name="connsiteY0" fmla="*/ 3114000 h 5904331"/>
              <a:gd name="connsiteX1" fmla="*/ 3114199 w 6230159"/>
              <a:gd name="connsiteY1" fmla="*/ 0 h 5904331"/>
              <a:gd name="connsiteX2" fmla="*/ 6228199 w 6230159"/>
              <a:gd name="connsiteY2" fmla="*/ 3114000 h 5904331"/>
              <a:gd name="connsiteX3" fmla="*/ 4484967 w 6230159"/>
              <a:gd name="connsiteY3" fmla="*/ 5904331 h 5904331"/>
              <a:gd name="connsiteX4" fmla="*/ 4481338 w 6230159"/>
              <a:gd name="connsiteY4" fmla="*/ 4147888 h 5904331"/>
              <a:gd name="connsiteX5" fmla="*/ 4391670 w 6230159"/>
              <a:gd name="connsiteY5" fmla="*/ 3968895 h 5904331"/>
              <a:gd name="connsiteX6" fmla="*/ 173076 w 6230159"/>
              <a:gd name="connsiteY6" fmla="*/ 3968154 h 5904331"/>
              <a:gd name="connsiteX7" fmla="*/ 126914 w 6230159"/>
              <a:gd name="connsiteY7" fmla="*/ 3990835 h 5904331"/>
              <a:gd name="connsiteX8" fmla="*/ 199 w 6230159"/>
              <a:gd name="connsiteY8" fmla="*/ 3114000 h 5904331"/>
              <a:gd name="connsiteX0" fmla="*/ 199 w 6230159"/>
              <a:gd name="connsiteY0" fmla="*/ 3114000 h 5904331"/>
              <a:gd name="connsiteX1" fmla="*/ 3114199 w 6230159"/>
              <a:gd name="connsiteY1" fmla="*/ 0 h 5904331"/>
              <a:gd name="connsiteX2" fmla="*/ 6228199 w 6230159"/>
              <a:gd name="connsiteY2" fmla="*/ 3114000 h 5904331"/>
              <a:gd name="connsiteX3" fmla="*/ 4484967 w 6230159"/>
              <a:gd name="connsiteY3" fmla="*/ 5904331 h 5904331"/>
              <a:gd name="connsiteX4" fmla="*/ 4481338 w 6230159"/>
              <a:gd name="connsiteY4" fmla="*/ 4147888 h 5904331"/>
              <a:gd name="connsiteX5" fmla="*/ 4391670 w 6230159"/>
              <a:gd name="connsiteY5" fmla="*/ 3968895 h 5904331"/>
              <a:gd name="connsiteX6" fmla="*/ 194243 w 6230159"/>
              <a:gd name="connsiteY6" fmla="*/ 3968154 h 5904331"/>
              <a:gd name="connsiteX7" fmla="*/ 126914 w 6230159"/>
              <a:gd name="connsiteY7" fmla="*/ 3990835 h 5904331"/>
              <a:gd name="connsiteX8" fmla="*/ 199 w 6230159"/>
              <a:gd name="connsiteY8" fmla="*/ 3114000 h 5904331"/>
              <a:gd name="connsiteX0" fmla="*/ 199 w 6228217"/>
              <a:gd name="connsiteY0" fmla="*/ 3114000 h 5904331"/>
              <a:gd name="connsiteX1" fmla="*/ 3114199 w 6228217"/>
              <a:gd name="connsiteY1" fmla="*/ 0 h 5904331"/>
              <a:gd name="connsiteX2" fmla="*/ 6228199 w 6228217"/>
              <a:gd name="connsiteY2" fmla="*/ 3114000 h 5904331"/>
              <a:gd name="connsiteX3" fmla="*/ 4484967 w 6228217"/>
              <a:gd name="connsiteY3" fmla="*/ 5904331 h 5904331"/>
              <a:gd name="connsiteX4" fmla="*/ 4481338 w 6228217"/>
              <a:gd name="connsiteY4" fmla="*/ 4147888 h 5904331"/>
              <a:gd name="connsiteX5" fmla="*/ 4391670 w 6228217"/>
              <a:gd name="connsiteY5" fmla="*/ 3968895 h 5904331"/>
              <a:gd name="connsiteX6" fmla="*/ 194243 w 6228217"/>
              <a:gd name="connsiteY6" fmla="*/ 3968154 h 5904331"/>
              <a:gd name="connsiteX7" fmla="*/ 126914 w 6228217"/>
              <a:gd name="connsiteY7" fmla="*/ 3990835 h 5904331"/>
              <a:gd name="connsiteX8" fmla="*/ 199 w 6228217"/>
              <a:gd name="connsiteY8" fmla="*/ 3114000 h 5904331"/>
              <a:gd name="connsiteX0" fmla="*/ 199 w 6228217"/>
              <a:gd name="connsiteY0" fmla="*/ 3114000 h 5904331"/>
              <a:gd name="connsiteX1" fmla="*/ 3114199 w 6228217"/>
              <a:gd name="connsiteY1" fmla="*/ 0 h 5904331"/>
              <a:gd name="connsiteX2" fmla="*/ 6228199 w 6228217"/>
              <a:gd name="connsiteY2" fmla="*/ 3114000 h 5904331"/>
              <a:gd name="connsiteX3" fmla="*/ 4484967 w 6228217"/>
              <a:gd name="connsiteY3" fmla="*/ 5904331 h 5904331"/>
              <a:gd name="connsiteX4" fmla="*/ 4481338 w 6228217"/>
              <a:gd name="connsiteY4" fmla="*/ 4147888 h 5904331"/>
              <a:gd name="connsiteX5" fmla="*/ 4391670 w 6228217"/>
              <a:gd name="connsiteY5" fmla="*/ 3968895 h 5904331"/>
              <a:gd name="connsiteX6" fmla="*/ 194243 w 6228217"/>
              <a:gd name="connsiteY6" fmla="*/ 3968154 h 5904331"/>
              <a:gd name="connsiteX7" fmla="*/ 126914 w 6228217"/>
              <a:gd name="connsiteY7" fmla="*/ 3990835 h 5904331"/>
              <a:gd name="connsiteX8" fmla="*/ 199 w 6228217"/>
              <a:gd name="connsiteY8" fmla="*/ 3114000 h 5904331"/>
              <a:gd name="connsiteX0" fmla="*/ 199 w 6228217"/>
              <a:gd name="connsiteY0" fmla="*/ 3114000 h 5904331"/>
              <a:gd name="connsiteX1" fmla="*/ 3114199 w 6228217"/>
              <a:gd name="connsiteY1" fmla="*/ 0 h 5904331"/>
              <a:gd name="connsiteX2" fmla="*/ 6228199 w 6228217"/>
              <a:gd name="connsiteY2" fmla="*/ 3114000 h 5904331"/>
              <a:gd name="connsiteX3" fmla="*/ 4484967 w 6228217"/>
              <a:gd name="connsiteY3" fmla="*/ 5904331 h 5904331"/>
              <a:gd name="connsiteX4" fmla="*/ 4481338 w 6228217"/>
              <a:gd name="connsiteY4" fmla="*/ 4147888 h 5904331"/>
              <a:gd name="connsiteX5" fmla="*/ 4391670 w 6228217"/>
              <a:gd name="connsiteY5" fmla="*/ 3968895 h 5904331"/>
              <a:gd name="connsiteX6" fmla="*/ 194243 w 6228217"/>
              <a:gd name="connsiteY6" fmla="*/ 3968154 h 5904331"/>
              <a:gd name="connsiteX7" fmla="*/ 126914 w 6228217"/>
              <a:gd name="connsiteY7" fmla="*/ 3990835 h 5904331"/>
              <a:gd name="connsiteX8" fmla="*/ 199 w 6228217"/>
              <a:gd name="connsiteY8" fmla="*/ 3114000 h 5904331"/>
              <a:gd name="connsiteX0" fmla="*/ 199 w 6228216"/>
              <a:gd name="connsiteY0" fmla="*/ 3114000 h 5904331"/>
              <a:gd name="connsiteX1" fmla="*/ 3114199 w 6228216"/>
              <a:gd name="connsiteY1" fmla="*/ 0 h 5904331"/>
              <a:gd name="connsiteX2" fmla="*/ 6228199 w 6228216"/>
              <a:gd name="connsiteY2" fmla="*/ 3114000 h 5904331"/>
              <a:gd name="connsiteX3" fmla="*/ 4474456 w 6228216"/>
              <a:gd name="connsiteY3" fmla="*/ 5904331 h 5904331"/>
              <a:gd name="connsiteX4" fmla="*/ 4481338 w 6228216"/>
              <a:gd name="connsiteY4" fmla="*/ 4147888 h 5904331"/>
              <a:gd name="connsiteX5" fmla="*/ 4391670 w 6228216"/>
              <a:gd name="connsiteY5" fmla="*/ 3968895 h 5904331"/>
              <a:gd name="connsiteX6" fmla="*/ 194243 w 6228216"/>
              <a:gd name="connsiteY6" fmla="*/ 3968154 h 5904331"/>
              <a:gd name="connsiteX7" fmla="*/ 126914 w 6228216"/>
              <a:gd name="connsiteY7" fmla="*/ 3990835 h 5904331"/>
              <a:gd name="connsiteX8" fmla="*/ 199 w 6228216"/>
              <a:gd name="connsiteY8" fmla="*/ 3114000 h 5904331"/>
              <a:gd name="connsiteX0" fmla="*/ 199 w 6228216"/>
              <a:gd name="connsiteY0" fmla="*/ 3114000 h 5915833"/>
              <a:gd name="connsiteX1" fmla="*/ 3114199 w 6228216"/>
              <a:gd name="connsiteY1" fmla="*/ 0 h 5915833"/>
              <a:gd name="connsiteX2" fmla="*/ 6228199 w 6228216"/>
              <a:gd name="connsiteY2" fmla="*/ 3114000 h 5915833"/>
              <a:gd name="connsiteX3" fmla="*/ 4480207 w 6228216"/>
              <a:gd name="connsiteY3" fmla="*/ 5915833 h 5915833"/>
              <a:gd name="connsiteX4" fmla="*/ 4481338 w 6228216"/>
              <a:gd name="connsiteY4" fmla="*/ 4147888 h 5915833"/>
              <a:gd name="connsiteX5" fmla="*/ 4391670 w 6228216"/>
              <a:gd name="connsiteY5" fmla="*/ 3968895 h 5915833"/>
              <a:gd name="connsiteX6" fmla="*/ 194243 w 6228216"/>
              <a:gd name="connsiteY6" fmla="*/ 3968154 h 5915833"/>
              <a:gd name="connsiteX7" fmla="*/ 126914 w 6228216"/>
              <a:gd name="connsiteY7" fmla="*/ 3990835 h 5915833"/>
              <a:gd name="connsiteX8" fmla="*/ 199 w 6228216"/>
              <a:gd name="connsiteY8" fmla="*/ 3114000 h 5915833"/>
              <a:gd name="connsiteX0" fmla="*/ 199 w 6228216"/>
              <a:gd name="connsiteY0" fmla="*/ 3114000 h 5927335"/>
              <a:gd name="connsiteX1" fmla="*/ 3114199 w 6228216"/>
              <a:gd name="connsiteY1" fmla="*/ 0 h 5927335"/>
              <a:gd name="connsiteX2" fmla="*/ 6228199 w 6228216"/>
              <a:gd name="connsiteY2" fmla="*/ 3114000 h 5927335"/>
              <a:gd name="connsiteX3" fmla="*/ 4480207 w 6228216"/>
              <a:gd name="connsiteY3" fmla="*/ 5927335 h 5927335"/>
              <a:gd name="connsiteX4" fmla="*/ 4481338 w 6228216"/>
              <a:gd name="connsiteY4" fmla="*/ 4147888 h 5927335"/>
              <a:gd name="connsiteX5" fmla="*/ 4391670 w 6228216"/>
              <a:gd name="connsiteY5" fmla="*/ 3968895 h 5927335"/>
              <a:gd name="connsiteX6" fmla="*/ 194243 w 6228216"/>
              <a:gd name="connsiteY6" fmla="*/ 3968154 h 5927335"/>
              <a:gd name="connsiteX7" fmla="*/ 126914 w 6228216"/>
              <a:gd name="connsiteY7" fmla="*/ 3990835 h 5927335"/>
              <a:gd name="connsiteX8" fmla="*/ 199 w 6228216"/>
              <a:gd name="connsiteY8" fmla="*/ 3114000 h 5927335"/>
              <a:gd name="connsiteX0" fmla="*/ 199 w 6228216"/>
              <a:gd name="connsiteY0" fmla="*/ 3114000 h 5927335"/>
              <a:gd name="connsiteX1" fmla="*/ 3114199 w 6228216"/>
              <a:gd name="connsiteY1" fmla="*/ 0 h 5927335"/>
              <a:gd name="connsiteX2" fmla="*/ 6228199 w 6228216"/>
              <a:gd name="connsiteY2" fmla="*/ 3114000 h 5927335"/>
              <a:gd name="connsiteX3" fmla="*/ 4480207 w 6228216"/>
              <a:gd name="connsiteY3" fmla="*/ 5927335 h 5927335"/>
              <a:gd name="connsiteX4" fmla="*/ 4481338 w 6228216"/>
              <a:gd name="connsiteY4" fmla="*/ 4147888 h 5927335"/>
              <a:gd name="connsiteX5" fmla="*/ 4391670 w 6228216"/>
              <a:gd name="connsiteY5" fmla="*/ 3968895 h 5927335"/>
              <a:gd name="connsiteX6" fmla="*/ 194243 w 6228216"/>
              <a:gd name="connsiteY6" fmla="*/ 3968154 h 5927335"/>
              <a:gd name="connsiteX7" fmla="*/ 126914 w 6228216"/>
              <a:gd name="connsiteY7" fmla="*/ 3990835 h 5927335"/>
              <a:gd name="connsiteX8" fmla="*/ 199 w 6228216"/>
              <a:gd name="connsiteY8" fmla="*/ 3114000 h 5927335"/>
              <a:gd name="connsiteX0" fmla="*/ 199 w 6228216"/>
              <a:gd name="connsiteY0" fmla="*/ 3114000 h 5927335"/>
              <a:gd name="connsiteX1" fmla="*/ 3114199 w 6228216"/>
              <a:gd name="connsiteY1" fmla="*/ 0 h 5927335"/>
              <a:gd name="connsiteX2" fmla="*/ 6228199 w 6228216"/>
              <a:gd name="connsiteY2" fmla="*/ 3114000 h 5927335"/>
              <a:gd name="connsiteX3" fmla="*/ 4476649 w 6228216"/>
              <a:gd name="connsiteY3" fmla="*/ 5927335 h 5927335"/>
              <a:gd name="connsiteX4" fmla="*/ 4481338 w 6228216"/>
              <a:gd name="connsiteY4" fmla="*/ 4147888 h 5927335"/>
              <a:gd name="connsiteX5" fmla="*/ 4391670 w 6228216"/>
              <a:gd name="connsiteY5" fmla="*/ 3968895 h 5927335"/>
              <a:gd name="connsiteX6" fmla="*/ 194243 w 6228216"/>
              <a:gd name="connsiteY6" fmla="*/ 3968154 h 5927335"/>
              <a:gd name="connsiteX7" fmla="*/ 126914 w 6228216"/>
              <a:gd name="connsiteY7" fmla="*/ 3990835 h 5927335"/>
              <a:gd name="connsiteX8" fmla="*/ 199 w 6228216"/>
              <a:gd name="connsiteY8" fmla="*/ 3114000 h 5927335"/>
              <a:gd name="connsiteX0" fmla="*/ 199 w 6228217"/>
              <a:gd name="connsiteY0" fmla="*/ 3114000 h 5927335"/>
              <a:gd name="connsiteX1" fmla="*/ 3114199 w 6228217"/>
              <a:gd name="connsiteY1" fmla="*/ 0 h 5927335"/>
              <a:gd name="connsiteX2" fmla="*/ 6228199 w 6228217"/>
              <a:gd name="connsiteY2" fmla="*/ 3114000 h 5927335"/>
              <a:gd name="connsiteX3" fmla="*/ 4476649 w 6228217"/>
              <a:gd name="connsiteY3" fmla="*/ 5927335 h 5927335"/>
              <a:gd name="connsiteX4" fmla="*/ 4481338 w 6228217"/>
              <a:gd name="connsiteY4" fmla="*/ 4147888 h 5927335"/>
              <a:gd name="connsiteX5" fmla="*/ 4391670 w 6228217"/>
              <a:gd name="connsiteY5" fmla="*/ 3968895 h 5927335"/>
              <a:gd name="connsiteX6" fmla="*/ 194243 w 6228217"/>
              <a:gd name="connsiteY6" fmla="*/ 3968154 h 5927335"/>
              <a:gd name="connsiteX7" fmla="*/ 126914 w 6228217"/>
              <a:gd name="connsiteY7" fmla="*/ 3990835 h 5927335"/>
              <a:gd name="connsiteX8" fmla="*/ 199 w 6228217"/>
              <a:gd name="connsiteY8" fmla="*/ 3114000 h 5927335"/>
              <a:gd name="connsiteX0" fmla="*/ 199 w 6228217"/>
              <a:gd name="connsiteY0" fmla="*/ 3114000 h 5927335"/>
              <a:gd name="connsiteX1" fmla="*/ 3114199 w 6228217"/>
              <a:gd name="connsiteY1" fmla="*/ 0 h 5927335"/>
              <a:gd name="connsiteX2" fmla="*/ 6228199 w 6228217"/>
              <a:gd name="connsiteY2" fmla="*/ 3114000 h 5927335"/>
              <a:gd name="connsiteX3" fmla="*/ 4494439 w 6228217"/>
              <a:gd name="connsiteY3" fmla="*/ 5927335 h 5927335"/>
              <a:gd name="connsiteX4" fmla="*/ 4481338 w 6228217"/>
              <a:gd name="connsiteY4" fmla="*/ 4147888 h 5927335"/>
              <a:gd name="connsiteX5" fmla="*/ 4391670 w 6228217"/>
              <a:gd name="connsiteY5" fmla="*/ 3968895 h 5927335"/>
              <a:gd name="connsiteX6" fmla="*/ 194243 w 6228217"/>
              <a:gd name="connsiteY6" fmla="*/ 3968154 h 5927335"/>
              <a:gd name="connsiteX7" fmla="*/ 126914 w 6228217"/>
              <a:gd name="connsiteY7" fmla="*/ 3990835 h 5927335"/>
              <a:gd name="connsiteX8" fmla="*/ 199 w 6228217"/>
              <a:gd name="connsiteY8" fmla="*/ 3114000 h 5927335"/>
              <a:gd name="connsiteX0" fmla="*/ 199 w 6228217"/>
              <a:gd name="connsiteY0" fmla="*/ 3114000 h 5927335"/>
              <a:gd name="connsiteX1" fmla="*/ 3114199 w 6228217"/>
              <a:gd name="connsiteY1" fmla="*/ 0 h 5927335"/>
              <a:gd name="connsiteX2" fmla="*/ 6228199 w 6228217"/>
              <a:gd name="connsiteY2" fmla="*/ 3114000 h 5927335"/>
              <a:gd name="connsiteX3" fmla="*/ 4480207 w 6228217"/>
              <a:gd name="connsiteY3" fmla="*/ 5927335 h 5927335"/>
              <a:gd name="connsiteX4" fmla="*/ 4481338 w 6228217"/>
              <a:gd name="connsiteY4" fmla="*/ 4147888 h 5927335"/>
              <a:gd name="connsiteX5" fmla="*/ 4391670 w 6228217"/>
              <a:gd name="connsiteY5" fmla="*/ 3968895 h 5927335"/>
              <a:gd name="connsiteX6" fmla="*/ 194243 w 6228217"/>
              <a:gd name="connsiteY6" fmla="*/ 3968154 h 5927335"/>
              <a:gd name="connsiteX7" fmla="*/ 126914 w 6228217"/>
              <a:gd name="connsiteY7" fmla="*/ 3990835 h 5927335"/>
              <a:gd name="connsiteX8" fmla="*/ 199 w 6228217"/>
              <a:gd name="connsiteY8" fmla="*/ 3114000 h 5927335"/>
              <a:gd name="connsiteX0" fmla="*/ 199 w 6228217"/>
              <a:gd name="connsiteY0" fmla="*/ 3114000 h 5952241"/>
              <a:gd name="connsiteX1" fmla="*/ 3114199 w 6228217"/>
              <a:gd name="connsiteY1" fmla="*/ 0 h 5952241"/>
              <a:gd name="connsiteX2" fmla="*/ 6228199 w 6228217"/>
              <a:gd name="connsiteY2" fmla="*/ 3114000 h 5952241"/>
              <a:gd name="connsiteX3" fmla="*/ 4476649 w 6228217"/>
              <a:gd name="connsiteY3" fmla="*/ 5952241 h 5952241"/>
              <a:gd name="connsiteX4" fmla="*/ 4481338 w 6228217"/>
              <a:gd name="connsiteY4" fmla="*/ 4147888 h 5952241"/>
              <a:gd name="connsiteX5" fmla="*/ 4391670 w 6228217"/>
              <a:gd name="connsiteY5" fmla="*/ 3968895 h 5952241"/>
              <a:gd name="connsiteX6" fmla="*/ 194243 w 6228217"/>
              <a:gd name="connsiteY6" fmla="*/ 3968154 h 5952241"/>
              <a:gd name="connsiteX7" fmla="*/ 126914 w 6228217"/>
              <a:gd name="connsiteY7" fmla="*/ 3990835 h 5952241"/>
              <a:gd name="connsiteX8" fmla="*/ 199 w 6228217"/>
              <a:gd name="connsiteY8" fmla="*/ 3114000 h 5952241"/>
              <a:gd name="connsiteX0" fmla="*/ 199 w 6228216"/>
              <a:gd name="connsiteY0" fmla="*/ 3114000 h 5977146"/>
              <a:gd name="connsiteX1" fmla="*/ 3114199 w 6228216"/>
              <a:gd name="connsiteY1" fmla="*/ 0 h 5977146"/>
              <a:gd name="connsiteX2" fmla="*/ 6228199 w 6228216"/>
              <a:gd name="connsiteY2" fmla="*/ 3114000 h 5977146"/>
              <a:gd name="connsiteX3" fmla="*/ 4469533 w 6228216"/>
              <a:gd name="connsiteY3" fmla="*/ 5977146 h 5977146"/>
              <a:gd name="connsiteX4" fmla="*/ 4481338 w 6228216"/>
              <a:gd name="connsiteY4" fmla="*/ 4147888 h 5977146"/>
              <a:gd name="connsiteX5" fmla="*/ 4391670 w 6228216"/>
              <a:gd name="connsiteY5" fmla="*/ 3968895 h 5977146"/>
              <a:gd name="connsiteX6" fmla="*/ 194243 w 6228216"/>
              <a:gd name="connsiteY6" fmla="*/ 3968154 h 5977146"/>
              <a:gd name="connsiteX7" fmla="*/ 126914 w 6228216"/>
              <a:gd name="connsiteY7" fmla="*/ 3990835 h 5977146"/>
              <a:gd name="connsiteX8" fmla="*/ 199 w 6228216"/>
              <a:gd name="connsiteY8" fmla="*/ 3114000 h 5977146"/>
              <a:gd name="connsiteX0" fmla="*/ 199 w 6228216"/>
              <a:gd name="connsiteY0" fmla="*/ 3114000 h 5927335"/>
              <a:gd name="connsiteX1" fmla="*/ 3114199 w 6228216"/>
              <a:gd name="connsiteY1" fmla="*/ 0 h 5927335"/>
              <a:gd name="connsiteX2" fmla="*/ 6228199 w 6228216"/>
              <a:gd name="connsiteY2" fmla="*/ 3114000 h 5927335"/>
              <a:gd name="connsiteX3" fmla="*/ 4473091 w 6228216"/>
              <a:gd name="connsiteY3" fmla="*/ 5927335 h 5927335"/>
              <a:gd name="connsiteX4" fmla="*/ 4481338 w 6228216"/>
              <a:gd name="connsiteY4" fmla="*/ 4147888 h 5927335"/>
              <a:gd name="connsiteX5" fmla="*/ 4391670 w 6228216"/>
              <a:gd name="connsiteY5" fmla="*/ 3968895 h 5927335"/>
              <a:gd name="connsiteX6" fmla="*/ 194243 w 6228216"/>
              <a:gd name="connsiteY6" fmla="*/ 3968154 h 5927335"/>
              <a:gd name="connsiteX7" fmla="*/ 126914 w 6228216"/>
              <a:gd name="connsiteY7" fmla="*/ 3990835 h 5927335"/>
              <a:gd name="connsiteX8" fmla="*/ 199 w 6228216"/>
              <a:gd name="connsiteY8" fmla="*/ 3114000 h 5927335"/>
              <a:gd name="connsiteX0" fmla="*/ 199 w 6228216"/>
              <a:gd name="connsiteY0" fmla="*/ 3114000 h 5927335"/>
              <a:gd name="connsiteX1" fmla="*/ 3114199 w 6228216"/>
              <a:gd name="connsiteY1" fmla="*/ 0 h 5927335"/>
              <a:gd name="connsiteX2" fmla="*/ 6228199 w 6228216"/>
              <a:gd name="connsiteY2" fmla="*/ 3114000 h 5927335"/>
              <a:gd name="connsiteX3" fmla="*/ 4473091 w 6228216"/>
              <a:gd name="connsiteY3" fmla="*/ 5927335 h 5927335"/>
              <a:gd name="connsiteX4" fmla="*/ 4481338 w 6228216"/>
              <a:gd name="connsiteY4" fmla="*/ 4147888 h 5927335"/>
              <a:gd name="connsiteX5" fmla="*/ 4391670 w 6228216"/>
              <a:gd name="connsiteY5" fmla="*/ 3968895 h 5927335"/>
              <a:gd name="connsiteX6" fmla="*/ 194243 w 6228216"/>
              <a:gd name="connsiteY6" fmla="*/ 3968154 h 5927335"/>
              <a:gd name="connsiteX7" fmla="*/ 126914 w 6228216"/>
              <a:gd name="connsiteY7" fmla="*/ 3990835 h 5927335"/>
              <a:gd name="connsiteX8" fmla="*/ 199 w 6228216"/>
              <a:gd name="connsiteY8" fmla="*/ 3114000 h 5927335"/>
              <a:gd name="connsiteX0" fmla="*/ 199 w 6228215"/>
              <a:gd name="connsiteY0" fmla="*/ 3114000 h 5927335"/>
              <a:gd name="connsiteX1" fmla="*/ 3114199 w 6228215"/>
              <a:gd name="connsiteY1" fmla="*/ 0 h 5927335"/>
              <a:gd name="connsiteX2" fmla="*/ 6228199 w 6228215"/>
              <a:gd name="connsiteY2" fmla="*/ 3114000 h 5927335"/>
              <a:gd name="connsiteX3" fmla="*/ 4473091 w 6228215"/>
              <a:gd name="connsiteY3" fmla="*/ 5927335 h 5927335"/>
              <a:gd name="connsiteX4" fmla="*/ 4481338 w 6228215"/>
              <a:gd name="connsiteY4" fmla="*/ 4147888 h 5927335"/>
              <a:gd name="connsiteX5" fmla="*/ 4391670 w 6228215"/>
              <a:gd name="connsiteY5" fmla="*/ 3968895 h 5927335"/>
              <a:gd name="connsiteX6" fmla="*/ 194243 w 6228215"/>
              <a:gd name="connsiteY6" fmla="*/ 3968154 h 5927335"/>
              <a:gd name="connsiteX7" fmla="*/ 126914 w 6228215"/>
              <a:gd name="connsiteY7" fmla="*/ 3990835 h 5927335"/>
              <a:gd name="connsiteX8" fmla="*/ 199 w 6228215"/>
              <a:gd name="connsiteY8" fmla="*/ 3114000 h 5927335"/>
              <a:gd name="connsiteX0" fmla="*/ 199 w 6228216"/>
              <a:gd name="connsiteY0" fmla="*/ 3114000 h 5911748"/>
              <a:gd name="connsiteX1" fmla="*/ 3114199 w 6228216"/>
              <a:gd name="connsiteY1" fmla="*/ 0 h 5911748"/>
              <a:gd name="connsiteX2" fmla="*/ 6228199 w 6228216"/>
              <a:gd name="connsiteY2" fmla="*/ 3114000 h 5911748"/>
              <a:gd name="connsiteX3" fmla="*/ 4483482 w 6228216"/>
              <a:gd name="connsiteY3" fmla="*/ 5911748 h 5911748"/>
              <a:gd name="connsiteX4" fmla="*/ 4481338 w 6228216"/>
              <a:gd name="connsiteY4" fmla="*/ 4147888 h 5911748"/>
              <a:gd name="connsiteX5" fmla="*/ 4391670 w 6228216"/>
              <a:gd name="connsiteY5" fmla="*/ 3968895 h 5911748"/>
              <a:gd name="connsiteX6" fmla="*/ 194243 w 6228216"/>
              <a:gd name="connsiteY6" fmla="*/ 3968154 h 5911748"/>
              <a:gd name="connsiteX7" fmla="*/ 126914 w 6228216"/>
              <a:gd name="connsiteY7" fmla="*/ 3990835 h 5911748"/>
              <a:gd name="connsiteX8" fmla="*/ 199 w 6228216"/>
              <a:gd name="connsiteY8" fmla="*/ 3114000 h 5911748"/>
              <a:gd name="connsiteX0" fmla="*/ 199 w 6228216"/>
              <a:gd name="connsiteY0" fmla="*/ 3114000 h 5896162"/>
              <a:gd name="connsiteX1" fmla="*/ 3114199 w 6228216"/>
              <a:gd name="connsiteY1" fmla="*/ 0 h 5896162"/>
              <a:gd name="connsiteX2" fmla="*/ 6228199 w 6228216"/>
              <a:gd name="connsiteY2" fmla="*/ 3114000 h 5896162"/>
              <a:gd name="connsiteX3" fmla="*/ 4483482 w 6228216"/>
              <a:gd name="connsiteY3" fmla="*/ 5896162 h 5896162"/>
              <a:gd name="connsiteX4" fmla="*/ 4481338 w 6228216"/>
              <a:gd name="connsiteY4" fmla="*/ 4147888 h 5896162"/>
              <a:gd name="connsiteX5" fmla="*/ 4391670 w 6228216"/>
              <a:gd name="connsiteY5" fmla="*/ 3968895 h 5896162"/>
              <a:gd name="connsiteX6" fmla="*/ 194243 w 6228216"/>
              <a:gd name="connsiteY6" fmla="*/ 3968154 h 5896162"/>
              <a:gd name="connsiteX7" fmla="*/ 126914 w 6228216"/>
              <a:gd name="connsiteY7" fmla="*/ 3990835 h 5896162"/>
              <a:gd name="connsiteX8" fmla="*/ 199 w 6228216"/>
              <a:gd name="connsiteY8" fmla="*/ 3114000 h 5896162"/>
              <a:gd name="connsiteX0" fmla="*/ 199 w 6228216"/>
              <a:gd name="connsiteY0" fmla="*/ 3114000 h 5880575"/>
              <a:gd name="connsiteX1" fmla="*/ 3114199 w 6228216"/>
              <a:gd name="connsiteY1" fmla="*/ 0 h 5880575"/>
              <a:gd name="connsiteX2" fmla="*/ 6228199 w 6228216"/>
              <a:gd name="connsiteY2" fmla="*/ 3114000 h 5880575"/>
              <a:gd name="connsiteX3" fmla="*/ 4488677 w 6228216"/>
              <a:gd name="connsiteY3" fmla="*/ 5880575 h 5880575"/>
              <a:gd name="connsiteX4" fmla="*/ 4481338 w 6228216"/>
              <a:gd name="connsiteY4" fmla="*/ 4147888 h 5880575"/>
              <a:gd name="connsiteX5" fmla="*/ 4391670 w 6228216"/>
              <a:gd name="connsiteY5" fmla="*/ 3968895 h 5880575"/>
              <a:gd name="connsiteX6" fmla="*/ 194243 w 6228216"/>
              <a:gd name="connsiteY6" fmla="*/ 3968154 h 5880575"/>
              <a:gd name="connsiteX7" fmla="*/ 126914 w 6228216"/>
              <a:gd name="connsiteY7" fmla="*/ 3990835 h 5880575"/>
              <a:gd name="connsiteX8" fmla="*/ 199 w 6228216"/>
              <a:gd name="connsiteY8" fmla="*/ 3114000 h 5880575"/>
              <a:gd name="connsiteX0" fmla="*/ 199 w 6228216"/>
              <a:gd name="connsiteY0" fmla="*/ 3114000 h 5890966"/>
              <a:gd name="connsiteX1" fmla="*/ 3114199 w 6228216"/>
              <a:gd name="connsiteY1" fmla="*/ 0 h 5890966"/>
              <a:gd name="connsiteX2" fmla="*/ 6228199 w 6228216"/>
              <a:gd name="connsiteY2" fmla="*/ 3114000 h 5890966"/>
              <a:gd name="connsiteX3" fmla="*/ 4483481 w 6228216"/>
              <a:gd name="connsiteY3" fmla="*/ 5890966 h 5890966"/>
              <a:gd name="connsiteX4" fmla="*/ 4481338 w 6228216"/>
              <a:gd name="connsiteY4" fmla="*/ 4147888 h 5890966"/>
              <a:gd name="connsiteX5" fmla="*/ 4391670 w 6228216"/>
              <a:gd name="connsiteY5" fmla="*/ 3968895 h 5890966"/>
              <a:gd name="connsiteX6" fmla="*/ 194243 w 6228216"/>
              <a:gd name="connsiteY6" fmla="*/ 3968154 h 5890966"/>
              <a:gd name="connsiteX7" fmla="*/ 126914 w 6228216"/>
              <a:gd name="connsiteY7" fmla="*/ 3990835 h 5890966"/>
              <a:gd name="connsiteX8" fmla="*/ 199 w 6228216"/>
              <a:gd name="connsiteY8" fmla="*/ 3114000 h 5890966"/>
              <a:gd name="connsiteX0" fmla="*/ 207 w 6228224"/>
              <a:gd name="connsiteY0" fmla="*/ 3114000 h 5890966"/>
              <a:gd name="connsiteX1" fmla="*/ 3114207 w 6228224"/>
              <a:gd name="connsiteY1" fmla="*/ 0 h 5890966"/>
              <a:gd name="connsiteX2" fmla="*/ 6228207 w 6228224"/>
              <a:gd name="connsiteY2" fmla="*/ 3114000 h 5890966"/>
              <a:gd name="connsiteX3" fmla="*/ 4483489 w 6228224"/>
              <a:gd name="connsiteY3" fmla="*/ 5890966 h 5890966"/>
              <a:gd name="connsiteX4" fmla="*/ 4481346 w 6228224"/>
              <a:gd name="connsiteY4" fmla="*/ 4147888 h 5890966"/>
              <a:gd name="connsiteX5" fmla="*/ 4391678 w 6228224"/>
              <a:gd name="connsiteY5" fmla="*/ 3968895 h 5890966"/>
              <a:gd name="connsiteX6" fmla="*/ 194251 w 6228224"/>
              <a:gd name="connsiteY6" fmla="*/ 3968154 h 5890966"/>
              <a:gd name="connsiteX7" fmla="*/ 121726 w 6228224"/>
              <a:gd name="connsiteY7" fmla="*/ 3970053 h 5890966"/>
              <a:gd name="connsiteX8" fmla="*/ 207 w 6228224"/>
              <a:gd name="connsiteY8" fmla="*/ 3114000 h 5890966"/>
              <a:gd name="connsiteX0" fmla="*/ 207 w 6228224"/>
              <a:gd name="connsiteY0" fmla="*/ 3114000 h 5890966"/>
              <a:gd name="connsiteX1" fmla="*/ 3114207 w 6228224"/>
              <a:gd name="connsiteY1" fmla="*/ 0 h 5890966"/>
              <a:gd name="connsiteX2" fmla="*/ 6228207 w 6228224"/>
              <a:gd name="connsiteY2" fmla="*/ 3114000 h 5890966"/>
              <a:gd name="connsiteX3" fmla="*/ 4483489 w 6228224"/>
              <a:gd name="connsiteY3" fmla="*/ 5890966 h 5890966"/>
              <a:gd name="connsiteX4" fmla="*/ 4481346 w 6228224"/>
              <a:gd name="connsiteY4" fmla="*/ 4147888 h 5890966"/>
              <a:gd name="connsiteX5" fmla="*/ 4391678 w 6228224"/>
              <a:gd name="connsiteY5" fmla="*/ 3968895 h 5890966"/>
              <a:gd name="connsiteX6" fmla="*/ 199447 w 6228224"/>
              <a:gd name="connsiteY6" fmla="*/ 3947372 h 5890966"/>
              <a:gd name="connsiteX7" fmla="*/ 121726 w 6228224"/>
              <a:gd name="connsiteY7" fmla="*/ 3970053 h 5890966"/>
              <a:gd name="connsiteX8" fmla="*/ 207 w 6228224"/>
              <a:gd name="connsiteY8" fmla="*/ 3114000 h 5890966"/>
              <a:gd name="connsiteX0" fmla="*/ 207 w 6228224"/>
              <a:gd name="connsiteY0" fmla="*/ 3114000 h 5890966"/>
              <a:gd name="connsiteX1" fmla="*/ 3114207 w 6228224"/>
              <a:gd name="connsiteY1" fmla="*/ 0 h 5890966"/>
              <a:gd name="connsiteX2" fmla="*/ 6228207 w 6228224"/>
              <a:gd name="connsiteY2" fmla="*/ 3114000 h 5890966"/>
              <a:gd name="connsiteX3" fmla="*/ 4483489 w 6228224"/>
              <a:gd name="connsiteY3" fmla="*/ 5890966 h 5890966"/>
              <a:gd name="connsiteX4" fmla="*/ 4481346 w 6228224"/>
              <a:gd name="connsiteY4" fmla="*/ 4147888 h 5890966"/>
              <a:gd name="connsiteX5" fmla="*/ 4370896 w 6228224"/>
              <a:gd name="connsiteY5" fmla="*/ 3953309 h 5890966"/>
              <a:gd name="connsiteX6" fmla="*/ 199447 w 6228224"/>
              <a:gd name="connsiteY6" fmla="*/ 3947372 h 5890966"/>
              <a:gd name="connsiteX7" fmla="*/ 121726 w 6228224"/>
              <a:gd name="connsiteY7" fmla="*/ 3970053 h 5890966"/>
              <a:gd name="connsiteX8" fmla="*/ 207 w 6228224"/>
              <a:gd name="connsiteY8" fmla="*/ 3114000 h 5890966"/>
              <a:gd name="connsiteX0" fmla="*/ 207 w 6228224"/>
              <a:gd name="connsiteY0" fmla="*/ 3114000 h 5890966"/>
              <a:gd name="connsiteX1" fmla="*/ 3114207 w 6228224"/>
              <a:gd name="connsiteY1" fmla="*/ 0 h 5890966"/>
              <a:gd name="connsiteX2" fmla="*/ 6228207 w 6228224"/>
              <a:gd name="connsiteY2" fmla="*/ 3114000 h 5890966"/>
              <a:gd name="connsiteX3" fmla="*/ 4483489 w 6228224"/>
              <a:gd name="connsiteY3" fmla="*/ 5890966 h 5890966"/>
              <a:gd name="connsiteX4" fmla="*/ 4481346 w 6228224"/>
              <a:gd name="connsiteY4" fmla="*/ 4147888 h 5890966"/>
              <a:gd name="connsiteX5" fmla="*/ 4370896 w 6228224"/>
              <a:gd name="connsiteY5" fmla="*/ 3953309 h 5890966"/>
              <a:gd name="connsiteX6" fmla="*/ 199447 w 6228224"/>
              <a:gd name="connsiteY6" fmla="*/ 3947372 h 5890966"/>
              <a:gd name="connsiteX7" fmla="*/ 121726 w 6228224"/>
              <a:gd name="connsiteY7" fmla="*/ 3970053 h 5890966"/>
              <a:gd name="connsiteX8" fmla="*/ 207 w 6228224"/>
              <a:gd name="connsiteY8" fmla="*/ 3114000 h 5890966"/>
              <a:gd name="connsiteX0" fmla="*/ 207 w 6228224"/>
              <a:gd name="connsiteY0" fmla="*/ 3114000 h 5890966"/>
              <a:gd name="connsiteX1" fmla="*/ 3114207 w 6228224"/>
              <a:gd name="connsiteY1" fmla="*/ 0 h 5890966"/>
              <a:gd name="connsiteX2" fmla="*/ 6228207 w 6228224"/>
              <a:gd name="connsiteY2" fmla="*/ 3114000 h 5890966"/>
              <a:gd name="connsiteX3" fmla="*/ 4483489 w 6228224"/>
              <a:gd name="connsiteY3" fmla="*/ 5890966 h 5890966"/>
              <a:gd name="connsiteX4" fmla="*/ 4481346 w 6228224"/>
              <a:gd name="connsiteY4" fmla="*/ 4147888 h 5890966"/>
              <a:gd name="connsiteX5" fmla="*/ 4370896 w 6228224"/>
              <a:gd name="connsiteY5" fmla="*/ 3953309 h 5890966"/>
              <a:gd name="connsiteX6" fmla="*/ 199447 w 6228224"/>
              <a:gd name="connsiteY6" fmla="*/ 3947372 h 5890966"/>
              <a:gd name="connsiteX7" fmla="*/ 121726 w 6228224"/>
              <a:gd name="connsiteY7" fmla="*/ 3970053 h 5890966"/>
              <a:gd name="connsiteX8" fmla="*/ 207 w 6228224"/>
              <a:gd name="connsiteY8" fmla="*/ 3114000 h 5890966"/>
              <a:gd name="connsiteX0" fmla="*/ 207 w 6228224"/>
              <a:gd name="connsiteY0" fmla="*/ 3114000 h 5890966"/>
              <a:gd name="connsiteX1" fmla="*/ 3114207 w 6228224"/>
              <a:gd name="connsiteY1" fmla="*/ 0 h 5890966"/>
              <a:gd name="connsiteX2" fmla="*/ 6228207 w 6228224"/>
              <a:gd name="connsiteY2" fmla="*/ 3114000 h 5890966"/>
              <a:gd name="connsiteX3" fmla="*/ 4483489 w 6228224"/>
              <a:gd name="connsiteY3" fmla="*/ 5890966 h 5890966"/>
              <a:gd name="connsiteX4" fmla="*/ 4481346 w 6228224"/>
              <a:gd name="connsiteY4" fmla="*/ 4147888 h 5890966"/>
              <a:gd name="connsiteX5" fmla="*/ 4370896 w 6228224"/>
              <a:gd name="connsiteY5" fmla="*/ 3953309 h 5890966"/>
              <a:gd name="connsiteX6" fmla="*/ 213232 w 6228224"/>
              <a:gd name="connsiteY6" fmla="*/ 3947372 h 5890966"/>
              <a:gd name="connsiteX7" fmla="*/ 121726 w 6228224"/>
              <a:gd name="connsiteY7" fmla="*/ 3970053 h 5890966"/>
              <a:gd name="connsiteX8" fmla="*/ 207 w 6228224"/>
              <a:gd name="connsiteY8" fmla="*/ 3114000 h 5890966"/>
              <a:gd name="connsiteX0" fmla="*/ 207 w 6228224"/>
              <a:gd name="connsiteY0" fmla="*/ 3114000 h 5890966"/>
              <a:gd name="connsiteX1" fmla="*/ 3114207 w 6228224"/>
              <a:gd name="connsiteY1" fmla="*/ 0 h 5890966"/>
              <a:gd name="connsiteX2" fmla="*/ 6228207 w 6228224"/>
              <a:gd name="connsiteY2" fmla="*/ 3114000 h 5890966"/>
              <a:gd name="connsiteX3" fmla="*/ 4483489 w 6228224"/>
              <a:gd name="connsiteY3" fmla="*/ 5890966 h 5890966"/>
              <a:gd name="connsiteX4" fmla="*/ 4481346 w 6228224"/>
              <a:gd name="connsiteY4" fmla="*/ 4147888 h 5890966"/>
              <a:gd name="connsiteX5" fmla="*/ 4370896 w 6228224"/>
              <a:gd name="connsiteY5" fmla="*/ 3953309 h 5890966"/>
              <a:gd name="connsiteX6" fmla="*/ 213232 w 6228224"/>
              <a:gd name="connsiteY6" fmla="*/ 3947372 h 5890966"/>
              <a:gd name="connsiteX7" fmla="*/ 121726 w 6228224"/>
              <a:gd name="connsiteY7" fmla="*/ 3970053 h 5890966"/>
              <a:gd name="connsiteX8" fmla="*/ 207 w 6228224"/>
              <a:gd name="connsiteY8" fmla="*/ 3114000 h 5890966"/>
              <a:gd name="connsiteX0" fmla="*/ 207 w 6228224"/>
              <a:gd name="connsiteY0" fmla="*/ 3114000 h 5890966"/>
              <a:gd name="connsiteX1" fmla="*/ 3114207 w 6228224"/>
              <a:gd name="connsiteY1" fmla="*/ 0 h 5890966"/>
              <a:gd name="connsiteX2" fmla="*/ 6228207 w 6228224"/>
              <a:gd name="connsiteY2" fmla="*/ 3114000 h 5890966"/>
              <a:gd name="connsiteX3" fmla="*/ 4483489 w 6228224"/>
              <a:gd name="connsiteY3" fmla="*/ 5890966 h 5890966"/>
              <a:gd name="connsiteX4" fmla="*/ 4481346 w 6228224"/>
              <a:gd name="connsiteY4" fmla="*/ 4147888 h 5890966"/>
              <a:gd name="connsiteX5" fmla="*/ 4370896 w 6228224"/>
              <a:gd name="connsiteY5" fmla="*/ 3953309 h 5890966"/>
              <a:gd name="connsiteX6" fmla="*/ 227017 w 6228224"/>
              <a:gd name="connsiteY6" fmla="*/ 3938182 h 5890966"/>
              <a:gd name="connsiteX7" fmla="*/ 121726 w 6228224"/>
              <a:gd name="connsiteY7" fmla="*/ 3970053 h 5890966"/>
              <a:gd name="connsiteX8" fmla="*/ 207 w 6228224"/>
              <a:gd name="connsiteY8" fmla="*/ 3114000 h 5890966"/>
              <a:gd name="connsiteX0" fmla="*/ 207 w 6228224"/>
              <a:gd name="connsiteY0" fmla="*/ 3114000 h 5890966"/>
              <a:gd name="connsiteX1" fmla="*/ 3114207 w 6228224"/>
              <a:gd name="connsiteY1" fmla="*/ 0 h 5890966"/>
              <a:gd name="connsiteX2" fmla="*/ 6228207 w 6228224"/>
              <a:gd name="connsiteY2" fmla="*/ 3114000 h 5890966"/>
              <a:gd name="connsiteX3" fmla="*/ 4483489 w 6228224"/>
              <a:gd name="connsiteY3" fmla="*/ 5890966 h 5890966"/>
              <a:gd name="connsiteX4" fmla="*/ 4481346 w 6228224"/>
              <a:gd name="connsiteY4" fmla="*/ 4147888 h 5890966"/>
              <a:gd name="connsiteX5" fmla="*/ 4370896 w 6228224"/>
              <a:gd name="connsiteY5" fmla="*/ 3953309 h 5890966"/>
              <a:gd name="connsiteX6" fmla="*/ 227017 w 6228224"/>
              <a:gd name="connsiteY6" fmla="*/ 3938182 h 5890966"/>
              <a:gd name="connsiteX7" fmla="*/ 121726 w 6228224"/>
              <a:gd name="connsiteY7" fmla="*/ 3965458 h 5890966"/>
              <a:gd name="connsiteX8" fmla="*/ 207 w 6228224"/>
              <a:gd name="connsiteY8" fmla="*/ 3114000 h 5890966"/>
              <a:gd name="connsiteX0" fmla="*/ 207 w 6228224"/>
              <a:gd name="connsiteY0" fmla="*/ 3114000 h 5890966"/>
              <a:gd name="connsiteX1" fmla="*/ 3114207 w 6228224"/>
              <a:gd name="connsiteY1" fmla="*/ 0 h 5890966"/>
              <a:gd name="connsiteX2" fmla="*/ 6228207 w 6228224"/>
              <a:gd name="connsiteY2" fmla="*/ 3114000 h 5890966"/>
              <a:gd name="connsiteX3" fmla="*/ 4483489 w 6228224"/>
              <a:gd name="connsiteY3" fmla="*/ 5890966 h 5890966"/>
              <a:gd name="connsiteX4" fmla="*/ 4481346 w 6228224"/>
              <a:gd name="connsiteY4" fmla="*/ 4147888 h 5890966"/>
              <a:gd name="connsiteX5" fmla="*/ 4370896 w 6228224"/>
              <a:gd name="connsiteY5" fmla="*/ 3953309 h 5890966"/>
              <a:gd name="connsiteX6" fmla="*/ 227017 w 6228224"/>
              <a:gd name="connsiteY6" fmla="*/ 3938182 h 5890966"/>
              <a:gd name="connsiteX7" fmla="*/ 121726 w 6228224"/>
              <a:gd name="connsiteY7" fmla="*/ 3965458 h 5890966"/>
              <a:gd name="connsiteX8" fmla="*/ 207 w 6228224"/>
              <a:gd name="connsiteY8" fmla="*/ 3114000 h 5890966"/>
              <a:gd name="connsiteX0" fmla="*/ 214 w 6228231"/>
              <a:gd name="connsiteY0" fmla="*/ 3114000 h 5890966"/>
              <a:gd name="connsiteX1" fmla="*/ 3114214 w 6228231"/>
              <a:gd name="connsiteY1" fmla="*/ 0 h 5890966"/>
              <a:gd name="connsiteX2" fmla="*/ 6228214 w 6228231"/>
              <a:gd name="connsiteY2" fmla="*/ 3114000 h 5890966"/>
              <a:gd name="connsiteX3" fmla="*/ 4483496 w 6228231"/>
              <a:gd name="connsiteY3" fmla="*/ 5890966 h 5890966"/>
              <a:gd name="connsiteX4" fmla="*/ 4481353 w 6228231"/>
              <a:gd name="connsiteY4" fmla="*/ 4147888 h 5890966"/>
              <a:gd name="connsiteX5" fmla="*/ 4370903 w 6228231"/>
              <a:gd name="connsiteY5" fmla="*/ 3953309 h 5890966"/>
              <a:gd name="connsiteX6" fmla="*/ 227024 w 6228231"/>
              <a:gd name="connsiteY6" fmla="*/ 3938182 h 5890966"/>
              <a:gd name="connsiteX7" fmla="*/ 117138 w 6228231"/>
              <a:gd name="connsiteY7" fmla="*/ 3956268 h 5890966"/>
              <a:gd name="connsiteX8" fmla="*/ 214 w 6228231"/>
              <a:gd name="connsiteY8" fmla="*/ 3114000 h 58909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228231" h="5890966">
                <a:moveTo>
                  <a:pt x="214" y="3114000"/>
                </a:moveTo>
                <a:cubicBezTo>
                  <a:pt x="-4330" y="1411998"/>
                  <a:pt x="1394399" y="0"/>
                  <a:pt x="3114214" y="0"/>
                </a:cubicBezTo>
                <a:cubicBezTo>
                  <a:pt x="4834029" y="0"/>
                  <a:pt x="6228009" y="1324528"/>
                  <a:pt x="6228214" y="3114000"/>
                </a:cubicBezTo>
                <a:cubicBezTo>
                  <a:pt x="6232591" y="4448745"/>
                  <a:pt x="5391347" y="5466913"/>
                  <a:pt x="4483496" y="5890966"/>
                </a:cubicBezTo>
                <a:cubicBezTo>
                  <a:pt x="4470286" y="5884723"/>
                  <a:pt x="4490830" y="4173263"/>
                  <a:pt x="4481353" y="4147888"/>
                </a:cubicBezTo>
                <a:cubicBezTo>
                  <a:pt x="4476337" y="4153536"/>
                  <a:pt x="4500847" y="3989338"/>
                  <a:pt x="4370903" y="3953309"/>
                </a:cubicBezTo>
                <a:lnTo>
                  <a:pt x="227024" y="3938182"/>
                </a:lnTo>
                <a:cubicBezTo>
                  <a:pt x="229896" y="3935584"/>
                  <a:pt x="121453" y="3950046"/>
                  <a:pt x="117138" y="3956268"/>
                </a:cubicBezTo>
                <a:cubicBezTo>
                  <a:pt x="115621" y="3943562"/>
                  <a:pt x="-5779" y="3527224"/>
                  <a:pt x="214" y="3114000"/>
                </a:cubicBezTo>
                <a:close/>
              </a:path>
            </a:pathLst>
          </a:custGeom>
        </p:spPr>
        <p:txBody>
          <a:bodyPr/>
          <a:lstStyle>
            <a:lvl1pPr algn="ctr">
              <a:defRPr sz="1400" b="0">
                <a:solidFill>
                  <a:schemeClr val="bg1"/>
                </a:solidFill>
              </a:defRPr>
            </a:lvl1pPr>
          </a:lstStyle>
          <a:p>
            <a:endParaRPr lang="pt-BR"/>
          </a:p>
          <a:p>
            <a:r>
              <a:rPr lang="pt-BR"/>
              <a:t>Imagem</a:t>
            </a:r>
            <a:br>
              <a:rPr lang="pt-BR"/>
            </a:br>
            <a:r>
              <a:rPr lang="pt-BR"/>
              <a:t>(opcional)</a:t>
            </a:r>
          </a:p>
        </p:txBody>
      </p:sp>
      <p:sp>
        <p:nvSpPr>
          <p:cNvPr id="45" name="Espaço Reservado para Texto 44">
            <a:extLst>
              <a:ext uri="{FF2B5EF4-FFF2-40B4-BE49-F238E27FC236}">
                <a16:creationId xmlns:a16="http://schemas.microsoft.com/office/drawing/2014/main" id="{06E30179-074A-9B58-6298-46634017239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7238366" y="1329766"/>
            <a:ext cx="3385184" cy="1534684"/>
          </a:xfrm>
        </p:spPr>
        <p:txBody>
          <a:bodyPr>
            <a:noAutofit/>
          </a:bodyPr>
          <a:lstStyle>
            <a:lvl1pPr>
              <a:lnSpc>
                <a:spcPct val="120000"/>
              </a:lnSpc>
              <a:defRPr lang="pt-BR" sz="1200" b="0" i="0" u="none" strike="noStrike" kern="1200" cap="none" dirty="0" smtClean="0">
                <a:solidFill>
                  <a:schemeClr val="bg1"/>
                </a:solidFill>
                <a:latin typeface="+mn-lt"/>
                <a:ea typeface="Times New Roman" panose="02020603050405020304" pitchFamily="18" charset="0"/>
                <a:cs typeface="Arial"/>
                <a:sym typeface="Arial"/>
              </a:defRPr>
            </a:lvl1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7" name="Freeform: Shape 24">
            <a:extLst>
              <a:ext uri="{FF2B5EF4-FFF2-40B4-BE49-F238E27FC236}">
                <a16:creationId xmlns:a16="http://schemas.microsoft.com/office/drawing/2014/main" id="{FD415740-21AF-903C-1A5A-37F7E5CC6A3C}"/>
              </a:ext>
            </a:extLst>
          </p:cNvPr>
          <p:cNvSpPr/>
          <p:nvPr userDrawn="1"/>
        </p:nvSpPr>
        <p:spPr>
          <a:xfrm>
            <a:off x="2" y="3886414"/>
            <a:ext cx="2848573" cy="2965721"/>
          </a:xfrm>
          <a:custGeom>
            <a:avLst/>
            <a:gdLst>
              <a:gd name="connsiteX0" fmla="*/ 1162912 w 2848573"/>
              <a:gd name="connsiteY0" fmla="*/ 0 h 2965721"/>
              <a:gd name="connsiteX1" fmla="*/ 2848573 w 2848573"/>
              <a:gd name="connsiteY1" fmla="*/ 1685661 h 2965721"/>
              <a:gd name="connsiteX2" fmla="*/ 2354855 w 2848573"/>
              <a:gd name="connsiteY2" fmla="*/ 2877604 h 2965721"/>
              <a:gd name="connsiteX3" fmla="*/ 2257901 w 2848573"/>
              <a:gd name="connsiteY3" fmla="*/ 2965721 h 2965721"/>
              <a:gd name="connsiteX4" fmla="*/ 67924 w 2848573"/>
              <a:gd name="connsiteY4" fmla="*/ 2965721 h 2965721"/>
              <a:gd name="connsiteX5" fmla="*/ 0 w 2848573"/>
              <a:gd name="connsiteY5" fmla="*/ 2903988 h 2965721"/>
              <a:gd name="connsiteX6" fmla="*/ 0 w 2848573"/>
              <a:gd name="connsiteY6" fmla="*/ 467334 h 2965721"/>
              <a:gd name="connsiteX7" fmla="*/ 90675 w 2848573"/>
              <a:gd name="connsiteY7" fmla="*/ 384923 h 2965721"/>
              <a:gd name="connsiteX8" fmla="*/ 1162912 w 2848573"/>
              <a:gd name="connsiteY8" fmla="*/ 0 h 29657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848573" h="2965721">
                <a:moveTo>
                  <a:pt x="1162912" y="0"/>
                </a:moveTo>
                <a:cubicBezTo>
                  <a:pt x="2093877" y="0"/>
                  <a:pt x="2848573" y="754696"/>
                  <a:pt x="2848573" y="1685661"/>
                </a:cubicBezTo>
                <a:cubicBezTo>
                  <a:pt x="2848573" y="2151144"/>
                  <a:pt x="2659899" y="2572559"/>
                  <a:pt x="2354855" y="2877604"/>
                </a:cubicBezTo>
                <a:lnTo>
                  <a:pt x="2257901" y="2965721"/>
                </a:lnTo>
                <a:lnTo>
                  <a:pt x="67924" y="2965721"/>
                </a:lnTo>
                <a:lnTo>
                  <a:pt x="0" y="2903988"/>
                </a:lnTo>
                <a:lnTo>
                  <a:pt x="0" y="467334"/>
                </a:lnTo>
                <a:lnTo>
                  <a:pt x="90675" y="384923"/>
                </a:lnTo>
                <a:cubicBezTo>
                  <a:pt x="382057" y="144454"/>
                  <a:pt x="755615" y="0"/>
                  <a:pt x="1162912" y="0"/>
                </a:cubicBezTo>
                <a:close/>
              </a:path>
            </a:pathLst>
          </a:custGeom>
          <a:solidFill>
            <a:schemeClr val="accent2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 sz="1351"/>
          </a:p>
        </p:txBody>
      </p:sp>
      <p:sp>
        <p:nvSpPr>
          <p:cNvPr id="28" name="Espaço Reservado para Imagem 27">
            <a:extLst>
              <a:ext uri="{FF2B5EF4-FFF2-40B4-BE49-F238E27FC236}">
                <a16:creationId xmlns:a16="http://schemas.microsoft.com/office/drawing/2014/main" id="{548B2331-2676-10C2-7E01-D10F6FB4AAA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481687" y="995363"/>
            <a:ext cx="793750" cy="793750"/>
          </a:xfrm>
        </p:spPr>
        <p:txBody>
          <a:bodyPr>
            <a:normAutofit/>
          </a:bodyPr>
          <a:lstStyle>
            <a:lvl1pPr algn="ctr">
              <a:defRPr sz="1400">
                <a:solidFill>
                  <a:schemeClr val="tx1"/>
                </a:solidFill>
              </a:defRPr>
            </a:lvl1pPr>
          </a:lstStyle>
          <a:p>
            <a:r>
              <a:rPr lang="pt-BR"/>
              <a:t>Ícone</a:t>
            </a:r>
          </a:p>
        </p:txBody>
      </p:sp>
      <p:sp>
        <p:nvSpPr>
          <p:cNvPr id="38" name="Título">
            <a:extLst>
              <a:ext uri="{FF2B5EF4-FFF2-40B4-BE49-F238E27FC236}">
                <a16:creationId xmlns:a16="http://schemas.microsoft.com/office/drawing/2014/main" id="{ADB15B2B-2001-9E64-8B66-5FAC0E2E52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23244" y="1270707"/>
            <a:ext cx="4158456" cy="1281113"/>
          </a:xfrm>
        </p:spPr>
        <p:txBody>
          <a:bodyPr>
            <a:noAutofit/>
          </a:bodyPr>
          <a:lstStyle>
            <a:lvl1pPr marR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pt-BR" sz="3600" b="1" i="0" u="none" strike="noStrike" cap="none" spc="-100" dirty="0">
                <a:solidFill>
                  <a:schemeClr val="accent1"/>
                </a:solidFill>
                <a:latin typeface="+mj-lt"/>
                <a:ea typeface="Arial"/>
                <a:cs typeface="Arial"/>
                <a:sym typeface="Arial"/>
              </a:defRPr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40" name="Espaço Reservado para Texto 39">
            <a:extLst>
              <a:ext uri="{FF2B5EF4-FFF2-40B4-BE49-F238E27FC236}">
                <a16:creationId xmlns:a16="http://schemas.microsoft.com/office/drawing/2014/main" id="{A1760A25-CD4E-1960-08EE-258535BF939F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1823244" y="926629"/>
            <a:ext cx="4180096" cy="323211"/>
          </a:xfrm>
        </p:spPr>
        <p:txBody>
          <a:bodyPr lIns="126000">
            <a:noAutofit/>
          </a:bodyPr>
          <a:lstStyle>
            <a:lvl1pPr>
              <a:defRPr lang="pt-BR" sz="1100" b="0" i="0" u="none" strike="noStrike" kern="1200" cap="all" spc="100" baseline="0" dirty="0" smtClean="0">
                <a:solidFill>
                  <a:schemeClr val="tx2"/>
                </a:solidFill>
                <a:latin typeface="+mn-lt"/>
                <a:ea typeface="Times New Roman" panose="02020603050405020304" pitchFamily="18" charset="0"/>
                <a:cs typeface="Arial"/>
                <a:sym typeface="Arial"/>
              </a:defRPr>
            </a:lvl1pPr>
          </a:lstStyle>
          <a:p>
            <a:pPr lvl="0"/>
            <a:r>
              <a:rPr lang="pt-BR"/>
              <a:t>Clique para editar os estilos</a:t>
            </a:r>
          </a:p>
        </p:txBody>
      </p:sp>
      <p:sp>
        <p:nvSpPr>
          <p:cNvPr id="8" name="Rectangle: Rounded Corners 9">
            <a:extLst>
              <a:ext uri="{FF2B5EF4-FFF2-40B4-BE49-F238E27FC236}">
                <a16:creationId xmlns:a16="http://schemas.microsoft.com/office/drawing/2014/main" id="{19FBD3DF-538E-7884-58FD-04DC57DB7E80}"/>
              </a:ext>
            </a:extLst>
          </p:cNvPr>
          <p:cNvSpPr/>
          <p:nvPr userDrawn="1"/>
        </p:nvSpPr>
        <p:spPr>
          <a:xfrm>
            <a:off x="1568450" y="3571620"/>
            <a:ext cx="4434893" cy="2405063"/>
          </a:xfrm>
          <a:prstGeom prst="roundRect">
            <a:avLst>
              <a:gd name="adj" fmla="val 6259"/>
            </a:avLst>
          </a:prstGeom>
          <a:solidFill>
            <a:schemeClr val="bg1"/>
          </a:solidFill>
          <a:ln>
            <a:noFill/>
          </a:ln>
          <a:effectLst>
            <a:outerShdw blurRad="177800" dist="38100" dir="8100000" algn="tr" rotWithShape="0">
              <a:prstClr val="black">
                <a:alpha val="2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sz="1351"/>
          </a:p>
        </p:txBody>
      </p:sp>
      <p:sp>
        <p:nvSpPr>
          <p:cNvPr id="9" name="Rectangle: Rounded Corners 10">
            <a:extLst>
              <a:ext uri="{FF2B5EF4-FFF2-40B4-BE49-F238E27FC236}">
                <a16:creationId xmlns:a16="http://schemas.microsoft.com/office/drawing/2014/main" id="{AE95629A-85FB-D0D9-6F6F-A142203545A5}"/>
              </a:ext>
            </a:extLst>
          </p:cNvPr>
          <p:cNvSpPr/>
          <p:nvPr userDrawn="1"/>
        </p:nvSpPr>
        <p:spPr>
          <a:xfrm>
            <a:off x="6222183" y="3545643"/>
            <a:ext cx="4435200" cy="2431040"/>
          </a:xfrm>
          <a:custGeom>
            <a:avLst/>
            <a:gdLst>
              <a:gd name="connsiteX0" fmla="*/ 0 w 4435200"/>
              <a:gd name="connsiteY0" fmla="*/ 150533 h 2405063"/>
              <a:gd name="connsiteX1" fmla="*/ 150533 w 4435200"/>
              <a:gd name="connsiteY1" fmla="*/ 0 h 2405063"/>
              <a:gd name="connsiteX2" fmla="*/ 4284667 w 4435200"/>
              <a:gd name="connsiteY2" fmla="*/ 0 h 2405063"/>
              <a:gd name="connsiteX3" fmla="*/ 4435200 w 4435200"/>
              <a:gd name="connsiteY3" fmla="*/ 150533 h 2405063"/>
              <a:gd name="connsiteX4" fmla="*/ 4435200 w 4435200"/>
              <a:gd name="connsiteY4" fmla="*/ 2254530 h 2405063"/>
              <a:gd name="connsiteX5" fmla="*/ 4284667 w 4435200"/>
              <a:gd name="connsiteY5" fmla="*/ 2405063 h 2405063"/>
              <a:gd name="connsiteX6" fmla="*/ 150533 w 4435200"/>
              <a:gd name="connsiteY6" fmla="*/ 2405063 h 2405063"/>
              <a:gd name="connsiteX7" fmla="*/ 0 w 4435200"/>
              <a:gd name="connsiteY7" fmla="*/ 2254530 h 2405063"/>
              <a:gd name="connsiteX8" fmla="*/ 0 w 4435200"/>
              <a:gd name="connsiteY8" fmla="*/ 150533 h 2405063"/>
              <a:gd name="connsiteX0" fmla="*/ 0 w 4435200"/>
              <a:gd name="connsiteY0" fmla="*/ 150533 h 2405063"/>
              <a:gd name="connsiteX1" fmla="*/ 150533 w 4435200"/>
              <a:gd name="connsiteY1" fmla="*/ 0 h 2405063"/>
              <a:gd name="connsiteX2" fmla="*/ 4279472 w 4435200"/>
              <a:gd name="connsiteY2" fmla="*/ 0 h 2405063"/>
              <a:gd name="connsiteX3" fmla="*/ 4435200 w 4435200"/>
              <a:gd name="connsiteY3" fmla="*/ 150533 h 2405063"/>
              <a:gd name="connsiteX4" fmla="*/ 4435200 w 4435200"/>
              <a:gd name="connsiteY4" fmla="*/ 2254530 h 2405063"/>
              <a:gd name="connsiteX5" fmla="*/ 4284667 w 4435200"/>
              <a:gd name="connsiteY5" fmla="*/ 2405063 h 2405063"/>
              <a:gd name="connsiteX6" fmla="*/ 150533 w 4435200"/>
              <a:gd name="connsiteY6" fmla="*/ 2405063 h 2405063"/>
              <a:gd name="connsiteX7" fmla="*/ 0 w 4435200"/>
              <a:gd name="connsiteY7" fmla="*/ 2254530 h 2405063"/>
              <a:gd name="connsiteX8" fmla="*/ 0 w 4435200"/>
              <a:gd name="connsiteY8" fmla="*/ 150533 h 2405063"/>
              <a:gd name="connsiteX0" fmla="*/ 0 w 4435200"/>
              <a:gd name="connsiteY0" fmla="*/ 150533 h 2405063"/>
              <a:gd name="connsiteX1" fmla="*/ 150533 w 4435200"/>
              <a:gd name="connsiteY1" fmla="*/ 0 h 2405063"/>
              <a:gd name="connsiteX2" fmla="*/ 4253494 w 4435200"/>
              <a:gd name="connsiteY2" fmla="*/ 10391 h 2405063"/>
              <a:gd name="connsiteX3" fmla="*/ 4435200 w 4435200"/>
              <a:gd name="connsiteY3" fmla="*/ 150533 h 2405063"/>
              <a:gd name="connsiteX4" fmla="*/ 4435200 w 4435200"/>
              <a:gd name="connsiteY4" fmla="*/ 2254530 h 2405063"/>
              <a:gd name="connsiteX5" fmla="*/ 4284667 w 4435200"/>
              <a:gd name="connsiteY5" fmla="*/ 2405063 h 2405063"/>
              <a:gd name="connsiteX6" fmla="*/ 150533 w 4435200"/>
              <a:gd name="connsiteY6" fmla="*/ 2405063 h 2405063"/>
              <a:gd name="connsiteX7" fmla="*/ 0 w 4435200"/>
              <a:gd name="connsiteY7" fmla="*/ 2254530 h 2405063"/>
              <a:gd name="connsiteX8" fmla="*/ 0 w 4435200"/>
              <a:gd name="connsiteY8" fmla="*/ 150533 h 2405063"/>
              <a:gd name="connsiteX0" fmla="*/ 0 w 4435200"/>
              <a:gd name="connsiteY0" fmla="*/ 150533 h 2405063"/>
              <a:gd name="connsiteX1" fmla="*/ 150533 w 4435200"/>
              <a:gd name="connsiteY1" fmla="*/ 0 h 2405063"/>
              <a:gd name="connsiteX2" fmla="*/ 4295058 w 4435200"/>
              <a:gd name="connsiteY2" fmla="*/ 5195 h 2405063"/>
              <a:gd name="connsiteX3" fmla="*/ 4435200 w 4435200"/>
              <a:gd name="connsiteY3" fmla="*/ 150533 h 2405063"/>
              <a:gd name="connsiteX4" fmla="*/ 4435200 w 4435200"/>
              <a:gd name="connsiteY4" fmla="*/ 2254530 h 2405063"/>
              <a:gd name="connsiteX5" fmla="*/ 4284667 w 4435200"/>
              <a:gd name="connsiteY5" fmla="*/ 2405063 h 2405063"/>
              <a:gd name="connsiteX6" fmla="*/ 150533 w 4435200"/>
              <a:gd name="connsiteY6" fmla="*/ 2405063 h 2405063"/>
              <a:gd name="connsiteX7" fmla="*/ 0 w 4435200"/>
              <a:gd name="connsiteY7" fmla="*/ 2254530 h 2405063"/>
              <a:gd name="connsiteX8" fmla="*/ 0 w 4435200"/>
              <a:gd name="connsiteY8" fmla="*/ 150533 h 2405063"/>
              <a:gd name="connsiteX0" fmla="*/ 0 w 4435200"/>
              <a:gd name="connsiteY0" fmla="*/ 150533 h 2405063"/>
              <a:gd name="connsiteX1" fmla="*/ 150533 w 4435200"/>
              <a:gd name="connsiteY1" fmla="*/ 0 h 2405063"/>
              <a:gd name="connsiteX2" fmla="*/ 4315839 w 4435200"/>
              <a:gd name="connsiteY2" fmla="*/ 5195 h 2405063"/>
              <a:gd name="connsiteX3" fmla="*/ 4435200 w 4435200"/>
              <a:gd name="connsiteY3" fmla="*/ 150533 h 2405063"/>
              <a:gd name="connsiteX4" fmla="*/ 4435200 w 4435200"/>
              <a:gd name="connsiteY4" fmla="*/ 2254530 h 2405063"/>
              <a:gd name="connsiteX5" fmla="*/ 4284667 w 4435200"/>
              <a:gd name="connsiteY5" fmla="*/ 2405063 h 2405063"/>
              <a:gd name="connsiteX6" fmla="*/ 150533 w 4435200"/>
              <a:gd name="connsiteY6" fmla="*/ 2405063 h 2405063"/>
              <a:gd name="connsiteX7" fmla="*/ 0 w 4435200"/>
              <a:gd name="connsiteY7" fmla="*/ 2254530 h 2405063"/>
              <a:gd name="connsiteX8" fmla="*/ 0 w 4435200"/>
              <a:gd name="connsiteY8" fmla="*/ 150533 h 2405063"/>
              <a:gd name="connsiteX0" fmla="*/ 0 w 4435200"/>
              <a:gd name="connsiteY0" fmla="*/ 155729 h 2410259"/>
              <a:gd name="connsiteX1" fmla="*/ 150533 w 4435200"/>
              <a:gd name="connsiteY1" fmla="*/ 0 h 2410259"/>
              <a:gd name="connsiteX2" fmla="*/ 4315839 w 4435200"/>
              <a:gd name="connsiteY2" fmla="*/ 10391 h 2410259"/>
              <a:gd name="connsiteX3" fmla="*/ 4435200 w 4435200"/>
              <a:gd name="connsiteY3" fmla="*/ 155729 h 2410259"/>
              <a:gd name="connsiteX4" fmla="*/ 4435200 w 4435200"/>
              <a:gd name="connsiteY4" fmla="*/ 2259726 h 2410259"/>
              <a:gd name="connsiteX5" fmla="*/ 4284667 w 4435200"/>
              <a:gd name="connsiteY5" fmla="*/ 2410259 h 2410259"/>
              <a:gd name="connsiteX6" fmla="*/ 150533 w 4435200"/>
              <a:gd name="connsiteY6" fmla="*/ 2410259 h 2410259"/>
              <a:gd name="connsiteX7" fmla="*/ 0 w 4435200"/>
              <a:gd name="connsiteY7" fmla="*/ 2259726 h 2410259"/>
              <a:gd name="connsiteX8" fmla="*/ 0 w 4435200"/>
              <a:gd name="connsiteY8" fmla="*/ 155729 h 2410259"/>
              <a:gd name="connsiteX0" fmla="*/ 0 w 4435200"/>
              <a:gd name="connsiteY0" fmla="*/ 155729 h 2410259"/>
              <a:gd name="connsiteX1" fmla="*/ 150533 w 4435200"/>
              <a:gd name="connsiteY1" fmla="*/ 0 h 2410259"/>
              <a:gd name="connsiteX2" fmla="*/ 4315839 w 4435200"/>
              <a:gd name="connsiteY2" fmla="*/ 5196 h 2410259"/>
              <a:gd name="connsiteX3" fmla="*/ 4435200 w 4435200"/>
              <a:gd name="connsiteY3" fmla="*/ 155729 h 2410259"/>
              <a:gd name="connsiteX4" fmla="*/ 4435200 w 4435200"/>
              <a:gd name="connsiteY4" fmla="*/ 2259726 h 2410259"/>
              <a:gd name="connsiteX5" fmla="*/ 4284667 w 4435200"/>
              <a:gd name="connsiteY5" fmla="*/ 2410259 h 2410259"/>
              <a:gd name="connsiteX6" fmla="*/ 150533 w 4435200"/>
              <a:gd name="connsiteY6" fmla="*/ 2410259 h 2410259"/>
              <a:gd name="connsiteX7" fmla="*/ 0 w 4435200"/>
              <a:gd name="connsiteY7" fmla="*/ 2259726 h 2410259"/>
              <a:gd name="connsiteX8" fmla="*/ 0 w 4435200"/>
              <a:gd name="connsiteY8" fmla="*/ 155729 h 2410259"/>
              <a:gd name="connsiteX0" fmla="*/ 0 w 4435200"/>
              <a:gd name="connsiteY0" fmla="*/ 160924 h 2415454"/>
              <a:gd name="connsiteX1" fmla="*/ 150533 w 4435200"/>
              <a:gd name="connsiteY1" fmla="*/ 5195 h 2415454"/>
              <a:gd name="connsiteX2" fmla="*/ 4321035 w 4435200"/>
              <a:gd name="connsiteY2" fmla="*/ 0 h 2415454"/>
              <a:gd name="connsiteX3" fmla="*/ 4435200 w 4435200"/>
              <a:gd name="connsiteY3" fmla="*/ 160924 h 2415454"/>
              <a:gd name="connsiteX4" fmla="*/ 4435200 w 4435200"/>
              <a:gd name="connsiteY4" fmla="*/ 2264921 h 2415454"/>
              <a:gd name="connsiteX5" fmla="*/ 4284667 w 4435200"/>
              <a:gd name="connsiteY5" fmla="*/ 2415454 h 2415454"/>
              <a:gd name="connsiteX6" fmla="*/ 150533 w 4435200"/>
              <a:gd name="connsiteY6" fmla="*/ 2415454 h 2415454"/>
              <a:gd name="connsiteX7" fmla="*/ 0 w 4435200"/>
              <a:gd name="connsiteY7" fmla="*/ 2264921 h 2415454"/>
              <a:gd name="connsiteX8" fmla="*/ 0 w 4435200"/>
              <a:gd name="connsiteY8" fmla="*/ 160924 h 2415454"/>
              <a:gd name="connsiteX0" fmla="*/ 0 w 4435200"/>
              <a:gd name="connsiteY0" fmla="*/ 176510 h 2431040"/>
              <a:gd name="connsiteX1" fmla="*/ 155729 w 4435200"/>
              <a:gd name="connsiteY1" fmla="*/ 0 h 2431040"/>
              <a:gd name="connsiteX2" fmla="*/ 4321035 w 4435200"/>
              <a:gd name="connsiteY2" fmla="*/ 15586 h 2431040"/>
              <a:gd name="connsiteX3" fmla="*/ 4435200 w 4435200"/>
              <a:gd name="connsiteY3" fmla="*/ 176510 h 2431040"/>
              <a:gd name="connsiteX4" fmla="*/ 4435200 w 4435200"/>
              <a:gd name="connsiteY4" fmla="*/ 2280507 h 2431040"/>
              <a:gd name="connsiteX5" fmla="*/ 4284667 w 4435200"/>
              <a:gd name="connsiteY5" fmla="*/ 2431040 h 2431040"/>
              <a:gd name="connsiteX6" fmla="*/ 150533 w 4435200"/>
              <a:gd name="connsiteY6" fmla="*/ 2431040 h 2431040"/>
              <a:gd name="connsiteX7" fmla="*/ 0 w 4435200"/>
              <a:gd name="connsiteY7" fmla="*/ 2280507 h 2431040"/>
              <a:gd name="connsiteX8" fmla="*/ 0 w 4435200"/>
              <a:gd name="connsiteY8" fmla="*/ 176510 h 2431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435200" h="2431040">
                <a:moveTo>
                  <a:pt x="0" y="176510"/>
                </a:moveTo>
                <a:cubicBezTo>
                  <a:pt x="0" y="93373"/>
                  <a:pt x="72592" y="0"/>
                  <a:pt x="155729" y="0"/>
                </a:cubicBezTo>
                <a:lnTo>
                  <a:pt x="4321035" y="15586"/>
                </a:lnTo>
                <a:cubicBezTo>
                  <a:pt x="4404172" y="15586"/>
                  <a:pt x="4435200" y="93373"/>
                  <a:pt x="4435200" y="176510"/>
                </a:cubicBezTo>
                <a:lnTo>
                  <a:pt x="4435200" y="2280507"/>
                </a:lnTo>
                <a:cubicBezTo>
                  <a:pt x="4435200" y="2363644"/>
                  <a:pt x="4367804" y="2431040"/>
                  <a:pt x="4284667" y="2431040"/>
                </a:cubicBezTo>
                <a:lnTo>
                  <a:pt x="150533" y="2431040"/>
                </a:lnTo>
                <a:cubicBezTo>
                  <a:pt x="67396" y="2431040"/>
                  <a:pt x="0" y="2363644"/>
                  <a:pt x="0" y="2280507"/>
                </a:cubicBezTo>
                <a:lnTo>
                  <a:pt x="0" y="17651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blurRad="177800" dist="38100" dir="8100000" algn="tr" rotWithShape="0">
              <a:prstClr val="black">
                <a:alpha val="2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sz="1351"/>
          </a:p>
        </p:txBody>
      </p:sp>
      <p:sp>
        <p:nvSpPr>
          <p:cNvPr id="25" name="Espaço Reservado para Texto 24">
            <a:extLst>
              <a:ext uri="{FF2B5EF4-FFF2-40B4-BE49-F238E27FC236}">
                <a16:creationId xmlns:a16="http://schemas.microsoft.com/office/drawing/2014/main" id="{F23AF8C6-F807-A43D-E470-FC73BC02AD1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811338" y="2698751"/>
            <a:ext cx="1949844" cy="1052513"/>
          </a:xfrm>
        </p:spPr>
        <p:txBody>
          <a:bodyPr lIns="0">
            <a:noAutofit/>
          </a:bodyPr>
          <a:lstStyle>
            <a:lvl1pPr marR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pt-BR" sz="6000" b="1" i="0" u="none" strike="noStrike" cap="none" dirty="0">
                <a:solidFill>
                  <a:srgbClr val="DAD8D8"/>
                </a:solidFill>
                <a:latin typeface="+mj-lt"/>
                <a:ea typeface="Times New Roman" panose="02020603050405020304" pitchFamily="18" charset="0"/>
                <a:cs typeface="Arial"/>
                <a:sym typeface="Arial"/>
              </a:defRPr>
            </a:lvl1pPr>
          </a:lstStyle>
          <a:p>
            <a:pPr lvl="0"/>
            <a:r>
              <a:rPr lang="pt-BR"/>
              <a:t>#</a:t>
            </a:r>
          </a:p>
        </p:txBody>
      </p:sp>
      <p:sp>
        <p:nvSpPr>
          <p:cNvPr id="30" name="Espaço Reservado para Texto 29">
            <a:extLst>
              <a:ext uri="{FF2B5EF4-FFF2-40B4-BE49-F238E27FC236}">
                <a16:creationId xmlns:a16="http://schemas.microsoft.com/office/drawing/2014/main" id="{9D491E22-92EA-618D-BAF8-776849CE7C7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811338" y="3911570"/>
            <a:ext cx="3516312" cy="312738"/>
          </a:xfrm>
        </p:spPr>
        <p:txBody>
          <a:bodyPr>
            <a:normAutofit/>
          </a:bodyPr>
          <a:lstStyle>
            <a:lvl1pPr marR="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pt-BR" sz="1400" b="1" i="0" u="none" strike="noStrike" cap="none" dirty="0" smtClean="0">
                <a:solidFill>
                  <a:schemeClr val="tx2"/>
                </a:solidFill>
                <a:latin typeface="+mj-lt"/>
                <a:ea typeface="Times New Roman" panose="02020603050405020304" pitchFamily="18" charset="0"/>
                <a:cs typeface="Arial"/>
                <a:sym typeface="Arial"/>
              </a:defRPr>
            </a:lvl1pPr>
          </a:lstStyle>
          <a:p>
            <a:pPr lvl="0"/>
            <a:r>
              <a:rPr lang="pt-BR"/>
              <a:t>Clique para editar os estilos</a:t>
            </a:r>
          </a:p>
        </p:txBody>
      </p:sp>
      <p:sp>
        <p:nvSpPr>
          <p:cNvPr id="31" name="Espaço Reservado para Texto 29">
            <a:extLst>
              <a:ext uri="{FF2B5EF4-FFF2-40B4-BE49-F238E27FC236}">
                <a16:creationId xmlns:a16="http://schemas.microsoft.com/office/drawing/2014/main" id="{BDD87BC4-5DA3-8DE4-6EB4-09DF200DC55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432764" y="3911570"/>
            <a:ext cx="3516312" cy="312738"/>
          </a:xfrm>
        </p:spPr>
        <p:txBody>
          <a:bodyPr>
            <a:normAutofit/>
          </a:bodyPr>
          <a:lstStyle>
            <a:lvl1pPr marR="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pt-BR" sz="1400" b="1" i="0" u="none" strike="noStrike" cap="none" dirty="0" smtClean="0">
                <a:solidFill>
                  <a:schemeClr val="tx2"/>
                </a:solidFill>
                <a:latin typeface="+mj-lt"/>
                <a:ea typeface="Times New Roman" panose="02020603050405020304" pitchFamily="18" charset="0"/>
                <a:cs typeface="Arial"/>
                <a:sym typeface="Arial"/>
              </a:defRPr>
            </a:lvl1pPr>
          </a:lstStyle>
          <a:p>
            <a:pPr lvl="0"/>
            <a:r>
              <a:rPr lang="pt-BR"/>
              <a:t>Clique para editar os estilos</a:t>
            </a:r>
          </a:p>
        </p:txBody>
      </p:sp>
      <p:sp>
        <p:nvSpPr>
          <p:cNvPr id="33" name="Espaço Reservado para Texto 32">
            <a:extLst>
              <a:ext uri="{FF2B5EF4-FFF2-40B4-BE49-F238E27FC236}">
                <a16:creationId xmlns:a16="http://schemas.microsoft.com/office/drawing/2014/main" id="{5B90BA16-3647-7EE4-E8E7-A0663719D6B1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823244" y="4284878"/>
            <a:ext cx="3516312" cy="1370013"/>
          </a:xfrm>
        </p:spPr>
        <p:txBody>
          <a:bodyPr>
            <a:normAutofit/>
          </a:bodyPr>
          <a:lstStyle>
            <a:lvl1pPr marR="0" algn="l" rtl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pt-BR" sz="1200" b="0" i="0" u="none" strike="noStrike" cap="none" dirty="0" smtClean="0">
                <a:solidFill>
                  <a:schemeClr val="tx2"/>
                </a:solidFill>
                <a:latin typeface="+mn-lt"/>
                <a:ea typeface="Times New Roman" panose="02020603050405020304" pitchFamily="18" charset="0"/>
                <a:cs typeface="Arial"/>
                <a:sym typeface="Arial"/>
              </a:defRPr>
            </a:lvl1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34" name="Espaço Reservado para Texto 32">
            <a:extLst>
              <a:ext uri="{FF2B5EF4-FFF2-40B4-BE49-F238E27FC236}">
                <a16:creationId xmlns:a16="http://schemas.microsoft.com/office/drawing/2014/main" id="{20BD869A-4B19-32B8-B2D1-E173FCFC9965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432315" y="4284878"/>
            <a:ext cx="3516312" cy="1370013"/>
          </a:xfrm>
        </p:spPr>
        <p:txBody>
          <a:bodyPr>
            <a:normAutofit/>
          </a:bodyPr>
          <a:lstStyle>
            <a:lvl1pPr marR="0" algn="l" rtl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pt-BR" sz="1200" b="0" i="0" u="none" strike="noStrike" cap="none" dirty="0" smtClean="0">
                <a:solidFill>
                  <a:schemeClr val="tx2"/>
                </a:solidFill>
                <a:latin typeface="+mn-lt"/>
                <a:ea typeface="Times New Roman" panose="02020603050405020304" pitchFamily="18" charset="0"/>
                <a:cs typeface="Arial"/>
                <a:sym typeface="Arial"/>
              </a:defRPr>
            </a:lvl1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36" name="Espaço Reservado para Imagem 35">
            <a:extLst>
              <a:ext uri="{FF2B5EF4-FFF2-40B4-BE49-F238E27FC236}">
                <a16:creationId xmlns:a16="http://schemas.microsoft.com/office/drawing/2014/main" id="{BDB52A58-E55C-9C98-C52A-346308CB97DB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5397500" y="3803683"/>
            <a:ext cx="481013" cy="479425"/>
          </a:xfrm>
        </p:spPr>
        <p:txBody>
          <a:bodyPr>
            <a:normAutofit/>
          </a:bodyPr>
          <a:lstStyle>
            <a:lvl1pPr algn="ctr">
              <a:defRPr sz="800"/>
            </a:lvl1pPr>
          </a:lstStyle>
          <a:p>
            <a:r>
              <a:rPr lang="pt-BR"/>
              <a:t>Ícone</a:t>
            </a:r>
          </a:p>
        </p:txBody>
      </p:sp>
      <p:sp>
        <p:nvSpPr>
          <p:cNvPr id="37" name="Espaço Reservado para Imagem 35">
            <a:extLst>
              <a:ext uri="{FF2B5EF4-FFF2-40B4-BE49-F238E27FC236}">
                <a16:creationId xmlns:a16="http://schemas.microsoft.com/office/drawing/2014/main" id="{C1628873-D7CE-181B-53FE-C45F4CA950AA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9957144" y="3803683"/>
            <a:ext cx="481013" cy="479425"/>
          </a:xfrm>
        </p:spPr>
        <p:txBody>
          <a:bodyPr>
            <a:normAutofit/>
          </a:bodyPr>
          <a:lstStyle>
            <a:lvl1pPr algn="ctr">
              <a:defRPr sz="800"/>
            </a:lvl1pPr>
          </a:lstStyle>
          <a:p>
            <a:r>
              <a:rPr lang="pt-BR"/>
              <a:t>Ícone</a:t>
            </a:r>
          </a:p>
        </p:txBody>
      </p:sp>
      <p:sp>
        <p:nvSpPr>
          <p:cNvPr id="26" name="Espaço Reservado para Texto 24">
            <a:extLst>
              <a:ext uri="{FF2B5EF4-FFF2-40B4-BE49-F238E27FC236}">
                <a16:creationId xmlns:a16="http://schemas.microsoft.com/office/drawing/2014/main" id="{78C5B9BC-23BA-9D40-0EFB-FD4839B9D61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23289" y="2698751"/>
            <a:ext cx="1971675" cy="1052513"/>
          </a:xfrm>
        </p:spPr>
        <p:txBody>
          <a:bodyPr lIns="0">
            <a:noAutofit/>
          </a:bodyPr>
          <a:lstStyle>
            <a:lvl1pPr marR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pt-BR" sz="6000" b="1" i="0" u="none" strike="noStrike" cap="none" dirty="0">
                <a:solidFill>
                  <a:srgbClr val="DAD8D8"/>
                </a:solidFill>
                <a:latin typeface="+mj-lt"/>
                <a:ea typeface="Times New Roman" panose="02020603050405020304" pitchFamily="18" charset="0"/>
                <a:cs typeface="Arial"/>
                <a:sym typeface="Arial"/>
              </a:defRPr>
            </a:lvl1pPr>
          </a:lstStyle>
          <a:p>
            <a:pPr lvl="0"/>
            <a:r>
              <a:rPr lang="pt-BR"/>
              <a:t>#</a:t>
            </a:r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5195C0EA-8668-632B-6E8C-C7C8464EF94B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1824038" y="2372411"/>
            <a:ext cx="4157662" cy="727075"/>
          </a:xfrm>
        </p:spPr>
        <p:txBody>
          <a:bodyPr>
            <a:normAutofit/>
          </a:bodyPr>
          <a:lstStyle>
            <a:lvl1pPr marR="0" algn="l" rtl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pt-BR" sz="1200" b="0" i="0" u="none" strike="noStrike" cap="none" dirty="0" smtClean="0">
                <a:solidFill>
                  <a:schemeClr val="tx2"/>
                </a:solidFill>
                <a:latin typeface="+mn-lt"/>
                <a:ea typeface="Times New Roman" panose="02020603050405020304" pitchFamily="18" charset="0"/>
                <a:cs typeface="Arial"/>
                <a:sym typeface="Arial"/>
              </a:defRPr>
            </a:lvl1pPr>
          </a:lstStyle>
          <a:p>
            <a:pPr lvl="0"/>
            <a:r>
              <a:rPr lang="pt-BR"/>
              <a:t>Clique para editar os estilos de texto Mestres</a:t>
            </a:r>
          </a:p>
        </p:txBody>
      </p:sp>
    </p:spTree>
    <p:extLst>
      <p:ext uri="{BB962C8B-B14F-4D97-AF65-F5344CB8AC3E}">
        <p14:creationId xmlns:p14="http://schemas.microsoft.com/office/powerpoint/2010/main" val="4089828404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ço Reservado para Texto 6">
            <a:extLst>
              <a:ext uri="{FF2B5EF4-FFF2-40B4-BE49-F238E27FC236}">
                <a16:creationId xmlns:a16="http://schemas.microsoft.com/office/drawing/2014/main" id="{D6F85BE3-183D-1F4D-9986-5566BC05916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429125" y="602332"/>
            <a:ext cx="6832600" cy="447675"/>
          </a:xfrm>
        </p:spPr>
        <p:txBody>
          <a:bodyPr lIns="126000">
            <a:normAutofit/>
          </a:bodyPr>
          <a:lstStyle>
            <a:lvl1pPr>
              <a:lnSpc>
                <a:spcPct val="100000"/>
              </a:lnSpc>
              <a:defRPr sz="1100" b="0" cap="all" spc="100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endParaRPr lang="pt-BR"/>
          </a:p>
        </p:txBody>
      </p:sp>
      <p:sp>
        <p:nvSpPr>
          <p:cNvPr id="8" name="Título 7">
            <a:extLst>
              <a:ext uri="{FF2B5EF4-FFF2-40B4-BE49-F238E27FC236}">
                <a16:creationId xmlns:a16="http://schemas.microsoft.com/office/drawing/2014/main" id="{850B399A-346B-51E3-1A92-253CADB724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45000" y="865524"/>
            <a:ext cx="6832600" cy="447676"/>
          </a:xfrm>
        </p:spPr>
        <p:txBody>
          <a:bodyPr anchor="t">
            <a:noAutofit/>
          </a:bodyPr>
          <a:lstStyle>
            <a:lvl1pPr>
              <a:defRPr sz="3600" b="1" spc="-100" baseline="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10" name="Espaço Reservado para Texto 9">
            <a:extLst>
              <a:ext uri="{FF2B5EF4-FFF2-40B4-BE49-F238E27FC236}">
                <a16:creationId xmlns:a16="http://schemas.microsoft.com/office/drawing/2014/main" id="{A4BD41B5-820C-FB18-CD31-121F93FBE6B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445000" y="2090738"/>
            <a:ext cx="6832600" cy="4132846"/>
          </a:xfrm>
        </p:spPr>
        <p:txBody>
          <a:bodyPr>
            <a:noAutofit/>
          </a:bodyPr>
          <a:lstStyle>
            <a:lvl1pPr marL="0" indent="0">
              <a:lnSpc>
                <a:spcPct val="110000"/>
              </a:lnSpc>
              <a:spcBef>
                <a:spcPts val="2000"/>
              </a:spcBef>
              <a:spcAft>
                <a:spcPts val="500"/>
              </a:spcAft>
              <a:buFont typeface="Arial" panose="020B0604020202020204" pitchFamily="34" charset="0"/>
              <a:buNone/>
              <a:defRPr sz="1600" b="1" u="none">
                <a:solidFill>
                  <a:schemeClr val="accent2"/>
                </a:solidFill>
              </a:defRPr>
            </a:lvl1pPr>
            <a:lvl2pPr marL="0" indent="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None/>
              <a:defRPr sz="1400"/>
            </a:lvl2pPr>
            <a:lvl3pPr marL="792000" indent="-288000">
              <a:lnSpc>
                <a:spcPct val="110000"/>
              </a:lnSpc>
              <a:spcBef>
                <a:spcPts val="500"/>
              </a:spcBef>
              <a:spcAft>
                <a:spcPts val="0"/>
              </a:spcAft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400">
                <a:solidFill>
                  <a:schemeClr val="tx2"/>
                </a:solidFill>
              </a:defRPr>
            </a:lvl3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endParaRPr lang="pt-BR"/>
          </a:p>
        </p:txBody>
      </p:sp>
      <p:pic>
        <p:nvPicPr>
          <p:cNvPr id="2" name="Gráfico 1">
            <a:extLst>
              <a:ext uri="{FF2B5EF4-FFF2-40B4-BE49-F238E27FC236}">
                <a16:creationId xmlns:a16="http://schemas.microsoft.com/office/drawing/2014/main" id="{A8EC6370-4927-C92F-ACF0-D1E7FF52C1D9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-4731040" y="-591489"/>
            <a:ext cx="8040978" cy="80409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657089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Espaço Reservado para Imagem 19">
            <a:extLst>
              <a:ext uri="{FF2B5EF4-FFF2-40B4-BE49-F238E27FC236}">
                <a16:creationId xmlns:a16="http://schemas.microsoft.com/office/drawing/2014/main" id="{F9F2879B-1708-B68F-540E-494C085AD71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28390" y="1527646"/>
            <a:ext cx="4170660" cy="4170660"/>
          </a:xfrm>
          <a:prstGeom prst="ellipse">
            <a:avLst/>
          </a:prstGeom>
        </p:spPr>
        <p:txBody>
          <a:bodyPr/>
          <a:lstStyle>
            <a:lvl1pPr algn="ctr">
              <a:defRPr/>
            </a:lvl1pPr>
          </a:lstStyle>
          <a:p>
            <a:endParaRPr lang="pt-BR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59647610-F492-48EE-CCB8-AD39FEEDC7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10300" y="2816225"/>
            <a:ext cx="5067300" cy="1281113"/>
          </a:xfrm>
        </p:spPr>
        <p:txBody>
          <a:bodyPr>
            <a:noAutofit/>
          </a:bodyPr>
          <a:lstStyle>
            <a:lvl1pPr>
              <a:lnSpc>
                <a:spcPct val="85000"/>
              </a:lnSpc>
              <a:defRPr lang="pt-BR" sz="4800" b="1" i="0" u="none" strike="noStrike" cap="none" dirty="0">
                <a:solidFill>
                  <a:schemeClr val="accent1"/>
                </a:solidFill>
                <a:latin typeface="+mj-lt"/>
                <a:ea typeface="Arial"/>
                <a:cs typeface="Poppins" panose="00000500000000000000" pitchFamily="2" charset="0"/>
                <a:sym typeface="Arial"/>
              </a:defRPr>
            </a:lvl1pPr>
          </a:lstStyle>
          <a:p>
            <a:r>
              <a:rPr lang="pt-BR"/>
              <a:t>Clique para editar o título</a:t>
            </a:r>
          </a:p>
        </p:txBody>
      </p:sp>
      <p:sp>
        <p:nvSpPr>
          <p:cNvPr id="3" name="Espaço Reservado para Data 2">
            <a:extLst>
              <a:ext uri="{FF2B5EF4-FFF2-40B4-BE49-F238E27FC236}">
                <a16:creationId xmlns:a16="http://schemas.microsoft.com/office/drawing/2014/main" id="{5AD957BC-C55B-0228-16B7-203A5986158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14400" y="6356350"/>
            <a:ext cx="2667000" cy="365125"/>
          </a:xfrm>
          <a:prstGeom prst="rect">
            <a:avLst/>
          </a:prstGeom>
        </p:spPr>
        <p:txBody>
          <a:bodyPr/>
          <a:lstStyle/>
          <a:p>
            <a:fld id="{3E6DD1D3-15F5-4616-A348-AC448C8A14AB}" type="datetimeFigureOut">
              <a:rPr lang="pt-BR" smtClean="0"/>
              <a:t>16/01/2026</a:t>
            </a:fld>
            <a:endParaRPr lang="pt-BR"/>
          </a:p>
        </p:txBody>
      </p:sp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54899489-77E4-8AF7-E1D1-B8CA56026A6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pt-BR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99760599-4CA6-3D27-2B73-A6CBCEE6EE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667000" cy="365125"/>
          </a:xfrm>
          <a:prstGeom prst="rect">
            <a:avLst/>
          </a:prstGeom>
        </p:spPr>
        <p:txBody>
          <a:bodyPr/>
          <a:lstStyle/>
          <a:p>
            <a:fld id="{F43D91A0-3E8E-4090-8D40-C0F9E742A5CB}" type="slidenum">
              <a:rPr lang="pt-BR" smtClean="0"/>
              <a:t>‹nº›</a:t>
            </a:fld>
            <a:endParaRPr lang="pt-BR"/>
          </a:p>
        </p:txBody>
      </p:sp>
      <p:sp>
        <p:nvSpPr>
          <p:cNvPr id="7" name="Círculo (Outline Foto)">
            <a:extLst>
              <a:ext uri="{FF2B5EF4-FFF2-40B4-BE49-F238E27FC236}">
                <a16:creationId xmlns:a16="http://schemas.microsoft.com/office/drawing/2014/main" id="{DEE7ED6F-280B-4BC1-CF9E-415E582F157A}"/>
              </a:ext>
            </a:extLst>
          </p:cNvPr>
          <p:cNvSpPr/>
          <p:nvPr userDrawn="1"/>
        </p:nvSpPr>
        <p:spPr>
          <a:xfrm>
            <a:off x="805218" y="1404474"/>
            <a:ext cx="4417004" cy="4417004"/>
          </a:xfrm>
          <a:prstGeom prst="ellipse">
            <a:avLst/>
          </a:prstGeom>
          <a:noFill/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933"/>
          </a:p>
        </p:txBody>
      </p:sp>
      <p:pic>
        <p:nvPicPr>
          <p:cNvPr id="10" name="Grafismo - Círculos">
            <a:extLst>
              <a:ext uri="{FF2B5EF4-FFF2-40B4-BE49-F238E27FC236}">
                <a16:creationId xmlns:a16="http://schemas.microsoft.com/office/drawing/2014/main" id="{B7C94C14-8C01-C13E-14B6-1ECF9CC7064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35889" y="274462"/>
            <a:ext cx="1837252" cy="2158772"/>
          </a:xfrm>
          <a:prstGeom prst="rect">
            <a:avLst/>
          </a:prstGeom>
        </p:spPr>
      </p:pic>
      <p:grpSp>
        <p:nvGrpSpPr>
          <p:cNvPr id="12" name="Grafismo - Topografia">
            <a:extLst>
              <a:ext uri="{FF2B5EF4-FFF2-40B4-BE49-F238E27FC236}">
                <a16:creationId xmlns:a16="http://schemas.microsoft.com/office/drawing/2014/main" id="{7CCC5CB8-61CD-43A9-DF2F-4F45D1B21138}"/>
              </a:ext>
            </a:extLst>
          </p:cNvPr>
          <p:cNvGrpSpPr/>
          <p:nvPr userDrawn="1"/>
        </p:nvGrpSpPr>
        <p:grpSpPr>
          <a:xfrm rot="10800000">
            <a:off x="161924" y="6509730"/>
            <a:ext cx="12030075" cy="475316"/>
            <a:chOff x="0" y="6347706"/>
            <a:chExt cx="11687627" cy="461786"/>
          </a:xfrm>
        </p:grpSpPr>
        <p:pic>
          <p:nvPicPr>
            <p:cNvPr id="13" name="Google Shape;108;p2">
              <a:extLst>
                <a:ext uri="{FF2B5EF4-FFF2-40B4-BE49-F238E27FC236}">
                  <a16:creationId xmlns:a16="http://schemas.microsoft.com/office/drawing/2014/main" id="{60B6082C-721D-B164-36FA-60EC2677FB63}"/>
                </a:ext>
              </a:extLst>
            </p:cNvPr>
            <p:cNvPicPr preferRelativeResize="0"/>
            <p:nvPr/>
          </p:nvPicPr>
          <p:blipFill rotWithShape="1">
            <a:blip r:embed="rId4">
              <a:alphaModFix/>
            </a:blip>
            <a:srcRect b="61474"/>
            <a:stretch/>
          </p:blipFill>
          <p:spPr>
            <a:xfrm>
              <a:off x="0" y="6347706"/>
              <a:ext cx="5849257" cy="461786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4" name="Google Shape;109;p2">
              <a:extLst>
                <a:ext uri="{FF2B5EF4-FFF2-40B4-BE49-F238E27FC236}">
                  <a16:creationId xmlns:a16="http://schemas.microsoft.com/office/drawing/2014/main" id="{780DA761-98CD-4A24-6B8B-363BFEA33EEB}"/>
                </a:ext>
              </a:extLst>
            </p:cNvPr>
            <p:cNvPicPr preferRelativeResize="0"/>
            <p:nvPr/>
          </p:nvPicPr>
          <p:blipFill rotWithShape="1">
            <a:blip r:embed="rId4">
              <a:alphaModFix/>
            </a:blip>
            <a:srcRect b="61474"/>
            <a:stretch/>
          </p:blipFill>
          <p:spPr>
            <a:xfrm>
              <a:off x="5838371" y="6347706"/>
              <a:ext cx="5849257" cy="461786"/>
            </a:xfrm>
            <a:prstGeom prst="rect">
              <a:avLst/>
            </a:prstGeom>
            <a:noFill/>
            <a:ln>
              <a:noFill/>
            </a:ln>
          </p:spPr>
        </p:pic>
      </p:grpSp>
      <p:pic>
        <p:nvPicPr>
          <p:cNvPr id="16" name="Logo">
            <a:extLst>
              <a:ext uri="{FF2B5EF4-FFF2-40B4-BE49-F238E27FC236}">
                <a16:creationId xmlns:a16="http://schemas.microsoft.com/office/drawing/2014/main" id="{1A7D77B8-D82B-EE46-59A3-B08122B3BBE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334286" y="1200983"/>
            <a:ext cx="1412714" cy="829797"/>
          </a:xfrm>
          <a:prstGeom prst="rect">
            <a:avLst/>
          </a:prstGeom>
        </p:spPr>
      </p:pic>
      <p:sp>
        <p:nvSpPr>
          <p:cNvPr id="18" name="Espaço Reservado para Texto 17">
            <a:extLst>
              <a:ext uri="{FF2B5EF4-FFF2-40B4-BE49-F238E27FC236}">
                <a16:creationId xmlns:a16="http://schemas.microsoft.com/office/drawing/2014/main" id="{A590A436-C4FC-90AF-4136-6CB7CD1825F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10300" y="4268788"/>
            <a:ext cx="5067300" cy="365125"/>
          </a:xfrm>
        </p:spPr>
        <p:txBody>
          <a:bodyPr>
            <a:normAutofit/>
          </a:bodyPr>
          <a:lstStyle>
            <a:lvl1pPr>
              <a:defRPr lang="pt-BR" sz="1100" b="0" i="0" u="none" strike="noStrike" kern="1200" cap="all" spc="1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Arial"/>
              </a:defRPr>
            </a:lvl1pPr>
          </a:lstStyle>
          <a:p>
            <a:pPr lvl="0"/>
            <a:r>
              <a:rPr lang="pt-BR"/>
              <a:t>Clique para editar o texto</a:t>
            </a:r>
          </a:p>
        </p:txBody>
      </p:sp>
      <p:sp>
        <p:nvSpPr>
          <p:cNvPr id="25" name="Espaço Reservado para Imagem 24">
            <a:extLst>
              <a:ext uri="{FF2B5EF4-FFF2-40B4-BE49-F238E27FC236}">
                <a16:creationId xmlns:a16="http://schemas.microsoft.com/office/drawing/2014/main" id="{00B443F9-E135-FF3E-E804-8FB8BE3E8195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14400" y="1862138"/>
            <a:ext cx="2419350" cy="2178050"/>
          </a:xfrm>
        </p:spPr>
        <p:txBody>
          <a:bodyPr/>
          <a:lstStyle>
            <a:lvl1pPr algn="ctr">
              <a:defRPr b="0">
                <a:solidFill>
                  <a:schemeClr val="accent2"/>
                </a:solidFill>
              </a:defRPr>
            </a:lvl1pPr>
          </a:lstStyle>
          <a:p>
            <a:r>
              <a:rPr lang="pt-BR"/>
              <a:t>Grafismo </a:t>
            </a:r>
            <a:br>
              <a:rPr lang="pt-BR"/>
            </a:br>
            <a:r>
              <a:rPr lang="pt-BR"/>
              <a:t>(opcional)</a:t>
            </a:r>
          </a:p>
        </p:txBody>
      </p:sp>
      <p:pic>
        <p:nvPicPr>
          <p:cNvPr id="26" name="Gráfico 25">
            <a:extLst>
              <a:ext uri="{FF2B5EF4-FFF2-40B4-BE49-F238E27FC236}">
                <a16:creationId xmlns:a16="http://schemas.microsoft.com/office/drawing/2014/main" id="{F1A091A3-AFD6-49CA-1829-37DA249DD2C8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-585919" y="-483062"/>
            <a:ext cx="1577057" cy="1853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100227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lipse 3">
            <a:extLst>
              <a:ext uri="{FF2B5EF4-FFF2-40B4-BE49-F238E27FC236}">
                <a16:creationId xmlns:a16="http://schemas.microsoft.com/office/drawing/2014/main" id="{2C50B055-D4D1-8B28-58F6-A4E7EE06C736}"/>
              </a:ext>
            </a:extLst>
          </p:cNvPr>
          <p:cNvSpPr/>
          <p:nvPr userDrawn="1"/>
        </p:nvSpPr>
        <p:spPr>
          <a:xfrm>
            <a:off x="9740900" y="4254388"/>
            <a:ext cx="3476175" cy="3476175"/>
          </a:xfrm>
          <a:prstGeom prst="ellipse">
            <a:avLst/>
          </a:prstGeom>
          <a:solidFill>
            <a:srgbClr val="F3ABA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7" name="Espaço Reservado para Texto 6">
            <a:extLst>
              <a:ext uri="{FF2B5EF4-FFF2-40B4-BE49-F238E27FC236}">
                <a16:creationId xmlns:a16="http://schemas.microsoft.com/office/drawing/2014/main" id="{D6F85BE3-183D-1F4D-9986-5566BC05916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429125" y="602332"/>
            <a:ext cx="6832600" cy="447675"/>
          </a:xfrm>
        </p:spPr>
        <p:txBody>
          <a:bodyPr lIns="126000">
            <a:normAutofit/>
          </a:bodyPr>
          <a:lstStyle>
            <a:lvl1pPr>
              <a:lnSpc>
                <a:spcPct val="100000"/>
              </a:lnSpc>
              <a:defRPr sz="1100" b="0" cap="all" spc="100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endParaRPr lang="pt-BR"/>
          </a:p>
        </p:txBody>
      </p:sp>
      <p:sp>
        <p:nvSpPr>
          <p:cNvPr id="8" name="Título 7">
            <a:extLst>
              <a:ext uri="{FF2B5EF4-FFF2-40B4-BE49-F238E27FC236}">
                <a16:creationId xmlns:a16="http://schemas.microsoft.com/office/drawing/2014/main" id="{850B399A-346B-51E3-1A92-253CADB724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45000" y="865524"/>
            <a:ext cx="6832600" cy="447676"/>
          </a:xfrm>
        </p:spPr>
        <p:txBody>
          <a:bodyPr anchor="t">
            <a:noAutofit/>
          </a:bodyPr>
          <a:lstStyle>
            <a:lvl1pPr>
              <a:defRPr sz="3600" b="1" spc="-100" baseline="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10" name="Espaço Reservado para Texto 9">
            <a:extLst>
              <a:ext uri="{FF2B5EF4-FFF2-40B4-BE49-F238E27FC236}">
                <a16:creationId xmlns:a16="http://schemas.microsoft.com/office/drawing/2014/main" id="{A4BD41B5-820C-FB18-CD31-121F93FBE6B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445000" y="2090738"/>
            <a:ext cx="6832600" cy="4132846"/>
          </a:xfrm>
        </p:spPr>
        <p:txBody>
          <a:bodyPr>
            <a:noAutofit/>
          </a:bodyPr>
          <a:lstStyle>
            <a:lvl1pPr marL="0" indent="0">
              <a:lnSpc>
                <a:spcPct val="110000"/>
              </a:lnSpc>
              <a:spcBef>
                <a:spcPts val="2000"/>
              </a:spcBef>
              <a:spcAft>
                <a:spcPts val="500"/>
              </a:spcAft>
              <a:buFont typeface="Arial" panose="020B0604020202020204" pitchFamily="34" charset="0"/>
              <a:buNone/>
              <a:defRPr sz="1600" b="1" u="none">
                <a:solidFill>
                  <a:schemeClr val="accent2"/>
                </a:solidFill>
              </a:defRPr>
            </a:lvl1pPr>
            <a:lvl2pPr marL="0" indent="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None/>
              <a:defRPr sz="1400"/>
            </a:lvl2pPr>
            <a:lvl3pPr marL="792000" indent="-288000">
              <a:lnSpc>
                <a:spcPct val="110000"/>
              </a:lnSpc>
              <a:spcBef>
                <a:spcPts val="500"/>
              </a:spcBef>
              <a:spcAft>
                <a:spcPts val="0"/>
              </a:spcAft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400">
                <a:solidFill>
                  <a:schemeClr val="tx2"/>
                </a:solidFill>
              </a:defRPr>
            </a:lvl3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endParaRPr lang="pt-BR"/>
          </a:p>
        </p:txBody>
      </p:sp>
      <p:pic>
        <p:nvPicPr>
          <p:cNvPr id="2" name="Gráfico 1">
            <a:extLst>
              <a:ext uri="{FF2B5EF4-FFF2-40B4-BE49-F238E27FC236}">
                <a16:creationId xmlns:a16="http://schemas.microsoft.com/office/drawing/2014/main" id="{A8EC6370-4927-C92F-ACF0-D1E7FF52C1D9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-4731040" y="-591489"/>
            <a:ext cx="8040978" cy="80409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7577182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ço Reservado para Texto 6">
            <a:extLst>
              <a:ext uri="{FF2B5EF4-FFF2-40B4-BE49-F238E27FC236}">
                <a16:creationId xmlns:a16="http://schemas.microsoft.com/office/drawing/2014/main" id="{D6F85BE3-183D-1F4D-9986-5566BC05916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429125" y="602332"/>
            <a:ext cx="6832600" cy="447675"/>
          </a:xfrm>
        </p:spPr>
        <p:txBody>
          <a:bodyPr lIns="126000">
            <a:normAutofit/>
          </a:bodyPr>
          <a:lstStyle>
            <a:lvl1pPr>
              <a:lnSpc>
                <a:spcPct val="100000"/>
              </a:lnSpc>
              <a:defRPr sz="1100" b="0" cap="all" spc="100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endParaRPr lang="pt-BR"/>
          </a:p>
        </p:txBody>
      </p:sp>
      <p:sp>
        <p:nvSpPr>
          <p:cNvPr id="8" name="Título 7">
            <a:extLst>
              <a:ext uri="{FF2B5EF4-FFF2-40B4-BE49-F238E27FC236}">
                <a16:creationId xmlns:a16="http://schemas.microsoft.com/office/drawing/2014/main" id="{850B399A-346B-51E3-1A92-253CADB724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45000" y="865524"/>
            <a:ext cx="6832600" cy="447676"/>
          </a:xfrm>
        </p:spPr>
        <p:txBody>
          <a:bodyPr anchor="t">
            <a:noAutofit/>
          </a:bodyPr>
          <a:lstStyle>
            <a:lvl1pPr>
              <a:defRPr sz="3600" b="1" spc="-100" baseline="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10" name="Espaço Reservado para Texto 9">
            <a:extLst>
              <a:ext uri="{FF2B5EF4-FFF2-40B4-BE49-F238E27FC236}">
                <a16:creationId xmlns:a16="http://schemas.microsoft.com/office/drawing/2014/main" id="{A4BD41B5-820C-FB18-CD31-121F93FBE6B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445000" y="2090738"/>
            <a:ext cx="6832600" cy="4132846"/>
          </a:xfrm>
        </p:spPr>
        <p:txBody>
          <a:bodyPr>
            <a:noAutofit/>
          </a:bodyPr>
          <a:lstStyle>
            <a:lvl1pPr marL="0" indent="0">
              <a:lnSpc>
                <a:spcPct val="110000"/>
              </a:lnSpc>
              <a:spcBef>
                <a:spcPts val="2000"/>
              </a:spcBef>
              <a:spcAft>
                <a:spcPts val="500"/>
              </a:spcAft>
              <a:buFont typeface="Arial" panose="020B0604020202020204" pitchFamily="34" charset="0"/>
              <a:buNone/>
              <a:defRPr sz="1600" b="1" u="none">
                <a:solidFill>
                  <a:schemeClr val="accent2"/>
                </a:solidFill>
              </a:defRPr>
            </a:lvl1pPr>
            <a:lvl2pPr marL="0" indent="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None/>
              <a:defRPr sz="1400"/>
            </a:lvl2pPr>
            <a:lvl3pPr marL="792000" indent="-288000">
              <a:lnSpc>
                <a:spcPct val="110000"/>
              </a:lnSpc>
              <a:spcBef>
                <a:spcPts val="500"/>
              </a:spcBef>
              <a:spcAft>
                <a:spcPts val="0"/>
              </a:spcAft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400">
                <a:solidFill>
                  <a:schemeClr val="tx2"/>
                </a:solidFill>
              </a:defRPr>
            </a:lvl3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endParaRPr lang="pt-BR"/>
          </a:p>
        </p:txBody>
      </p:sp>
      <p:pic>
        <p:nvPicPr>
          <p:cNvPr id="3" name="Gráfico 2">
            <a:extLst>
              <a:ext uri="{FF2B5EF4-FFF2-40B4-BE49-F238E27FC236}">
                <a16:creationId xmlns:a16="http://schemas.microsoft.com/office/drawing/2014/main" id="{35E7C3AD-E15C-80F2-4FED-5155F41E38C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-1092580" y="650458"/>
            <a:ext cx="4716432" cy="5541795"/>
          </a:xfrm>
          <a:prstGeom prst="rect">
            <a:avLst/>
          </a:prstGeom>
        </p:spPr>
      </p:pic>
      <p:pic>
        <p:nvPicPr>
          <p:cNvPr id="4" name="Gráfico 3">
            <a:extLst>
              <a:ext uri="{FF2B5EF4-FFF2-40B4-BE49-F238E27FC236}">
                <a16:creationId xmlns:a16="http://schemas.microsoft.com/office/drawing/2014/main" id="{4EBD6769-77D4-163B-AC96-F0F1CB1F703E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828972" y="-1239748"/>
            <a:ext cx="2726056" cy="2726056"/>
          </a:xfrm>
          <a:prstGeom prst="rect">
            <a:avLst/>
          </a:prstGeom>
        </p:spPr>
      </p:pic>
      <p:pic>
        <p:nvPicPr>
          <p:cNvPr id="5" name="Gráfico 4">
            <a:extLst>
              <a:ext uri="{FF2B5EF4-FFF2-40B4-BE49-F238E27FC236}">
                <a16:creationId xmlns:a16="http://schemas.microsoft.com/office/drawing/2014/main" id="{D64BC587-E1BC-D84B-13E1-280D52F92BC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680864" y="6346864"/>
            <a:ext cx="1022272" cy="10222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8519465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ço Reservado para Texto 6">
            <a:extLst>
              <a:ext uri="{FF2B5EF4-FFF2-40B4-BE49-F238E27FC236}">
                <a16:creationId xmlns:a16="http://schemas.microsoft.com/office/drawing/2014/main" id="{D6F85BE3-183D-1F4D-9986-5566BC05916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811338" y="602332"/>
            <a:ext cx="5919787" cy="447675"/>
          </a:xfrm>
        </p:spPr>
        <p:txBody>
          <a:bodyPr lIns="126000">
            <a:normAutofit/>
          </a:bodyPr>
          <a:lstStyle>
            <a:lvl1pPr>
              <a:lnSpc>
                <a:spcPct val="100000"/>
              </a:lnSpc>
              <a:defRPr sz="1100" b="0" cap="all" spc="100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endParaRPr lang="pt-BR"/>
          </a:p>
        </p:txBody>
      </p:sp>
      <p:sp>
        <p:nvSpPr>
          <p:cNvPr id="8" name="Título 7">
            <a:extLst>
              <a:ext uri="{FF2B5EF4-FFF2-40B4-BE49-F238E27FC236}">
                <a16:creationId xmlns:a16="http://schemas.microsoft.com/office/drawing/2014/main" id="{850B399A-346B-51E3-1A92-253CADB724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27213" y="865524"/>
            <a:ext cx="5919787" cy="447676"/>
          </a:xfrm>
        </p:spPr>
        <p:txBody>
          <a:bodyPr anchor="t">
            <a:noAutofit/>
          </a:bodyPr>
          <a:lstStyle>
            <a:lvl1pPr>
              <a:defRPr sz="3600" b="1" spc="-100" baseline="0"/>
            </a:lvl1pPr>
          </a:lstStyle>
          <a:p>
            <a:r>
              <a:rPr lang="pt-BR"/>
              <a:t>Clique para editar o título Mestre</a:t>
            </a:r>
          </a:p>
        </p:txBody>
      </p:sp>
      <p:pic>
        <p:nvPicPr>
          <p:cNvPr id="3" name="Gráfico 2">
            <a:extLst>
              <a:ext uri="{FF2B5EF4-FFF2-40B4-BE49-F238E27FC236}">
                <a16:creationId xmlns:a16="http://schemas.microsoft.com/office/drawing/2014/main" id="{35E7C3AD-E15C-80F2-4FED-5155F41E38C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-2526167" y="650458"/>
            <a:ext cx="4716432" cy="5541795"/>
          </a:xfrm>
          <a:prstGeom prst="rect">
            <a:avLst/>
          </a:prstGeom>
        </p:spPr>
      </p:pic>
      <p:pic>
        <p:nvPicPr>
          <p:cNvPr id="4" name="Gráfico 3">
            <a:extLst>
              <a:ext uri="{FF2B5EF4-FFF2-40B4-BE49-F238E27FC236}">
                <a16:creationId xmlns:a16="http://schemas.microsoft.com/office/drawing/2014/main" id="{4EBD6769-77D4-163B-AC96-F0F1CB1F703E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828972" y="-1239748"/>
            <a:ext cx="2726056" cy="2726056"/>
          </a:xfrm>
          <a:prstGeom prst="rect">
            <a:avLst/>
          </a:prstGeom>
        </p:spPr>
      </p:pic>
      <p:pic>
        <p:nvPicPr>
          <p:cNvPr id="5" name="Gráfico 4">
            <a:extLst>
              <a:ext uri="{FF2B5EF4-FFF2-40B4-BE49-F238E27FC236}">
                <a16:creationId xmlns:a16="http://schemas.microsoft.com/office/drawing/2014/main" id="{D64BC587-E1BC-D84B-13E1-280D52F92BC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680864" y="6346864"/>
            <a:ext cx="1022272" cy="1022272"/>
          </a:xfrm>
          <a:prstGeom prst="rect">
            <a:avLst/>
          </a:prstGeom>
        </p:spPr>
      </p:pic>
      <p:sp>
        <p:nvSpPr>
          <p:cNvPr id="11" name="Retângulo 10">
            <a:extLst>
              <a:ext uri="{FF2B5EF4-FFF2-40B4-BE49-F238E27FC236}">
                <a16:creationId xmlns:a16="http://schemas.microsoft.com/office/drawing/2014/main" id="{842E5A5A-7704-2F48-8702-A3E6101A002E}"/>
              </a:ext>
            </a:extLst>
          </p:cNvPr>
          <p:cNvSpPr/>
          <p:nvPr userDrawn="1"/>
        </p:nvSpPr>
        <p:spPr>
          <a:xfrm>
            <a:off x="1828046" y="2954787"/>
            <a:ext cx="2952000" cy="3600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8" name="Espaço Reservado para Texto 3">
            <a:extLst>
              <a:ext uri="{FF2B5EF4-FFF2-40B4-BE49-F238E27FC236}">
                <a16:creationId xmlns:a16="http://schemas.microsoft.com/office/drawing/2014/main" id="{CDF90CEE-BDF2-3D8C-A60C-9E9609E82BDF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1825882" y="1920603"/>
            <a:ext cx="5922962" cy="727075"/>
          </a:xfrm>
        </p:spPr>
        <p:txBody>
          <a:bodyPr>
            <a:normAutofit/>
          </a:bodyPr>
          <a:lstStyle>
            <a:lvl1pPr marR="0" algn="l" rtl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pt-BR" sz="1200" b="0" i="0" u="none" strike="noStrike" cap="none" dirty="0" smtClean="0">
                <a:solidFill>
                  <a:schemeClr val="tx2"/>
                </a:solidFill>
                <a:latin typeface="+mn-lt"/>
                <a:ea typeface="Times New Roman" panose="02020603050405020304" pitchFamily="18" charset="0"/>
                <a:cs typeface="Arial"/>
                <a:sym typeface="Arial"/>
              </a:defRPr>
            </a:lvl1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6" name="Espaço Reservado para Texto 5">
            <a:extLst>
              <a:ext uri="{FF2B5EF4-FFF2-40B4-BE49-F238E27FC236}">
                <a16:creationId xmlns:a16="http://schemas.microsoft.com/office/drawing/2014/main" id="{99F7F299-B9F4-BC9F-95FF-5ED073B643B1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1824038" y="3315150"/>
            <a:ext cx="2952000" cy="2901500"/>
          </a:xfrm>
          <a:solidFill>
            <a:srgbClr val="2D3D70">
              <a:alpha val="90000"/>
              <a:tint val="40000"/>
              <a:hueOff val="0"/>
              <a:satOff val="0"/>
              <a:lumOff val="0"/>
              <a:alphaOff val="0"/>
            </a:srgbClr>
          </a:solidFill>
          <a:ln w="12700" cap="flat" cmpd="sng" algn="ctr">
            <a:solidFill>
              <a:srgbClr val="2D3D70">
                <a:alpha val="90000"/>
                <a:tint val="40000"/>
                <a:hueOff val="0"/>
                <a:satOff val="0"/>
                <a:lumOff val="0"/>
                <a:alphaOff val="0"/>
              </a:srgbClr>
            </a:solidFill>
            <a:prstDash val="solid"/>
            <a:miter lim="800000"/>
          </a:ln>
          <a:effectLst/>
        </p:spPr>
        <p:txBody>
          <a:bodyPr spcFirstLastPara="0" vert="horz" wrap="square" lIns="180000" tIns="261366" rIns="180000" bIns="392049" numCol="1" spcCol="1270" anchor="t" anchorCtr="0">
            <a:noAutofit/>
          </a:bodyPr>
          <a:lstStyle>
            <a:lvl1pPr marR="0" algn="l" rtl="0">
              <a:lnSpc>
                <a:spcPct val="13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Font typeface="Arial"/>
              <a:defRPr lang="pt-BR" sz="1300" b="0" i="0" u="none" strike="noStrike" cap="none" dirty="0">
                <a:solidFill>
                  <a:schemeClr val="tx1"/>
                </a:solidFill>
                <a:latin typeface="+mn-lt"/>
                <a:ea typeface="Arial"/>
                <a:cs typeface="Arial"/>
                <a:sym typeface="Arial"/>
              </a:defRPr>
            </a:lvl1pPr>
          </a:lstStyle>
          <a:p>
            <a:pPr marR="0" lv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</a:pPr>
            <a:r>
              <a:rPr lang="pt-BR"/>
              <a:t>Clique para editar os estilos de texto Mestres</a:t>
            </a:r>
          </a:p>
        </p:txBody>
      </p:sp>
      <p:sp>
        <p:nvSpPr>
          <p:cNvPr id="10" name="Espaço Reservado para Texto 5">
            <a:extLst>
              <a:ext uri="{FF2B5EF4-FFF2-40B4-BE49-F238E27FC236}">
                <a16:creationId xmlns:a16="http://schemas.microsoft.com/office/drawing/2014/main" id="{79E14420-1845-E853-61FD-FA2963FDC8F4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5099050" y="3315150"/>
            <a:ext cx="2952000" cy="2901500"/>
          </a:xfrm>
          <a:solidFill>
            <a:srgbClr val="2D3D70">
              <a:alpha val="90000"/>
              <a:tint val="40000"/>
              <a:hueOff val="0"/>
              <a:satOff val="0"/>
              <a:lumOff val="0"/>
              <a:alphaOff val="0"/>
            </a:srgbClr>
          </a:solidFill>
          <a:ln w="12700" cap="flat" cmpd="sng" algn="ctr">
            <a:solidFill>
              <a:srgbClr val="2D3D70">
                <a:alpha val="90000"/>
                <a:tint val="40000"/>
                <a:hueOff val="0"/>
                <a:satOff val="0"/>
                <a:lumOff val="0"/>
                <a:alphaOff val="0"/>
              </a:srgbClr>
            </a:solidFill>
            <a:prstDash val="solid"/>
            <a:miter lim="800000"/>
          </a:ln>
          <a:effectLst/>
        </p:spPr>
        <p:txBody>
          <a:bodyPr spcFirstLastPara="0" vert="horz" wrap="square" lIns="180000" tIns="261366" rIns="180000" bIns="392049" numCol="1" spcCol="1270" rtlCol="0" anchor="t" anchorCtr="0">
            <a:noAutofit/>
          </a:bodyPr>
          <a:lstStyle>
            <a:lvl1pPr>
              <a:defRPr lang="pt-BR" sz="1300" b="0" i="0" u="none" strike="noStrike" cap="none" dirty="0">
                <a:solidFill>
                  <a:schemeClr val="tx1"/>
                </a:solidFill>
                <a:ea typeface="Arial"/>
                <a:cs typeface="Arial"/>
              </a:defRPr>
            </a:lvl1pPr>
          </a:lstStyle>
          <a:p>
            <a:pPr marR="0" lv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</a:pPr>
            <a:r>
              <a:rPr lang="pt-BR"/>
              <a:t>Clique para editar os estilos de texto Mestres</a:t>
            </a:r>
          </a:p>
        </p:txBody>
      </p:sp>
      <p:sp>
        <p:nvSpPr>
          <p:cNvPr id="12" name="Espaço Reservado para Texto 5">
            <a:extLst>
              <a:ext uri="{FF2B5EF4-FFF2-40B4-BE49-F238E27FC236}">
                <a16:creationId xmlns:a16="http://schemas.microsoft.com/office/drawing/2014/main" id="{913B9138-B8EB-3199-7F11-1E6E66F0F896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8325600" y="3315150"/>
            <a:ext cx="2952000" cy="2901500"/>
          </a:xfrm>
          <a:solidFill>
            <a:srgbClr val="2D3D70">
              <a:alpha val="90000"/>
              <a:tint val="40000"/>
              <a:hueOff val="0"/>
              <a:satOff val="0"/>
              <a:lumOff val="0"/>
              <a:alphaOff val="0"/>
            </a:srgbClr>
          </a:solidFill>
          <a:ln w="12700" cap="flat" cmpd="sng" algn="ctr">
            <a:solidFill>
              <a:srgbClr val="2D3D70">
                <a:alpha val="90000"/>
                <a:tint val="40000"/>
                <a:hueOff val="0"/>
                <a:satOff val="0"/>
                <a:lumOff val="0"/>
                <a:alphaOff val="0"/>
              </a:srgbClr>
            </a:solidFill>
            <a:prstDash val="solid"/>
            <a:miter lim="800000"/>
          </a:ln>
          <a:effectLst/>
        </p:spPr>
        <p:txBody>
          <a:bodyPr spcFirstLastPara="0" vert="horz" wrap="square" lIns="180000" tIns="261366" rIns="180000" bIns="392049" numCol="1" spcCol="1270" rtlCol="0" anchor="t" anchorCtr="0">
            <a:noAutofit/>
          </a:bodyPr>
          <a:lstStyle>
            <a:lvl1pPr>
              <a:defRPr lang="pt-BR" sz="1300" b="0" i="0" u="none" strike="noStrike" cap="none" dirty="0">
                <a:solidFill>
                  <a:schemeClr val="tx1"/>
                </a:solidFill>
                <a:ea typeface="Arial"/>
                <a:cs typeface="Arial"/>
              </a:defRPr>
            </a:lvl1pPr>
          </a:lstStyle>
          <a:p>
            <a:pPr marR="0" lv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</a:pPr>
            <a:r>
              <a:rPr lang="pt-BR"/>
              <a:t>Clique para editar os estilos de texto Mestres</a:t>
            </a:r>
          </a:p>
        </p:txBody>
      </p:sp>
      <p:sp>
        <p:nvSpPr>
          <p:cNvPr id="13" name="Espaço Reservado para Texto 5">
            <a:extLst>
              <a:ext uri="{FF2B5EF4-FFF2-40B4-BE49-F238E27FC236}">
                <a16:creationId xmlns:a16="http://schemas.microsoft.com/office/drawing/2014/main" id="{B8F1D9A9-B7F4-BE71-F7ED-0A07DA24A98C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1824038" y="2961188"/>
            <a:ext cx="2952000" cy="353377"/>
          </a:xfrm>
          <a:solidFill>
            <a:schemeClr val="accent1">
              <a:alpha val="9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spcFirstLastPara="0" vert="horz" wrap="square" lIns="180000" tIns="180000" rIns="180000" bIns="392049" numCol="1" spcCol="1270" rtlCol="0" anchor="t" anchorCtr="0">
            <a:noAutofit/>
          </a:bodyPr>
          <a:lstStyle>
            <a:lvl1pPr>
              <a:defRPr lang="pt-BR" sz="1300" b="0" i="0" u="none" strike="noStrike" cap="none" spc="-40" baseline="0" dirty="0">
                <a:solidFill>
                  <a:schemeClr val="bg1"/>
                </a:solidFill>
                <a:ea typeface="Arial"/>
                <a:cs typeface="Arial"/>
              </a:defRPr>
            </a:lvl1pPr>
          </a:lstStyle>
          <a:p>
            <a:pPr marR="0" lv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</a:pPr>
            <a:r>
              <a:rPr lang="pt-BR"/>
              <a:t>Clique para editar os estilos</a:t>
            </a:r>
          </a:p>
        </p:txBody>
      </p:sp>
      <p:sp>
        <p:nvSpPr>
          <p:cNvPr id="19" name="Espaço Reservado para Texto 5">
            <a:extLst>
              <a:ext uri="{FF2B5EF4-FFF2-40B4-BE49-F238E27FC236}">
                <a16:creationId xmlns:a16="http://schemas.microsoft.com/office/drawing/2014/main" id="{980425ED-7FEC-0C8E-25E6-739799A40669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5099050" y="2961188"/>
            <a:ext cx="2952000" cy="353377"/>
          </a:xfrm>
          <a:solidFill>
            <a:schemeClr val="accent1">
              <a:alpha val="9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spcFirstLastPara="0" vert="horz" wrap="square" lIns="180000" tIns="180000" rIns="180000" bIns="392049" numCol="1" spcCol="1270" rtlCol="0" anchor="t" anchorCtr="0">
            <a:noAutofit/>
          </a:bodyPr>
          <a:lstStyle>
            <a:lvl1pPr>
              <a:defRPr lang="pt-BR" sz="1300" b="0" i="0" u="none" strike="noStrike" cap="none" spc="-40" baseline="0" dirty="0">
                <a:solidFill>
                  <a:schemeClr val="bg1"/>
                </a:solidFill>
                <a:ea typeface="Arial"/>
                <a:cs typeface="Arial"/>
              </a:defRPr>
            </a:lvl1pPr>
          </a:lstStyle>
          <a:p>
            <a:pPr marR="0" lv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</a:pPr>
            <a:r>
              <a:rPr lang="pt-BR"/>
              <a:t>Clique para editar os estilos</a:t>
            </a:r>
          </a:p>
        </p:txBody>
      </p:sp>
      <p:sp>
        <p:nvSpPr>
          <p:cNvPr id="20" name="Espaço Reservado para Texto 5">
            <a:extLst>
              <a:ext uri="{FF2B5EF4-FFF2-40B4-BE49-F238E27FC236}">
                <a16:creationId xmlns:a16="http://schemas.microsoft.com/office/drawing/2014/main" id="{C5B6446B-3A90-952C-4B30-11612A5C500B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8325600" y="2961188"/>
            <a:ext cx="2952000" cy="353377"/>
          </a:xfrm>
          <a:solidFill>
            <a:schemeClr val="accent1">
              <a:alpha val="9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spcFirstLastPara="0" vert="horz" wrap="square" lIns="180000" tIns="180000" rIns="180000" bIns="392049" numCol="1" spcCol="1270" rtlCol="0" anchor="t" anchorCtr="0">
            <a:noAutofit/>
          </a:bodyPr>
          <a:lstStyle>
            <a:lvl1pPr>
              <a:defRPr lang="pt-BR" sz="1300" b="0" i="0" u="none" strike="noStrike" cap="none" spc="-40" baseline="0" dirty="0">
                <a:solidFill>
                  <a:schemeClr val="bg1"/>
                </a:solidFill>
                <a:ea typeface="Arial"/>
                <a:cs typeface="Arial"/>
              </a:defRPr>
            </a:lvl1pPr>
          </a:lstStyle>
          <a:p>
            <a:pPr marR="0" lv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</a:pPr>
            <a:r>
              <a:rPr lang="pt-BR"/>
              <a:t>Clique para editar os estilos</a:t>
            </a:r>
          </a:p>
        </p:txBody>
      </p:sp>
    </p:spTree>
    <p:extLst>
      <p:ext uri="{BB962C8B-B14F-4D97-AF65-F5344CB8AC3E}">
        <p14:creationId xmlns:p14="http://schemas.microsoft.com/office/powerpoint/2010/main" val="2310233893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9E3206E-0AB7-B63C-651D-884C11379B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62350" y="2090737"/>
            <a:ext cx="6832600" cy="2674937"/>
          </a:xfrm>
        </p:spPr>
        <p:txBody>
          <a:bodyPr anchor="ctr"/>
          <a:lstStyle>
            <a:lvl1pPr>
              <a:lnSpc>
                <a:spcPct val="80000"/>
              </a:lnSpc>
              <a:defRPr lang="pt-BR" sz="4400" b="1" i="0" u="none" strike="noStrike" kern="1200" cap="none" spc="-100" baseline="0" dirty="0" smtClean="0">
                <a:solidFill>
                  <a:schemeClr val="accent1"/>
                </a:solidFill>
                <a:latin typeface="+mj-lt"/>
                <a:ea typeface="+mj-ea"/>
                <a:cs typeface="+mj-cs"/>
                <a:sym typeface="Arial"/>
              </a:defRPr>
            </a:lvl1pPr>
          </a:lstStyle>
          <a:p>
            <a:r>
              <a:rPr lang="pt-BR"/>
              <a:t>Clique para editar o título</a:t>
            </a:r>
          </a:p>
        </p:txBody>
      </p:sp>
      <p:sp>
        <p:nvSpPr>
          <p:cNvPr id="7" name="Espaço Reservado para Texto 4">
            <a:extLst>
              <a:ext uri="{FF2B5EF4-FFF2-40B4-BE49-F238E27FC236}">
                <a16:creationId xmlns:a16="http://schemas.microsoft.com/office/drawing/2014/main" id="{B9457824-AFC5-539D-B4C1-7A3A5E03DD0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538538" y="4268788"/>
            <a:ext cx="6892925" cy="496887"/>
          </a:xfrm>
        </p:spPr>
        <p:txBody>
          <a:bodyPr lIns="108000" anchor="ctr">
            <a:normAutofit/>
          </a:bodyPr>
          <a:lstStyle>
            <a:lvl1pPr>
              <a:defRPr sz="1100" b="0" cap="all" spc="100" baseline="0">
                <a:solidFill>
                  <a:schemeClr val="tx2"/>
                </a:solidFill>
              </a:defRPr>
            </a:lvl1pPr>
          </a:lstStyle>
          <a:p>
            <a:endParaRPr lang="pt-BR"/>
          </a:p>
        </p:txBody>
      </p:sp>
      <p:pic>
        <p:nvPicPr>
          <p:cNvPr id="8" name="Gráfico 7">
            <a:extLst>
              <a:ext uri="{FF2B5EF4-FFF2-40B4-BE49-F238E27FC236}">
                <a16:creationId xmlns:a16="http://schemas.microsoft.com/office/drawing/2014/main" id="{1575969D-0F0E-88B6-17B4-F083C94DB6A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-4438651" y="0"/>
            <a:ext cx="6858000" cy="6858000"/>
          </a:xfrm>
          <a:prstGeom prst="rect">
            <a:avLst/>
          </a:prstGeom>
        </p:spPr>
      </p:pic>
      <p:pic>
        <p:nvPicPr>
          <p:cNvPr id="9" name="Gráfico 8">
            <a:extLst>
              <a:ext uri="{FF2B5EF4-FFF2-40B4-BE49-F238E27FC236}">
                <a16:creationId xmlns:a16="http://schemas.microsoft.com/office/drawing/2014/main" id="{CE54C1C0-D953-09FC-46AB-1CD803756B67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68362" y="4357257"/>
            <a:ext cx="1577057" cy="1853043"/>
          </a:xfrm>
          <a:prstGeom prst="rect">
            <a:avLst/>
          </a:prstGeom>
        </p:spPr>
      </p:pic>
      <p:pic>
        <p:nvPicPr>
          <p:cNvPr id="10" name="Gráfico 9">
            <a:extLst>
              <a:ext uri="{FF2B5EF4-FFF2-40B4-BE49-F238E27FC236}">
                <a16:creationId xmlns:a16="http://schemas.microsoft.com/office/drawing/2014/main" id="{15B50A3B-6C12-DE17-8536-FE3F8B4AA77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38386" y="476863"/>
            <a:ext cx="1412714" cy="8297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8083319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Layout Personalizado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9E3206E-0AB7-B63C-651D-884C11379B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62350" y="2090737"/>
            <a:ext cx="6832600" cy="2674937"/>
          </a:xfrm>
        </p:spPr>
        <p:txBody>
          <a:bodyPr anchor="ctr"/>
          <a:lstStyle>
            <a:lvl1pPr>
              <a:lnSpc>
                <a:spcPct val="80000"/>
              </a:lnSpc>
              <a:defRPr lang="pt-BR" sz="4400" b="1" i="0" u="none" strike="noStrike" kern="1200" cap="none" spc="-100" baseline="0" dirty="0" smtClean="0">
                <a:solidFill>
                  <a:schemeClr val="bg1"/>
                </a:solidFill>
                <a:latin typeface="+mj-lt"/>
                <a:ea typeface="+mj-ea"/>
                <a:cs typeface="+mj-cs"/>
                <a:sym typeface="Arial"/>
              </a:defRPr>
            </a:lvl1pPr>
          </a:lstStyle>
          <a:p>
            <a:r>
              <a:rPr lang="pt-BR"/>
              <a:t>Clique para editar o título</a:t>
            </a:r>
          </a:p>
        </p:txBody>
      </p:sp>
      <p:sp>
        <p:nvSpPr>
          <p:cNvPr id="7" name="Espaço Reservado para Texto 4">
            <a:extLst>
              <a:ext uri="{FF2B5EF4-FFF2-40B4-BE49-F238E27FC236}">
                <a16:creationId xmlns:a16="http://schemas.microsoft.com/office/drawing/2014/main" id="{B9457824-AFC5-539D-B4C1-7A3A5E03DD0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538538" y="4268788"/>
            <a:ext cx="6892925" cy="496887"/>
          </a:xfrm>
        </p:spPr>
        <p:txBody>
          <a:bodyPr lIns="108000" anchor="ctr">
            <a:normAutofit/>
          </a:bodyPr>
          <a:lstStyle>
            <a:lvl1pPr>
              <a:defRPr sz="1100" b="0" cap="all" spc="100" baseline="0">
                <a:solidFill>
                  <a:schemeClr val="bg2"/>
                </a:solidFill>
              </a:defRPr>
            </a:lvl1pPr>
          </a:lstStyle>
          <a:p>
            <a:endParaRPr lang="pt-BR"/>
          </a:p>
        </p:txBody>
      </p:sp>
      <p:pic>
        <p:nvPicPr>
          <p:cNvPr id="8" name="Gráfico 7">
            <a:extLst>
              <a:ext uri="{FF2B5EF4-FFF2-40B4-BE49-F238E27FC236}">
                <a16:creationId xmlns:a16="http://schemas.microsoft.com/office/drawing/2014/main" id="{1575969D-0F0E-88B6-17B4-F083C94DB6A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-4438651" y="0"/>
            <a:ext cx="6858000" cy="6858000"/>
          </a:xfrm>
          <a:prstGeom prst="rect">
            <a:avLst/>
          </a:prstGeom>
        </p:spPr>
      </p:pic>
      <p:pic>
        <p:nvPicPr>
          <p:cNvPr id="9" name="Gráfico 8">
            <a:extLst>
              <a:ext uri="{FF2B5EF4-FFF2-40B4-BE49-F238E27FC236}">
                <a16:creationId xmlns:a16="http://schemas.microsoft.com/office/drawing/2014/main" id="{CE54C1C0-D953-09FC-46AB-1CD803756B67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68362" y="4357257"/>
            <a:ext cx="1577057" cy="1853043"/>
          </a:xfrm>
          <a:prstGeom prst="rect">
            <a:avLst/>
          </a:prstGeom>
        </p:spPr>
      </p:pic>
      <p:pic>
        <p:nvPicPr>
          <p:cNvPr id="10" name="Gráfico 9">
            <a:extLst>
              <a:ext uri="{FF2B5EF4-FFF2-40B4-BE49-F238E27FC236}">
                <a16:creationId xmlns:a16="http://schemas.microsoft.com/office/drawing/2014/main" id="{15B50A3B-6C12-DE17-8536-FE3F8B4AA77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 l="32" r="32"/>
          <a:stretch/>
        </p:blipFill>
        <p:spPr>
          <a:xfrm>
            <a:off x="1038386" y="476863"/>
            <a:ext cx="1411800" cy="8297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2748896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Layout Personalizado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9E3206E-0AB7-B63C-651D-884C11379B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62350" y="2090737"/>
            <a:ext cx="6832600" cy="2674937"/>
          </a:xfrm>
        </p:spPr>
        <p:txBody>
          <a:bodyPr anchor="ctr"/>
          <a:lstStyle>
            <a:lvl1pPr>
              <a:lnSpc>
                <a:spcPct val="80000"/>
              </a:lnSpc>
              <a:defRPr lang="pt-BR" sz="4400" b="1" i="0" u="none" strike="noStrike" kern="1200" cap="none" spc="-100" baseline="0" dirty="0" smtClean="0">
                <a:solidFill>
                  <a:schemeClr val="bg1"/>
                </a:solidFill>
                <a:latin typeface="+mj-lt"/>
                <a:ea typeface="+mj-ea"/>
                <a:cs typeface="+mj-cs"/>
                <a:sym typeface="Arial"/>
              </a:defRPr>
            </a:lvl1pPr>
          </a:lstStyle>
          <a:p>
            <a:r>
              <a:rPr lang="pt-BR"/>
              <a:t>Clique para editar o título</a:t>
            </a:r>
          </a:p>
        </p:txBody>
      </p:sp>
      <p:pic>
        <p:nvPicPr>
          <p:cNvPr id="8" name="Gráfico 7">
            <a:extLst>
              <a:ext uri="{FF2B5EF4-FFF2-40B4-BE49-F238E27FC236}">
                <a16:creationId xmlns:a16="http://schemas.microsoft.com/office/drawing/2014/main" id="{1575969D-0F0E-88B6-17B4-F083C94DB6A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-4438651" y="0"/>
            <a:ext cx="6858000" cy="6858000"/>
          </a:xfrm>
          <a:prstGeom prst="rect">
            <a:avLst/>
          </a:prstGeom>
        </p:spPr>
      </p:pic>
      <p:pic>
        <p:nvPicPr>
          <p:cNvPr id="9" name="Gráfico 8">
            <a:extLst>
              <a:ext uri="{FF2B5EF4-FFF2-40B4-BE49-F238E27FC236}">
                <a16:creationId xmlns:a16="http://schemas.microsoft.com/office/drawing/2014/main" id="{CE54C1C0-D953-09FC-46AB-1CD803756B67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68362" y="4357257"/>
            <a:ext cx="1577057" cy="1853043"/>
          </a:xfrm>
          <a:prstGeom prst="rect">
            <a:avLst/>
          </a:prstGeom>
        </p:spPr>
      </p:pic>
      <p:pic>
        <p:nvPicPr>
          <p:cNvPr id="10" name="Gráfico 9">
            <a:extLst>
              <a:ext uri="{FF2B5EF4-FFF2-40B4-BE49-F238E27FC236}">
                <a16:creationId xmlns:a16="http://schemas.microsoft.com/office/drawing/2014/main" id="{15B50A3B-6C12-DE17-8536-FE3F8B4AA77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 l="32" r="32"/>
          <a:stretch/>
        </p:blipFill>
        <p:spPr>
          <a:xfrm>
            <a:off x="1038386" y="476863"/>
            <a:ext cx="1411800" cy="829797"/>
          </a:xfrm>
          <a:prstGeom prst="rect">
            <a:avLst/>
          </a:prstGeom>
        </p:spPr>
      </p:pic>
      <p:sp>
        <p:nvSpPr>
          <p:cNvPr id="19" name="Espaço Reservado para Texto 4">
            <a:extLst>
              <a:ext uri="{FF2B5EF4-FFF2-40B4-BE49-F238E27FC236}">
                <a16:creationId xmlns:a16="http://schemas.microsoft.com/office/drawing/2014/main" id="{4D87E33E-59D6-DAD1-29AD-45184F79D6C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538538" y="4268788"/>
            <a:ext cx="6892925" cy="496887"/>
          </a:xfrm>
        </p:spPr>
        <p:txBody>
          <a:bodyPr lIns="108000" anchor="ctr">
            <a:normAutofit/>
          </a:bodyPr>
          <a:lstStyle>
            <a:lvl1pPr>
              <a:defRPr sz="1100" b="0" cap="all" spc="100" baseline="0">
                <a:solidFill>
                  <a:schemeClr val="bg2"/>
                </a:solidFill>
              </a:defRPr>
            </a:lvl1pPr>
          </a:lstStyle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457686041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ço Reservado para Texto 6">
            <a:extLst>
              <a:ext uri="{FF2B5EF4-FFF2-40B4-BE49-F238E27FC236}">
                <a16:creationId xmlns:a16="http://schemas.microsoft.com/office/drawing/2014/main" id="{D6F85BE3-183D-1F4D-9986-5566BC05916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10300" y="634416"/>
            <a:ext cx="5067325" cy="447675"/>
          </a:xfrm>
        </p:spPr>
        <p:txBody>
          <a:bodyPr lIns="108000">
            <a:normAutofit/>
          </a:bodyPr>
          <a:lstStyle>
            <a:lvl1pPr>
              <a:lnSpc>
                <a:spcPct val="100000"/>
              </a:lnSpc>
              <a:defRPr sz="1100" b="0" cap="all" spc="100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pt-BR"/>
              <a:t>Título</a:t>
            </a:r>
          </a:p>
        </p:txBody>
      </p:sp>
      <p:sp>
        <p:nvSpPr>
          <p:cNvPr id="8" name="Título 7">
            <a:extLst>
              <a:ext uri="{FF2B5EF4-FFF2-40B4-BE49-F238E27FC236}">
                <a16:creationId xmlns:a16="http://schemas.microsoft.com/office/drawing/2014/main" id="{850B399A-346B-51E3-1A92-253CADB724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10300" y="929692"/>
            <a:ext cx="5067325" cy="447676"/>
          </a:xfrm>
        </p:spPr>
        <p:txBody>
          <a:bodyPr anchor="t">
            <a:noAutofit/>
          </a:bodyPr>
          <a:lstStyle>
            <a:lvl1pPr>
              <a:defRPr sz="3600" b="1" spc="-100" baseline="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10" name="Espaço Reservado para Texto 9">
            <a:extLst>
              <a:ext uri="{FF2B5EF4-FFF2-40B4-BE49-F238E27FC236}">
                <a16:creationId xmlns:a16="http://schemas.microsoft.com/office/drawing/2014/main" id="{A4BD41B5-820C-FB18-CD31-121F93FBE6B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209506" y="2090738"/>
            <a:ext cx="5068094" cy="4125912"/>
          </a:xfrm>
        </p:spPr>
        <p:txBody>
          <a:bodyPr>
            <a:noAutofit/>
          </a:bodyPr>
          <a:lstStyle>
            <a:lvl1pPr marL="0" indent="0">
              <a:lnSpc>
                <a:spcPct val="120000"/>
              </a:lnSpc>
              <a:spcBef>
                <a:spcPts val="2000"/>
              </a:spcBef>
              <a:spcAft>
                <a:spcPts val="500"/>
              </a:spcAft>
              <a:buFont typeface="Arial" panose="020B0604020202020204" pitchFamily="34" charset="0"/>
              <a:buNone/>
              <a:defRPr sz="1600" b="1" u="none">
                <a:solidFill>
                  <a:schemeClr val="accent2"/>
                </a:solidFill>
              </a:defRPr>
            </a:lvl1pPr>
            <a:lvl2pPr marL="0" indent="0">
              <a:lnSpc>
                <a:spcPct val="120000"/>
              </a:lnSpc>
              <a:spcBef>
                <a:spcPts val="0"/>
              </a:spcBef>
              <a:spcAft>
                <a:spcPts val="500"/>
              </a:spcAft>
              <a:buNone/>
              <a:defRPr sz="1400"/>
            </a:lvl2pPr>
            <a:lvl3pPr marL="792000" indent="-288000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400">
                <a:solidFill>
                  <a:schemeClr val="tx2"/>
                </a:solidFill>
              </a:defRPr>
            </a:lvl3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endParaRPr lang="pt-BR"/>
          </a:p>
        </p:txBody>
      </p:sp>
      <p:sp>
        <p:nvSpPr>
          <p:cNvPr id="6" name="Picture Placeholder 4">
            <a:extLst>
              <a:ext uri="{FF2B5EF4-FFF2-40B4-BE49-F238E27FC236}">
                <a16:creationId xmlns:a16="http://schemas.microsoft.com/office/drawing/2014/main" id="{BD69C575-C0B5-1DAA-55F9-8E736B50604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013853" y="1514150"/>
            <a:ext cx="3494354" cy="3494354"/>
          </a:xfrm>
          <a:custGeom>
            <a:avLst/>
            <a:gdLst>
              <a:gd name="connsiteX0" fmla="*/ 3543300 w 7086600"/>
              <a:gd name="connsiteY0" fmla="*/ 0 h 7086600"/>
              <a:gd name="connsiteX1" fmla="*/ 7086600 w 7086600"/>
              <a:gd name="connsiteY1" fmla="*/ 3543300 h 7086600"/>
              <a:gd name="connsiteX2" fmla="*/ 3543300 w 7086600"/>
              <a:gd name="connsiteY2" fmla="*/ 7086600 h 7086600"/>
              <a:gd name="connsiteX3" fmla="*/ 0 w 7086600"/>
              <a:gd name="connsiteY3" fmla="*/ 3543300 h 7086600"/>
              <a:gd name="connsiteX4" fmla="*/ 3543300 w 7086600"/>
              <a:gd name="connsiteY4" fmla="*/ 0 h 7086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086600" h="7086600">
                <a:moveTo>
                  <a:pt x="3543300" y="0"/>
                </a:moveTo>
                <a:cubicBezTo>
                  <a:pt x="5500211" y="0"/>
                  <a:pt x="7086600" y="1586389"/>
                  <a:pt x="7086600" y="3543300"/>
                </a:cubicBezTo>
                <a:cubicBezTo>
                  <a:pt x="7086600" y="5500211"/>
                  <a:pt x="5500211" y="7086600"/>
                  <a:pt x="3543300" y="7086600"/>
                </a:cubicBezTo>
                <a:cubicBezTo>
                  <a:pt x="1586389" y="7086600"/>
                  <a:pt x="0" y="5500211"/>
                  <a:pt x="0" y="3543300"/>
                </a:cubicBezTo>
                <a:cubicBezTo>
                  <a:pt x="0" y="1586389"/>
                  <a:pt x="1586389" y="0"/>
                  <a:pt x="35433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 sz="2000"/>
            </a:lvl1pPr>
          </a:lstStyle>
          <a:p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532285889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ço Reservado para Texto 6">
            <a:extLst>
              <a:ext uri="{FF2B5EF4-FFF2-40B4-BE49-F238E27FC236}">
                <a16:creationId xmlns:a16="http://schemas.microsoft.com/office/drawing/2014/main" id="{D6F85BE3-183D-1F4D-9986-5566BC05916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15194" y="634416"/>
            <a:ext cx="5067325" cy="447675"/>
          </a:xfrm>
        </p:spPr>
        <p:txBody>
          <a:bodyPr lIns="108000">
            <a:normAutofit/>
          </a:bodyPr>
          <a:lstStyle>
            <a:lvl1pPr>
              <a:lnSpc>
                <a:spcPct val="100000"/>
              </a:lnSpc>
              <a:defRPr sz="1100" b="0" cap="all" spc="100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pt-BR"/>
              <a:t>Título</a:t>
            </a:r>
          </a:p>
        </p:txBody>
      </p:sp>
      <p:sp>
        <p:nvSpPr>
          <p:cNvPr id="8" name="Título 7">
            <a:extLst>
              <a:ext uri="{FF2B5EF4-FFF2-40B4-BE49-F238E27FC236}">
                <a16:creationId xmlns:a16="http://schemas.microsoft.com/office/drawing/2014/main" id="{850B399A-346B-51E3-1A92-253CADB724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5194" y="929692"/>
            <a:ext cx="5067325" cy="447676"/>
          </a:xfrm>
        </p:spPr>
        <p:txBody>
          <a:bodyPr anchor="t">
            <a:noAutofit/>
          </a:bodyPr>
          <a:lstStyle>
            <a:lvl1pPr>
              <a:defRPr sz="3200" b="1" spc="-100" baseline="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10" name="Espaço Reservado para Texto 9">
            <a:extLst>
              <a:ext uri="{FF2B5EF4-FFF2-40B4-BE49-F238E27FC236}">
                <a16:creationId xmlns:a16="http://schemas.microsoft.com/office/drawing/2014/main" id="{A4BD41B5-820C-FB18-CD31-121F93FBE6B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14400" y="2090738"/>
            <a:ext cx="5068094" cy="4125912"/>
          </a:xfrm>
        </p:spPr>
        <p:txBody>
          <a:bodyPr>
            <a:noAutofit/>
          </a:bodyPr>
          <a:lstStyle>
            <a:lvl1pPr marL="0" indent="0">
              <a:lnSpc>
                <a:spcPct val="120000"/>
              </a:lnSpc>
              <a:spcBef>
                <a:spcPts val="2000"/>
              </a:spcBef>
              <a:spcAft>
                <a:spcPts val="500"/>
              </a:spcAft>
              <a:buFont typeface="Arial" panose="020B0604020202020204" pitchFamily="34" charset="0"/>
              <a:buNone/>
              <a:defRPr sz="1600" b="1" u="none">
                <a:solidFill>
                  <a:schemeClr val="accent2"/>
                </a:solidFill>
              </a:defRPr>
            </a:lvl1pPr>
            <a:lvl2pPr marL="0" indent="0">
              <a:lnSpc>
                <a:spcPct val="120000"/>
              </a:lnSpc>
              <a:spcBef>
                <a:spcPts val="0"/>
              </a:spcBef>
              <a:spcAft>
                <a:spcPts val="500"/>
              </a:spcAft>
              <a:buNone/>
              <a:defRPr sz="1400"/>
            </a:lvl2pPr>
            <a:lvl3pPr marL="792000" indent="-288000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400">
                <a:solidFill>
                  <a:schemeClr val="tx2"/>
                </a:solidFill>
              </a:defRPr>
            </a:lvl3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endParaRPr lang="pt-BR"/>
          </a:p>
        </p:txBody>
      </p:sp>
      <p:sp>
        <p:nvSpPr>
          <p:cNvPr id="6" name="Picture Placeholder 4">
            <a:extLst>
              <a:ext uri="{FF2B5EF4-FFF2-40B4-BE49-F238E27FC236}">
                <a16:creationId xmlns:a16="http://schemas.microsoft.com/office/drawing/2014/main" id="{BD69C575-C0B5-1DAA-55F9-8E736B506045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137373" y="2652353"/>
            <a:ext cx="3215912" cy="3215912"/>
          </a:xfrm>
          <a:custGeom>
            <a:avLst/>
            <a:gdLst>
              <a:gd name="connsiteX0" fmla="*/ 3543300 w 7086600"/>
              <a:gd name="connsiteY0" fmla="*/ 0 h 7086600"/>
              <a:gd name="connsiteX1" fmla="*/ 7086600 w 7086600"/>
              <a:gd name="connsiteY1" fmla="*/ 3543300 h 7086600"/>
              <a:gd name="connsiteX2" fmla="*/ 3543300 w 7086600"/>
              <a:gd name="connsiteY2" fmla="*/ 7086600 h 7086600"/>
              <a:gd name="connsiteX3" fmla="*/ 0 w 7086600"/>
              <a:gd name="connsiteY3" fmla="*/ 3543300 h 7086600"/>
              <a:gd name="connsiteX4" fmla="*/ 3543300 w 7086600"/>
              <a:gd name="connsiteY4" fmla="*/ 0 h 7086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086600" h="7086600">
                <a:moveTo>
                  <a:pt x="3543300" y="0"/>
                </a:moveTo>
                <a:cubicBezTo>
                  <a:pt x="5500211" y="0"/>
                  <a:pt x="7086600" y="1586389"/>
                  <a:pt x="7086600" y="3543300"/>
                </a:cubicBezTo>
                <a:cubicBezTo>
                  <a:pt x="7086600" y="5500211"/>
                  <a:pt x="5500211" y="7086600"/>
                  <a:pt x="3543300" y="7086600"/>
                </a:cubicBezTo>
                <a:cubicBezTo>
                  <a:pt x="1586389" y="7086600"/>
                  <a:pt x="0" y="5500211"/>
                  <a:pt x="0" y="3543300"/>
                </a:cubicBezTo>
                <a:cubicBezTo>
                  <a:pt x="0" y="1586389"/>
                  <a:pt x="1586389" y="0"/>
                  <a:pt x="35433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 sz="2000"/>
            </a:lvl1pPr>
          </a:lstStyle>
          <a:p>
            <a:r>
              <a:rPr lang="en-ID" err="1"/>
              <a:t>Imagem</a:t>
            </a:r>
            <a:endParaRPr lang="en-ID"/>
          </a:p>
        </p:txBody>
      </p:sp>
      <p:sp>
        <p:nvSpPr>
          <p:cNvPr id="2" name="Elipse 1">
            <a:extLst>
              <a:ext uri="{FF2B5EF4-FFF2-40B4-BE49-F238E27FC236}">
                <a16:creationId xmlns:a16="http://schemas.microsoft.com/office/drawing/2014/main" id="{A49AEE0D-5540-3547-BC5A-EEFF6F6E43A8}"/>
              </a:ext>
            </a:extLst>
          </p:cNvPr>
          <p:cNvSpPr/>
          <p:nvPr userDrawn="1"/>
        </p:nvSpPr>
        <p:spPr>
          <a:xfrm>
            <a:off x="6063916" y="1579387"/>
            <a:ext cx="5362826" cy="5362826"/>
          </a:xfrm>
          <a:prstGeom prst="ellipse">
            <a:avLst/>
          </a:prstGeom>
          <a:noFill/>
          <a:ln w="9525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9" name="Elipse 8">
            <a:extLst>
              <a:ext uri="{FF2B5EF4-FFF2-40B4-BE49-F238E27FC236}">
                <a16:creationId xmlns:a16="http://schemas.microsoft.com/office/drawing/2014/main" id="{C637D6D3-823D-5CA1-E4DB-1EBD83A6E131}"/>
              </a:ext>
            </a:extLst>
          </p:cNvPr>
          <p:cNvSpPr/>
          <p:nvPr userDrawn="1"/>
        </p:nvSpPr>
        <p:spPr>
          <a:xfrm>
            <a:off x="7111110" y="786063"/>
            <a:ext cx="1600274" cy="1600274"/>
          </a:xfrm>
          <a:prstGeom prst="ellipse">
            <a:avLst/>
          </a:pr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1" name="Elipse 10">
            <a:extLst>
              <a:ext uri="{FF2B5EF4-FFF2-40B4-BE49-F238E27FC236}">
                <a16:creationId xmlns:a16="http://schemas.microsoft.com/office/drawing/2014/main" id="{A80B72A2-436E-D9FD-0AF7-648ADA0BB41E}"/>
              </a:ext>
            </a:extLst>
          </p:cNvPr>
          <p:cNvSpPr/>
          <p:nvPr userDrawn="1"/>
        </p:nvSpPr>
        <p:spPr>
          <a:xfrm>
            <a:off x="10338588" y="4967534"/>
            <a:ext cx="1243812" cy="1243812"/>
          </a:xfrm>
          <a:prstGeom prst="ellipse">
            <a:avLst/>
          </a:pr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12" name="Gráfico 11">
            <a:extLst>
              <a:ext uri="{FF2B5EF4-FFF2-40B4-BE49-F238E27FC236}">
                <a16:creationId xmlns:a16="http://schemas.microsoft.com/office/drawing/2014/main" id="{E9ECFA41-67A9-E4A3-C1EE-58B458E21DE6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828972" y="-1239748"/>
            <a:ext cx="2726056" cy="2726056"/>
          </a:xfrm>
          <a:prstGeom prst="rect">
            <a:avLst/>
          </a:prstGeom>
        </p:spPr>
      </p:pic>
      <p:sp>
        <p:nvSpPr>
          <p:cNvPr id="14" name="Picture Placeholder 4">
            <a:extLst>
              <a:ext uri="{FF2B5EF4-FFF2-40B4-BE49-F238E27FC236}">
                <a16:creationId xmlns:a16="http://schemas.microsoft.com/office/drawing/2014/main" id="{C78140DF-A908-BA68-B4C7-7132F96883C0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7328107" y="1003061"/>
            <a:ext cx="1166279" cy="1166279"/>
          </a:xfrm>
          <a:custGeom>
            <a:avLst/>
            <a:gdLst>
              <a:gd name="connsiteX0" fmla="*/ 3543300 w 7086600"/>
              <a:gd name="connsiteY0" fmla="*/ 0 h 7086600"/>
              <a:gd name="connsiteX1" fmla="*/ 7086600 w 7086600"/>
              <a:gd name="connsiteY1" fmla="*/ 3543300 h 7086600"/>
              <a:gd name="connsiteX2" fmla="*/ 3543300 w 7086600"/>
              <a:gd name="connsiteY2" fmla="*/ 7086600 h 7086600"/>
              <a:gd name="connsiteX3" fmla="*/ 0 w 7086600"/>
              <a:gd name="connsiteY3" fmla="*/ 3543300 h 7086600"/>
              <a:gd name="connsiteX4" fmla="*/ 3543300 w 7086600"/>
              <a:gd name="connsiteY4" fmla="*/ 0 h 7086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086600" h="7086600">
                <a:moveTo>
                  <a:pt x="3543300" y="0"/>
                </a:moveTo>
                <a:cubicBezTo>
                  <a:pt x="5500211" y="0"/>
                  <a:pt x="7086600" y="1586389"/>
                  <a:pt x="7086600" y="3543300"/>
                </a:cubicBezTo>
                <a:cubicBezTo>
                  <a:pt x="7086600" y="5500211"/>
                  <a:pt x="5500211" y="7086600"/>
                  <a:pt x="3543300" y="7086600"/>
                </a:cubicBezTo>
                <a:cubicBezTo>
                  <a:pt x="1586389" y="7086600"/>
                  <a:pt x="0" y="5500211"/>
                  <a:pt x="0" y="3543300"/>
                </a:cubicBezTo>
                <a:cubicBezTo>
                  <a:pt x="0" y="1586389"/>
                  <a:pt x="1586389" y="0"/>
                  <a:pt x="35433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 sz="2000"/>
            </a:lvl1pPr>
          </a:lstStyle>
          <a:p>
            <a:r>
              <a:rPr lang="en-ID" err="1"/>
              <a:t>Imagem</a:t>
            </a:r>
            <a:endParaRPr lang="en-ID"/>
          </a:p>
        </p:txBody>
      </p:sp>
      <p:sp>
        <p:nvSpPr>
          <p:cNvPr id="16" name="Picture Placeholder 4">
            <a:extLst>
              <a:ext uri="{FF2B5EF4-FFF2-40B4-BE49-F238E27FC236}">
                <a16:creationId xmlns:a16="http://schemas.microsoft.com/office/drawing/2014/main" id="{BE0A0048-DD3B-B964-36C4-C7F672FEE759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10567923" y="5196870"/>
            <a:ext cx="785141" cy="785141"/>
          </a:xfrm>
          <a:custGeom>
            <a:avLst/>
            <a:gdLst>
              <a:gd name="connsiteX0" fmla="*/ 3543300 w 7086600"/>
              <a:gd name="connsiteY0" fmla="*/ 0 h 7086600"/>
              <a:gd name="connsiteX1" fmla="*/ 7086600 w 7086600"/>
              <a:gd name="connsiteY1" fmla="*/ 3543300 h 7086600"/>
              <a:gd name="connsiteX2" fmla="*/ 3543300 w 7086600"/>
              <a:gd name="connsiteY2" fmla="*/ 7086600 h 7086600"/>
              <a:gd name="connsiteX3" fmla="*/ 0 w 7086600"/>
              <a:gd name="connsiteY3" fmla="*/ 3543300 h 7086600"/>
              <a:gd name="connsiteX4" fmla="*/ 3543300 w 7086600"/>
              <a:gd name="connsiteY4" fmla="*/ 0 h 7086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086600" h="7086600">
                <a:moveTo>
                  <a:pt x="3543300" y="0"/>
                </a:moveTo>
                <a:cubicBezTo>
                  <a:pt x="5500211" y="0"/>
                  <a:pt x="7086600" y="1586389"/>
                  <a:pt x="7086600" y="3543300"/>
                </a:cubicBezTo>
                <a:cubicBezTo>
                  <a:pt x="7086600" y="5500211"/>
                  <a:pt x="5500211" y="7086600"/>
                  <a:pt x="3543300" y="7086600"/>
                </a:cubicBezTo>
                <a:cubicBezTo>
                  <a:pt x="1586389" y="7086600"/>
                  <a:pt x="0" y="5500211"/>
                  <a:pt x="0" y="3543300"/>
                </a:cubicBezTo>
                <a:cubicBezTo>
                  <a:pt x="0" y="1586389"/>
                  <a:pt x="1586389" y="0"/>
                  <a:pt x="35433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 sz="2000"/>
            </a:lvl1pPr>
          </a:lstStyle>
          <a:p>
            <a:r>
              <a:rPr lang="en-ID" err="1"/>
              <a:t>Imagem</a:t>
            </a:r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41194619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Layout Personalizado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ítulo 7">
            <a:extLst>
              <a:ext uri="{FF2B5EF4-FFF2-40B4-BE49-F238E27FC236}">
                <a16:creationId xmlns:a16="http://schemas.microsoft.com/office/drawing/2014/main" id="{850B399A-346B-51E3-1A92-253CADB7249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10300" y="1398588"/>
            <a:ext cx="5067325" cy="447676"/>
          </a:xfrm>
        </p:spPr>
        <p:txBody>
          <a:bodyPr anchor="t">
            <a:noAutofit/>
          </a:bodyPr>
          <a:lstStyle>
            <a:lvl1pPr>
              <a:defRPr sz="3000" b="1" spc="-100" baseline="0">
                <a:solidFill>
                  <a:schemeClr val="bg1"/>
                </a:solidFill>
              </a:defRPr>
            </a:lvl1pPr>
          </a:lstStyle>
          <a:p>
            <a:r>
              <a:rPr lang="pt-BR"/>
              <a:t>Título Mestre</a:t>
            </a:r>
          </a:p>
        </p:txBody>
      </p:sp>
      <p:sp>
        <p:nvSpPr>
          <p:cNvPr id="10" name="Espaço Reservado para Texto 9">
            <a:extLst>
              <a:ext uri="{FF2B5EF4-FFF2-40B4-BE49-F238E27FC236}">
                <a16:creationId xmlns:a16="http://schemas.microsoft.com/office/drawing/2014/main" id="{A4BD41B5-820C-FB18-CD31-121F93FBE6B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209506" y="2090738"/>
            <a:ext cx="5068094" cy="4125912"/>
          </a:xfrm>
        </p:spPr>
        <p:txBody>
          <a:bodyPr>
            <a:noAutofit/>
          </a:bodyPr>
          <a:lstStyle>
            <a:lvl1pPr marL="0" indent="0">
              <a:lnSpc>
                <a:spcPct val="120000"/>
              </a:lnSpc>
              <a:spcBef>
                <a:spcPts val="2000"/>
              </a:spcBef>
              <a:spcAft>
                <a:spcPts val="500"/>
              </a:spcAft>
              <a:buFont typeface="Arial" panose="020B0604020202020204" pitchFamily="34" charset="0"/>
              <a:buNone/>
              <a:defRPr sz="1500" b="1" u="none">
                <a:solidFill>
                  <a:schemeClr val="accent2"/>
                </a:solidFill>
              </a:defRPr>
            </a:lvl1pPr>
            <a:lvl2pPr marL="0" indent="0">
              <a:lnSpc>
                <a:spcPct val="120000"/>
              </a:lnSpc>
              <a:spcBef>
                <a:spcPts val="0"/>
              </a:spcBef>
              <a:spcAft>
                <a:spcPts val="500"/>
              </a:spcAft>
              <a:buNone/>
              <a:defRPr sz="1300">
                <a:solidFill>
                  <a:schemeClr val="bg1"/>
                </a:solidFill>
              </a:defRPr>
            </a:lvl2pPr>
            <a:lvl3pPr marL="792000" indent="-288000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400">
                <a:solidFill>
                  <a:schemeClr val="bg2"/>
                </a:solidFill>
              </a:defRPr>
            </a:lvl3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endParaRPr lang="pt-BR"/>
          </a:p>
        </p:txBody>
      </p:sp>
      <p:pic>
        <p:nvPicPr>
          <p:cNvPr id="2" name="Gráfico 1">
            <a:extLst>
              <a:ext uri="{FF2B5EF4-FFF2-40B4-BE49-F238E27FC236}">
                <a16:creationId xmlns:a16="http://schemas.microsoft.com/office/drawing/2014/main" id="{0A5879CF-3A57-F8C5-5DB7-0DDBF0702F55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638510" y="1335128"/>
            <a:ext cx="1022272" cy="1022272"/>
          </a:xfrm>
          <a:prstGeom prst="rect">
            <a:avLst/>
          </a:prstGeom>
        </p:spPr>
      </p:pic>
      <p:pic>
        <p:nvPicPr>
          <p:cNvPr id="3" name="Gráfico 2">
            <a:extLst>
              <a:ext uri="{FF2B5EF4-FFF2-40B4-BE49-F238E27FC236}">
                <a16:creationId xmlns:a16="http://schemas.microsoft.com/office/drawing/2014/main" id="{65263578-CBA1-22C2-E629-7BBA7BA793D8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-888620" y="-1239748"/>
            <a:ext cx="2726056" cy="2726056"/>
          </a:xfrm>
          <a:prstGeom prst="rect">
            <a:avLst/>
          </a:prstGeom>
        </p:spPr>
      </p:pic>
      <p:pic>
        <p:nvPicPr>
          <p:cNvPr id="4" name="Gráfico 3">
            <a:extLst>
              <a:ext uri="{FF2B5EF4-FFF2-40B4-BE49-F238E27FC236}">
                <a16:creationId xmlns:a16="http://schemas.microsoft.com/office/drawing/2014/main" id="{139BA4FB-8314-FDEC-15F0-E08569D9D4CB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109642" y="5660305"/>
            <a:ext cx="681514" cy="681514"/>
          </a:xfrm>
          <a:prstGeom prst="rect">
            <a:avLst/>
          </a:prstGeom>
        </p:spPr>
      </p:pic>
      <p:sp>
        <p:nvSpPr>
          <p:cNvPr id="6" name="Picture Placeholder 4">
            <a:extLst>
              <a:ext uri="{FF2B5EF4-FFF2-40B4-BE49-F238E27FC236}">
                <a16:creationId xmlns:a16="http://schemas.microsoft.com/office/drawing/2014/main" id="{BD69C575-C0B5-1DAA-55F9-8E736B50604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949568" y="1642454"/>
            <a:ext cx="4061502" cy="4061502"/>
          </a:xfrm>
          <a:custGeom>
            <a:avLst/>
            <a:gdLst>
              <a:gd name="connsiteX0" fmla="*/ 3543300 w 7086600"/>
              <a:gd name="connsiteY0" fmla="*/ 0 h 7086600"/>
              <a:gd name="connsiteX1" fmla="*/ 7086600 w 7086600"/>
              <a:gd name="connsiteY1" fmla="*/ 3543300 h 7086600"/>
              <a:gd name="connsiteX2" fmla="*/ 3543300 w 7086600"/>
              <a:gd name="connsiteY2" fmla="*/ 7086600 h 7086600"/>
              <a:gd name="connsiteX3" fmla="*/ 0 w 7086600"/>
              <a:gd name="connsiteY3" fmla="*/ 3543300 h 7086600"/>
              <a:gd name="connsiteX4" fmla="*/ 3543300 w 7086600"/>
              <a:gd name="connsiteY4" fmla="*/ 0 h 7086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086600" h="7086600">
                <a:moveTo>
                  <a:pt x="3543300" y="0"/>
                </a:moveTo>
                <a:cubicBezTo>
                  <a:pt x="5500211" y="0"/>
                  <a:pt x="7086600" y="1586389"/>
                  <a:pt x="7086600" y="3543300"/>
                </a:cubicBezTo>
                <a:cubicBezTo>
                  <a:pt x="7086600" y="5500211"/>
                  <a:pt x="5500211" y="7086600"/>
                  <a:pt x="3543300" y="7086600"/>
                </a:cubicBezTo>
                <a:cubicBezTo>
                  <a:pt x="1586389" y="7086600"/>
                  <a:pt x="0" y="5500211"/>
                  <a:pt x="0" y="3543300"/>
                </a:cubicBezTo>
                <a:cubicBezTo>
                  <a:pt x="0" y="1586389"/>
                  <a:pt x="1586389" y="0"/>
                  <a:pt x="35433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 sz="2000"/>
            </a:lvl1pPr>
          </a:lstStyle>
          <a:p>
            <a:endParaRPr lang="en-ID"/>
          </a:p>
        </p:txBody>
      </p:sp>
      <p:sp>
        <p:nvSpPr>
          <p:cNvPr id="12" name="Espaço Reservado para Imagem 10">
            <a:extLst>
              <a:ext uri="{FF2B5EF4-FFF2-40B4-BE49-F238E27FC236}">
                <a16:creationId xmlns:a16="http://schemas.microsoft.com/office/drawing/2014/main" id="{82EDB949-E31F-851E-8023-22D09B234E03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74745" y="1494631"/>
            <a:ext cx="1190998" cy="1395317"/>
          </a:xfrm>
        </p:spPr>
        <p:txBody>
          <a:bodyPr/>
          <a:lstStyle>
            <a:lvl1pPr>
              <a:defRPr spc="-50" baseline="0"/>
            </a:lvl1pPr>
          </a:lstStyle>
          <a:p>
            <a:r>
              <a:rPr lang="pt-BR"/>
              <a:t>Grafismo</a:t>
            </a:r>
            <a:br>
              <a:rPr lang="pt-BR"/>
            </a:br>
            <a:r>
              <a:rPr lang="pt-BR"/>
              <a:t>(opcional)</a:t>
            </a:r>
          </a:p>
        </p:txBody>
      </p:sp>
    </p:spTree>
    <p:extLst>
      <p:ext uri="{BB962C8B-B14F-4D97-AF65-F5344CB8AC3E}">
        <p14:creationId xmlns:p14="http://schemas.microsoft.com/office/powerpoint/2010/main" val="2069179966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Layout Personalizado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val 6">
            <a:extLst>
              <a:ext uri="{FF2B5EF4-FFF2-40B4-BE49-F238E27FC236}">
                <a16:creationId xmlns:a16="http://schemas.microsoft.com/office/drawing/2014/main" id="{834422CA-98D0-C42F-0C28-8A89C29CEF93}"/>
              </a:ext>
            </a:extLst>
          </p:cNvPr>
          <p:cNvSpPr/>
          <p:nvPr userDrawn="1"/>
        </p:nvSpPr>
        <p:spPr>
          <a:xfrm>
            <a:off x="-279474" y="3770819"/>
            <a:ext cx="2140804" cy="2135020"/>
          </a:xfrm>
          <a:prstGeom prst="ellipse">
            <a:avLst/>
          </a:prstGeom>
          <a:solidFill>
            <a:srgbClr val="F461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sz="1351"/>
          </a:p>
        </p:txBody>
      </p:sp>
      <p:pic>
        <p:nvPicPr>
          <p:cNvPr id="4" name="Gráfico 3">
            <a:extLst>
              <a:ext uri="{FF2B5EF4-FFF2-40B4-BE49-F238E27FC236}">
                <a16:creationId xmlns:a16="http://schemas.microsoft.com/office/drawing/2014/main" id="{E1A1E57D-5415-FF9C-C2D4-D14B5775926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435006" y="1136650"/>
            <a:ext cx="1712170" cy="1707542"/>
          </a:xfrm>
          <a:prstGeom prst="rect">
            <a:avLst/>
          </a:prstGeom>
        </p:spPr>
      </p:pic>
      <p:sp>
        <p:nvSpPr>
          <p:cNvPr id="5" name="Oval 5">
            <a:extLst>
              <a:ext uri="{FF2B5EF4-FFF2-40B4-BE49-F238E27FC236}">
                <a16:creationId xmlns:a16="http://schemas.microsoft.com/office/drawing/2014/main" id="{A501F69B-8309-1299-025A-632B85EADA6F}"/>
              </a:ext>
            </a:extLst>
          </p:cNvPr>
          <p:cNvSpPr/>
          <p:nvPr userDrawn="1"/>
        </p:nvSpPr>
        <p:spPr>
          <a:xfrm>
            <a:off x="949082" y="1438270"/>
            <a:ext cx="3633370" cy="3623546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sz="1351"/>
          </a:p>
        </p:txBody>
      </p:sp>
      <p:sp>
        <p:nvSpPr>
          <p:cNvPr id="7" name="Espaço Reservado para Texto 6">
            <a:extLst>
              <a:ext uri="{FF2B5EF4-FFF2-40B4-BE49-F238E27FC236}">
                <a16:creationId xmlns:a16="http://schemas.microsoft.com/office/drawing/2014/main" id="{D6F85BE3-183D-1F4D-9986-5566BC05916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10300" y="634416"/>
            <a:ext cx="5067325" cy="447675"/>
          </a:xfrm>
        </p:spPr>
        <p:txBody>
          <a:bodyPr lIns="108000">
            <a:normAutofit/>
          </a:bodyPr>
          <a:lstStyle>
            <a:lvl1pPr>
              <a:lnSpc>
                <a:spcPct val="100000"/>
              </a:lnSpc>
              <a:defRPr sz="1100" b="0" cap="all" spc="100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pt-BR"/>
              <a:t>Título</a:t>
            </a:r>
          </a:p>
        </p:txBody>
      </p:sp>
      <p:sp>
        <p:nvSpPr>
          <p:cNvPr id="8" name="Título 7">
            <a:extLst>
              <a:ext uri="{FF2B5EF4-FFF2-40B4-BE49-F238E27FC236}">
                <a16:creationId xmlns:a16="http://schemas.microsoft.com/office/drawing/2014/main" id="{850B399A-346B-51E3-1A92-253CADB724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10300" y="929692"/>
            <a:ext cx="5067325" cy="447676"/>
          </a:xfrm>
        </p:spPr>
        <p:txBody>
          <a:bodyPr anchor="t">
            <a:noAutofit/>
          </a:bodyPr>
          <a:lstStyle>
            <a:lvl1pPr>
              <a:defRPr sz="3600" b="1" spc="-100" baseline="0">
                <a:solidFill>
                  <a:schemeClr val="accent2"/>
                </a:solidFill>
              </a:defRPr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10" name="Espaço Reservado para Texto 9">
            <a:extLst>
              <a:ext uri="{FF2B5EF4-FFF2-40B4-BE49-F238E27FC236}">
                <a16:creationId xmlns:a16="http://schemas.microsoft.com/office/drawing/2014/main" id="{A4BD41B5-820C-FB18-CD31-121F93FBE6B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209506" y="2090738"/>
            <a:ext cx="5068094" cy="4132846"/>
          </a:xfrm>
        </p:spPr>
        <p:txBody>
          <a:bodyPr>
            <a:noAutofit/>
          </a:bodyPr>
          <a:lstStyle>
            <a:lvl1pPr marL="0" indent="0">
              <a:lnSpc>
                <a:spcPct val="120000"/>
              </a:lnSpc>
              <a:spcBef>
                <a:spcPts val="2000"/>
              </a:spcBef>
              <a:spcAft>
                <a:spcPts val="500"/>
              </a:spcAft>
              <a:buFont typeface="Arial" panose="020B0604020202020204" pitchFamily="34" charset="0"/>
              <a:buNone/>
              <a:defRPr sz="1600" b="1" u="none">
                <a:solidFill>
                  <a:schemeClr val="accent2"/>
                </a:solidFill>
              </a:defRPr>
            </a:lvl1pPr>
            <a:lvl2pPr marL="0" indent="0">
              <a:lnSpc>
                <a:spcPct val="120000"/>
              </a:lnSpc>
              <a:spcBef>
                <a:spcPts val="0"/>
              </a:spcBef>
              <a:spcAft>
                <a:spcPts val="500"/>
              </a:spcAft>
              <a:buNone/>
              <a:defRPr sz="1400">
                <a:solidFill>
                  <a:schemeClr val="bg1"/>
                </a:solidFill>
              </a:defRPr>
            </a:lvl2pPr>
            <a:lvl3pPr marL="792000" indent="-288000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FontTx/>
              <a:buBlip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</a:buBlip>
              <a:defRPr sz="1300">
                <a:solidFill>
                  <a:schemeClr val="bg2"/>
                </a:solidFill>
              </a:defRPr>
            </a:lvl3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endParaRPr lang="pt-BR"/>
          </a:p>
        </p:txBody>
      </p:sp>
      <p:sp>
        <p:nvSpPr>
          <p:cNvPr id="2" name="Picture Placeholder 4">
            <a:extLst>
              <a:ext uri="{FF2B5EF4-FFF2-40B4-BE49-F238E27FC236}">
                <a16:creationId xmlns:a16="http://schemas.microsoft.com/office/drawing/2014/main" id="{01BE0EC9-7069-DF75-D503-4A156A65201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013853" y="1505358"/>
            <a:ext cx="3494354" cy="3494354"/>
          </a:xfrm>
          <a:custGeom>
            <a:avLst/>
            <a:gdLst>
              <a:gd name="connsiteX0" fmla="*/ 3543300 w 7086600"/>
              <a:gd name="connsiteY0" fmla="*/ 0 h 7086600"/>
              <a:gd name="connsiteX1" fmla="*/ 7086600 w 7086600"/>
              <a:gd name="connsiteY1" fmla="*/ 3543300 h 7086600"/>
              <a:gd name="connsiteX2" fmla="*/ 3543300 w 7086600"/>
              <a:gd name="connsiteY2" fmla="*/ 7086600 h 7086600"/>
              <a:gd name="connsiteX3" fmla="*/ 0 w 7086600"/>
              <a:gd name="connsiteY3" fmla="*/ 3543300 h 7086600"/>
              <a:gd name="connsiteX4" fmla="*/ 3543300 w 7086600"/>
              <a:gd name="connsiteY4" fmla="*/ 0 h 7086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086600" h="7086600">
                <a:moveTo>
                  <a:pt x="3543300" y="0"/>
                </a:moveTo>
                <a:cubicBezTo>
                  <a:pt x="5500211" y="0"/>
                  <a:pt x="7086600" y="1586389"/>
                  <a:pt x="7086600" y="3543300"/>
                </a:cubicBezTo>
                <a:cubicBezTo>
                  <a:pt x="7086600" y="5500211"/>
                  <a:pt x="5500211" y="7086600"/>
                  <a:pt x="3543300" y="7086600"/>
                </a:cubicBezTo>
                <a:cubicBezTo>
                  <a:pt x="1586389" y="7086600"/>
                  <a:pt x="0" y="5500211"/>
                  <a:pt x="0" y="3543300"/>
                </a:cubicBezTo>
                <a:cubicBezTo>
                  <a:pt x="0" y="1586389"/>
                  <a:pt x="1586389" y="0"/>
                  <a:pt x="35433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 sz="2000"/>
            </a:lvl1pPr>
          </a:lstStyle>
          <a:p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42928903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áfico 1">
            <a:extLst>
              <a:ext uri="{FF2B5EF4-FFF2-40B4-BE49-F238E27FC236}">
                <a16:creationId xmlns:a16="http://schemas.microsoft.com/office/drawing/2014/main" id="{88C2BB54-28D0-7B69-03DE-35D0AF2305C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945802" y="1758649"/>
            <a:ext cx="1918548" cy="1918548"/>
          </a:xfrm>
          <a:prstGeom prst="rect">
            <a:avLst/>
          </a:prstGeom>
        </p:spPr>
      </p:pic>
      <p:sp>
        <p:nvSpPr>
          <p:cNvPr id="3" name="Oval 5">
            <a:extLst>
              <a:ext uri="{FF2B5EF4-FFF2-40B4-BE49-F238E27FC236}">
                <a16:creationId xmlns:a16="http://schemas.microsoft.com/office/drawing/2014/main" id="{43A55EDC-8B05-1E90-D19A-7CF6933CD13C}"/>
              </a:ext>
            </a:extLst>
          </p:cNvPr>
          <p:cNvSpPr/>
          <p:nvPr userDrawn="1"/>
        </p:nvSpPr>
        <p:spPr>
          <a:xfrm>
            <a:off x="1982364" y="2691731"/>
            <a:ext cx="3629025" cy="362902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sz="1351"/>
          </a:p>
        </p:txBody>
      </p:sp>
      <p:sp>
        <p:nvSpPr>
          <p:cNvPr id="4" name="Oval 6">
            <a:extLst>
              <a:ext uri="{FF2B5EF4-FFF2-40B4-BE49-F238E27FC236}">
                <a16:creationId xmlns:a16="http://schemas.microsoft.com/office/drawing/2014/main" id="{32D6C9E4-DEA1-2E9C-FC67-6A4B3C700A88}"/>
              </a:ext>
            </a:extLst>
          </p:cNvPr>
          <p:cNvSpPr/>
          <p:nvPr userDrawn="1"/>
        </p:nvSpPr>
        <p:spPr>
          <a:xfrm>
            <a:off x="245178" y="2094225"/>
            <a:ext cx="2398847" cy="2398847"/>
          </a:xfrm>
          <a:prstGeom prst="ellipse">
            <a:avLst/>
          </a:prstGeom>
          <a:solidFill>
            <a:srgbClr val="F3ABA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ID"/>
          </a:p>
        </p:txBody>
      </p:sp>
      <p:sp>
        <p:nvSpPr>
          <p:cNvPr id="5" name="Retângulo: Cantos Arredondados 4">
            <a:extLst>
              <a:ext uri="{FF2B5EF4-FFF2-40B4-BE49-F238E27FC236}">
                <a16:creationId xmlns:a16="http://schemas.microsoft.com/office/drawing/2014/main" id="{C5BCF3B3-3544-DAA9-5634-21C61FEECDBC}"/>
              </a:ext>
            </a:extLst>
          </p:cNvPr>
          <p:cNvSpPr/>
          <p:nvPr userDrawn="1"/>
        </p:nvSpPr>
        <p:spPr>
          <a:xfrm>
            <a:off x="931579" y="2094225"/>
            <a:ext cx="5055268" cy="3629025"/>
          </a:xfrm>
          <a:prstGeom prst="roundRect">
            <a:avLst>
              <a:gd name="adj" fmla="val 7715"/>
            </a:avLst>
          </a:prstGeom>
          <a:solidFill>
            <a:schemeClr val="bg1"/>
          </a:solidFill>
          <a:ln>
            <a:noFill/>
          </a:ln>
          <a:effectLst>
            <a:outerShdw blurRad="177800" dist="38100" dir="8100000" algn="tr" rotWithShape="0">
              <a:prstClr val="black">
                <a:alpha val="2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351"/>
          </a:p>
        </p:txBody>
      </p:sp>
      <p:sp>
        <p:nvSpPr>
          <p:cNvPr id="7" name="Retângulo: Cantos Arredondados 6">
            <a:extLst>
              <a:ext uri="{FF2B5EF4-FFF2-40B4-BE49-F238E27FC236}">
                <a16:creationId xmlns:a16="http://schemas.microsoft.com/office/drawing/2014/main" id="{B5DF07B2-02A4-CB71-CA7E-52A98612C97F}"/>
              </a:ext>
            </a:extLst>
          </p:cNvPr>
          <p:cNvSpPr/>
          <p:nvPr userDrawn="1"/>
        </p:nvSpPr>
        <p:spPr>
          <a:xfrm>
            <a:off x="6223200" y="2094224"/>
            <a:ext cx="5054400" cy="3622265"/>
          </a:xfrm>
          <a:prstGeom prst="roundRect">
            <a:avLst>
              <a:gd name="adj" fmla="val 7715"/>
            </a:avLst>
          </a:prstGeom>
          <a:solidFill>
            <a:schemeClr val="bg1"/>
          </a:solidFill>
          <a:ln>
            <a:noFill/>
          </a:ln>
          <a:effectLst>
            <a:outerShdw blurRad="177800" dist="38100" dir="8100000" algn="tr" rotWithShape="0">
              <a:prstClr val="black">
                <a:alpha val="2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351"/>
          </a:p>
        </p:txBody>
      </p:sp>
      <p:sp>
        <p:nvSpPr>
          <p:cNvPr id="13" name="Título 8">
            <a:extLst>
              <a:ext uri="{FF2B5EF4-FFF2-40B4-BE49-F238E27FC236}">
                <a16:creationId xmlns:a16="http://schemas.microsoft.com/office/drawing/2014/main" id="{7CD44CD7-56CD-8EB0-6CDD-B78477F926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94509" y="641350"/>
            <a:ext cx="5969841" cy="921743"/>
          </a:xfrm>
        </p:spPr>
        <p:txBody>
          <a:bodyPr>
            <a:noAutofit/>
          </a:bodyPr>
          <a:lstStyle>
            <a:lvl1pPr marR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pt-BR" sz="3000" b="1" i="0" u="none" strike="noStrike" cap="none" spc="-100" dirty="0">
                <a:solidFill>
                  <a:schemeClr val="accent1"/>
                </a:solidFill>
                <a:latin typeface="+mj-lt"/>
                <a:ea typeface="Arial"/>
                <a:cs typeface="Arial"/>
                <a:sym typeface="Arial"/>
              </a:defRPr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17" name="Espaço Reservado para Conteúdo 16">
            <a:extLst>
              <a:ext uri="{FF2B5EF4-FFF2-40B4-BE49-F238E27FC236}">
                <a16:creationId xmlns:a16="http://schemas.microsoft.com/office/drawing/2014/main" id="{70EC372B-880B-D5C5-1EC1-C8E4283A3C5C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1210139" y="2344334"/>
            <a:ext cx="4498147" cy="3146829"/>
          </a:xfrm>
        </p:spPr>
        <p:txBody>
          <a:bodyPr/>
          <a:lstStyle>
            <a:lvl1pPr algn="ctr">
              <a:spcAft>
                <a:spcPts val="1200"/>
              </a:spcAft>
              <a:defRPr sz="1500"/>
            </a:lvl1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18" name="Espaço Reservado para Conteúdo 16">
            <a:extLst>
              <a:ext uri="{FF2B5EF4-FFF2-40B4-BE49-F238E27FC236}">
                <a16:creationId xmlns:a16="http://schemas.microsoft.com/office/drawing/2014/main" id="{DD68C171-7AB8-FCB5-8C97-0B242937AFC1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501326" y="2344334"/>
            <a:ext cx="4498147" cy="3146829"/>
          </a:xfrm>
        </p:spPr>
        <p:txBody>
          <a:bodyPr/>
          <a:lstStyle>
            <a:lvl1pPr algn="ctr">
              <a:spcAft>
                <a:spcPts val="1200"/>
              </a:spcAft>
              <a:defRPr sz="1500"/>
            </a:lvl1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pic>
        <p:nvPicPr>
          <p:cNvPr id="6" name="Imagem 5" descr="Logotipo&#10;&#10;Descrição gerada automaticamente">
            <a:extLst>
              <a:ext uri="{FF2B5EF4-FFF2-40B4-BE49-F238E27FC236}">
                <a16:creationId xmlns:a16="http://schemas.microsoft.com/office/drawing/2014/main" id="{7670CCF1-D2B3-0565-9DD6-EE3AB55A5CD3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877675" y="278512"/>
            <a:ext cx="864013" cy="507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8228576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9D7E6FD-C4DA-F588-E77A-C8DBEDF918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569426D3-4E19-986D-846B-503FE94727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C555FC61-4954-E68E-3679-F6B0250BF4F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</p:spTree>
    <p:extLst>
      <p:ext uri="{BB962C8B-B14F-4D97-AF65-F5344CB8AC3E}">
        <p14:creationId xmlns:p14="http://schemas.microsoft.com/office/powerpoint/2010/main" val="2602776448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B2FE12D4-690A-0F87-A603-8BADEE0A2F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Imagem 2">
            <a:extLst>
              <a:ext uri="{FF2B5EF4-FFF2-40B4-BE49-F238E27FC236}">
                <a16:creationId xmlns:a16="http://schemas.microsoft.com/office/drawing/2014/main" id="{2A62373F-9A2F-0755-558D-BC41F23DDA3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BR"/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22D91843-CA13-7080-4F10-850D261F15A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</p:spTree>
    <p:extLst>
      <p:ext uri="{BB962C8B-B14F-4D97-AF65-F5344CB8AC3E}">
        <p14:creationId xmlns:p14="http://schemas.microsoft.com/office/powerpoint/2010/main" val="3579530871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Gráfico 20">
            <a:extLst>
              <a:ext uri="{FF2B5EF4-FFF2-40B4-BE49-F238E27FC236}">
                <a16:creationId xmlns:a16="http://schemas.microsoft.com/office/drawing/2014/main" id="{8FC6E60B-071E-D350-BC6F-C0CD9604C70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360999" y="2586446"/>
            <a:ext cx="2101026" cy="2101026"/>
          </a:xfrm>
          <a:prstGeom prst="rect">
            <a:avLst/>
          </a:prstGeom>
        </p:spPr>
      </p:pic>
      <p:sp>
        <p:nvSpPr>
          <p:cNvPr id="22" name="Freeform: Shape 24">
            <a:extLst>
              <a:ext uri="{FF2B5EF4-FFF2-40B4-BE49-F238E27FC236}">
                <a16:creationId xmlns:a16="http://schemas.microsoft.com/office/drawing/2014/main" id="{55589210-86D7-6986-4F2E-47E6E193B276}"/>
              </a:ext>
            </a:extLst>
          </p:cNvPr>
          <p:cNvSpPr/>
          <p:nvPr userDrawn="1"/>
        </p:nvSpPr>
        <p:spPr>
          <a:xfrm>
            <a:off x="1" y="5491163"/>
            <a:ext cx="1460543" cy="1360974"/>
          </a:xfrm>
          <a:custGeom>
            <a:avLst/>
            <a:gdLst>
              <a:gd name="connsiteX0" fmla="*/ 618317 w 1778972"/>
              <a:gd name="connsiteY0" fmla="*/ 0 h 1657695"/>
              <a:gd name="connsiteX1" fmla="*/ 1778972 w 1778972"/>
              <a:gd name="connsiteY1" fmla="*/ 1160655 h 1657695"/>
              <a:gd name="connsiteX2" fmla="*/ 1687762 w 1778972"/>
              <a:gd name="connsiteY2" fmla="*/ 1612435 h 1657695"/>
              <a:gd name="connsiteX3" fmla="*/ 1663196 w 1778972"/>
              <a:gd name="connsiteY3" fmla="*/ 1657695 h 1657695"/>
              <a:gd name="connsiteX4" fmla="*/ 0 w 1778972"/>
              <a:gd name="connsiteY4" fmla="*/ 1657695 h 1657695"/>
              <a:gd name="connsiteX5" fmla="*/ 0 w 1778972"/>
              <a:gd name="connsiteY5" fmla="*/ 179622 h 1657695"/>
              <a:gd name="connsiteX6" fmla="*/ 65080 w 1778972"/>
              <a:gd name="connsiteY6" fmla="*/ 140085 h 1657695"/>
              <a:gd name="connsiteX7" fmla="*/ 618317 w 1778972"/>
              <a:gd name="connsiteY7" fmla="*/ 0 h 16576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778972" h="1657695">
                <a:moveTo>
                  <a:pt x="618317" y="0"/>
                </a:moveTo>
                <a:cubicBezTo>
                  <a:pt x="1259329" y="0"/>
                  <a:pt x="1778972" y="519643"/>
                  <a:pt x="1778972" y="1160655"/>
                </a:cubicBezTo>
                <a:cubicBezTo>
                  <a:pt x="1778972" y="1320908"/>
                  <a:pt x="1746495" y="1473576"/>
                  <a:pt x="1687762" y="1612435"/>
                </a:cubicBezTo>
                <a:lnTo>
                  <a:pt x="1663196" y="1657695"/>
                </a:lnTo>
                <a:lnTo>
                  <a:pt x="0" y="1657695"/>
                </a:lnTo>
                <a:lnTo>
                  <a:pt x="0" y="179622"/>
                </a:lnTo>
                <a:lnTo>
                  <a:pt x="65080" y="140085"/>
                </a:lnTo>
                <a:cubicBezTo>
                  <a:pt x="229537" y="50747"/>
                  <a:pt x="418001" y="0"/>
                  <a:pt x="618317" y="0"/>
                </a:cubicBezTo>
                <a:close/>
              </a:path>
            </a:pathLst>
          </a:custGeom>
          <a:solidFill>
            <a:srgbClr val="F461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 sz="1351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B2FE12D4-690A-0F87-A603-8BADEE0A2F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4978" y="1142317"/>
            <a:ext cx="5044671" cy="920750"/>
          </a:xfrm>
        </p:spPr>
        <p:txBody>
          <a:bodyPr anchor="t">
            <a:noAutofit/>
          </a:bodyPr>
          <a:lstStyle>
            <a:lvl1pPr algn="ctr">
              <a:defRPr sz="3600" b="1" spc="-100" baseline="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22D91843-CA13-7080-4F10-850D261F15A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2679700" y="2239906"/>
            <a:ext cx="6832600" cy="951402"/>
          </a:xfrm>
        </p:spPr>
        <p:txBody>
          <a:bodyPr>
            <a:normAutofit/>
          </a:bodyPr>
          <a:lstStyle>
            <a:lvl1pPr marL="0" marR="0" indent="0" algn="ctr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lang="pt-BR" sz="1100" b="0" i="0" u="none" strike="noStrike" cap="none" dirty="0">
                <a:solidFill>
                  <a:schemeClr val="bg1">
                    <a:lumMod val="50000"/>
                  </a:schemeClr>
                </a:solidFill>
                <a:latin typeface="+mn-lt"/>
                <a:ea typeface="Times New Roman" panose="02020603050405020304" pitchFamily="18" charset="0"/>
                <a:cs typeface="Arial"/>
                <a:sym typeface="Arial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Espaço Reservado para Texto 6">
            <a:extLst>
              <a:ext uri="{FF2B5EF4-FFF2-40B4-BE49-F238E27FC236}">
                <a16:creationId xmlns:a16="http://schemas.microsoft.com/office/drawing/2014/main" id="{F65EBF6C-485C-17DD-8EC2-C13A19FCC49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67000" y="773884"/>
            <a:ext cx="5067325" cy="354597"/>
          </a:xfrm>
        </p:spPr>
        <p:txBody>
          <a:bodyPr lIns="108000" anchor="b">
            <a:normAutofit/>
          </a:bodyPr>
          <a:lstStyle>
            <a:lvl1pPr algn="ctr">
              <a:lnSpc>
                <a:spcPct val="100000"/>
              </a:lnSpc>
              <a:defRPr sz="1100" b="0" cap="all" spc="0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pt-BR" err="1"/>
              <a:t>TítulO</a:t>
            </a:r>
            <a:endParaRPr lang="pt-BR"/>
          </a:p>
        </p:txBody>
      </p:sp>
      <p:sp>
        <p:nvSpPr>
          <p:cNvPr id="7" name="Freeform: Shape 26">
            <a:extLst>
              <a:ext uri="{FF2B5EF4-FFF2-40B4-BE49-F238E27FC236}">
                <a16:creationId xmlns:a16="http://schemas.microsoft.com/office/drawing/2014/main" id="{5E95BECC-9D3F-5219-68DD-89416A67263D}"/>
              </a:ext>
            </a:extLst>
          </p:cNvPr>
          <p:cNvSpPr/>
          <p:nvPr userDrawn="1"/>
        </p:nvSpPr>
        <p:spPr>
          <a:xfrm>
            <a:off x="3360987" y="3762124"/>
            <a:ext cx="4638820" cy="3090011"/>
          </a:xfrm>
          <a:custGeom>
            <a:avLst/>
            <a:gdLst>
              <a:gd name="connsiteX0" fmla="*/ 2319410 w 4638820"/>
              <a:gd name="connsiteY0" fmla="*/ 0 h 3090010"/>
              <a:gd name="connsiteX1" fmla="*/ 4638820 w 4638820"/>
              <a:gd name="connsiteY1" fmla="*/ 2319408 h 3090010"/>
              <a:gd name="connsiteX2" fmla="*/ 4534544 w 4638820"/>
              <a:gd name="connsiteY2" fmla="*/ 3009129 h 3090010"/>
              <a:gd name="connsiteX3" fmla="*/ 4504942 w 4638820"/>
              <a:gd name="connsiteY3" fmla="*/ 3090010 h 3090010"/>
              <a:gd name="connsiteX4" fmla="*/ 133879 w 4638820"/>
              <a:gd name="connsiteY4" fmla="*/ 3090010 h 3090010"/>
              <a:gd name="connsiteX5" fmla="*/ 104276 w 4638820"/>
              <a:gd name="connsiteY5" fmla="*/ 3009129 h 3090010"/>
              <a:gd name="connsiteX6" fmla="*/ 0 w 4638820"/>
              <a:gd name="connsiteY6" fmla="*/ 2319408 h 3090010"/>
              <a:gd name="connsiteX7" fmla="*/ 2319410 w 4638820"/>
              <a:gd name="connsiteY7" fmla="*/ 0 h 3090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638820" h="3090010">
                <a:moveTo>
                  <a:pt x="2319410" y="0"/>
                </a:moveTo>
                <a:cubicBezTo>
                  <a:pt x="3600385" y="0"/>
                  <a:pt x="4638820" y="1038434"/>
                  <a:pt x="4638820" y="2319408"/>
                </a:cubicBezTo>
                <a:cubicBezTo>
                  <a:pt x="4638820" y="2559591"/>
                  <a:pt x="4602313" y="2791247"/>
                  <a:pt x="4534544" y="3009129"/>
                </a:cubicBezTo>
                <a:lnTo>
                  <a:pt x="4504942" y="3090010"/>
                </a:lnTo>
                <a:lnTo>
                  <a:pt x="133879" y="3090010"/>
                </a:lnTo>
                <a:lnTo>
                  <a:pt x="104276" y="3009129"/>
                </a:lnTo>
                <a:cubicBezTo>
                  <a:pt x="36508" y="2791247"/>
                  <a:pt x="0" y="2559591"/>
                  <a:pt x="0" y="2319408"/>
                </a:cubicBezTo>
                <a:cubicBezTo>
                  <a:pt x="0" y="1038434"/>
                  <a:pt x="1038435" y="0"/>
                  <a:pt x="2319410" y="0"/>
                </a:cubicBez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 sz="1351"/>
          </a:p>
        </p:txBody>
      </p:sp>
      <p:sp>
        <p:nvSpPr>
          <p:cNvPr id="9" name="Oval 1">
            <a:extLst>
              <a:ext uri="{FF2B5EF4-FFF2-40B4-BE49-F238E27FC236}">
                <a16:creationId xmlns:a16="http://schemas.microsoft.com/office/drawing/2014/main" id="{0B03E640-E3BB-FB17-5537-862E75ABF681}"/>
              </a:ext>
            </a:extLst>
          </p:cNvPr>
          <p:cNvSpPr/>
          <p:nvPr userDrawn="1"/>
        </p:nvSpPr>
        <p:spPr>
          <a:xfrm>
            <a:off x="1409433" y="3372318"/>
            <a:ext cx="2844331" cy="2844332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254000" dist="38100" dir="8100000" algn="tr" rotWithShape="0">
              <a:prstClr val="black">
                <a:alpha val="22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sz="1351"/>
          </a:p>
        </p:txBody>
      </p:sp>
      <p:sp>
        <p:nvSpPr>
          <p:cNvPr id="10" name="Oval 8">
            <a:extLst>
              <a:ext uri="{FF2B5EF4-FFF2-40B4-BE49-F238E27FC236}">
                <a16:creationId xmlns:a16="http://schemas.microsoft.com/office/drawing/2014/main" id="{B9DBEBF6-24A2-17AF-03D7-D3A1A2315E42}"/>
              </a:ext>
            </a:extLst>
          </p:cNvPr>
          <p:cNvSpPr/>
          <p:nvPr userDrawn="1"/>
        </p:nvSpPr>
        <p:spPr>
          <a:xfrm>
            <a:off x="4673835" y="3372318"/>
            <a:ext cx="2844331" cy="2844332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254000" dist="38100" dir="8100000" algn="tr" rotWithShape="0">
              <a:prstClr val="black">
                <a:alpha val="22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sz="1351"/>
          </a:p>
        </p:txBody>
      </p:sp>
      <p:sp>
        <p:nvSpPr>
          <p:cNvPr id="11" name="Oval 9">
            <a:extLst>
              <a:ext uri="{FF2B5EF4-FFF2-40B4-BE49-F238E27FC236}">
                <a16:creationId xmlns:a16="http://schemas.microsoft.com/office/drawing/2014/main" id="{7AFB69F1-EC89-0D88-F743-AB0CCD4E607B}"/>
              </a:ext>
            </a:extLst>
          </p:cNvPr>
          <p:cNvSpPr/>
          <p:nvPr userDrawn="1"/>
        </p:nvSpPr>
        <p:spPr>
          <a:xfrm>
            <a:off x="7998729" y="3372318"/>
            <a:ext cx="2844331" cy="2844332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254000" dist="38100" dir="8100000" algn="tr" rotWithShape="0">
              <a:prstClr val="black">
                <a:alpha val="22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sz="1351"/>
          </a:p>
        </p:txBody>
      </p:sp>
      <p:sp>
        <p:nvSpPr>
          <p:cNvPr id="18" name="Espaço Reservado para Imagem 27">
            <a:extLst>
              <a:ext uri="{FF2B5EF4-FFF2-40B4-BE49-F238E27FC236}">
                <a16:creationId xmlns:a16="http://schemas.microsoft.com/office/drawing/2014/main" id="{6DE3F598-43D3-1E44-57FB-17EFD4D92547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2512131" y="3631564"/>
            <a:ext cx="638934" cy="638934"/>
          </a:xfrm>
        </p:spPr>
        <p:txBody>
          <a:bodyPr>
            <a:normAutofit/>
          </a:bodyPr>
          <a:lstStyle>
            <a:lvl1pPr algn="ctr">
              <a:defRPr sz="1400">
                <a:solidFill>
                  <a:schemeClr val="tx1"/>
                </a:solidFill>
              </a:defRPr>
            </a:lvl1pPr>
          </a:lstStyle>
          <a:p>
            <a:r>
              <a:rPr lang="pt-BR"/>
              <a:t>Ícone</a:t>
            </a:r>
          </a:p>
        </p:txBody>
      </p:sp>
      <p:sp>
        <p:nvSpPr>
          <p:cNvPr id="19" name="Espaço Reservado para Imagem 27">
            <a:extLst>
              <a:ext uri="{FF2B5EF4-FFF2-40B4-BE49-F238E27FC236}">
                <a16:creationId xmlns:a16="http://schemas.microsoft.com/office/drawing/2014/main" id="{E0926438-798E-F72E-EFC9-39EF87CE3634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5796186" y="3631564"/>
            <a:ext cx="638934" cy="638934"/>
          </a:xfrm>
        </p:spPr>
        <p:txBody>
          <a:bodyPr>
            <a:normAutofit/>
          </a:bodyPr>
          <a:lstStyle>
            <a:lvl1pPr algn="ctr">
              <a:defRPr sz="1400">
                <a:solidFill>
                  <a:schemeClr val="tx1"/>
                </a:solidFill>
              </a:defRPr>
            </a:lvl1pPr>
          </a:lstStyle>
          <a:p>
            <a:r>
              <a:rPr lang="pt-BR"/>
              <a:t>Ícone</a:t>
            </a:r>
          </a:p>
        </p:txBody>
      </p:sp>
      <p:sp>
        <p:nvSpPr>
          <p:cNvPr id="20" name="Espaço Reservado para Imagem 27">
            <a:extLst>
              <a:ext uri="{FF2B5EF4-FFF2-40B4-BE49-F238E27FC236}">
                <a16:creationId xmlns:a16="http://schemas.microsoft.com/office/drawing/2014/main" id="{E07D2C1F-D30D-2277-57A7-14955984FC87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9101966" y="3631564"/>
            <a:ext cx="638934" cy="638934"/>
          </a:xfrm>
        </p:spPr>
        <p:txBody>
          <a:bodyPr>
            <a:normAutofit/>
          </a:bodyPr>
          <a:lstStyle>
            <a:lvl1pPr algn="ctr">
              <a:defRPr sz="1400">
                <a:solidFill>
                  <a:schemeClr val="tx1"/>
                </a:solidFill>
              </a:defRPr>
            </a:lvl1pPr>
          </a:lstStyle>
          <a:p>
            <a:r>
              <a:rPr lang="pt-BR"/>
              <a:t>Ícone</a:t>
            </a:r>
          </a:p>
        </p:txBody>
      </p:sp>
      <p:sp>
        <p:nvSpPr>
          <p:cNvPr id="25" name="Espaço Reservado para Texto 23">
            <a:extLst>
              <a:ext uri="{FF2B5EF4-FFF2-40B4-BE49-F238E27FC236}">
                <a16:creationId xmlns:a16="http://schemas.microsoft.com/office/drawing/2014/main" id="{10FAB265-50D2-444E-770C-DF530276BE8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616450" y="4339221"/>
            <a:ext cx="2419408" cy="355592"/>
          </a:xfrm>
        </p:spPr>
        <p:txBody>
          <a:bodyPr>
            <a:normAutofit/>
          </a:bodyPr>
          <a:lstStyle>
            <a:lvl1pPr algn="ctr">
              <a:defRPr sz="1400" b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pt-BR"/>
              <a:t>Título</a:t>
            </a:r>
          </a:p>
        </p:txBody>
      </p:sp>
      <p:sp>
        <p:nvSpPr>
          <p:cNvPr id="27" name="Espaço Reservado para Texto 23">
            <a:extLst>
              <a:ext uri="{FF2B5EF4-FFF2-40B4-BE49-F238E27FC236}">
                <a16:creationId xmlns:a16="http://schemas.microsoft.com/office/drawing/2014/main" id="{A60E8CAA-48D5-61E9-C74D-2CCEB3E3A73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886296" y="4339221"/>
            <a:ext cx="2419408" cy="355592"/>
          </a:xfrm>
        </p:spPr>
        <p:txBody>
          <a:bodyPr>
            <a:normAutofit/>
          </a:bodyPr>
          <a:lstStyle>
            <a:lvl1pPr algn="ctr">
              <a:defRPr sz="1400" b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pt-BR"/>
              <a:t>Título</a:t>
            </a:r>
          </a:p>
        </p:txBody>
      </p:sp>
      <p:sp>
        <p:nvSpPr>
          <p:cNvPr id="29" name="Espaço Reservado para Texto 23">
            <a:extLst>
              <a:ext uri="{FF2B5EF4-FFF2-40B4-BE49-F238E27FC236}">
                <a16:creationId xmlns:a16="http://schemas.microsoft.com/office/drawing/2014/main" id="{73876383-9A46-664A-7697-809108EB46B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211409" y="4339221"/>
            <a:ext cx="2419408" cy="355592"/>
          </a:xfrm>
        </p:spPr>
        <p:txBody>
          <a:bodyPr>
            <a:normAutofit/>
          </a:bodyPr>
          <a:lstStyle>
            <a:lvl1pPr algn="ctr">
              <a:defRPr sz="1400" b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pt-BR"/>
              <a:t>Título</a:t>
            </a:r>
          </a:p>
        </p:txBody>
      </p:sp>
      <p:sp>
        <p:nvSpPr>
          <p:cNvPr id="37" name="Espaço Reservado para Texto 36">
            <a:extLst>
              <a:ext uri="{FF2B5EF4-FFF2-40B4-BE49-F238E27FC236}">
                <a16:creationId xmlns:a16="http://schemas.microsoft.com/office/drawing/2014/main" id="{F5EC3AD8-AE40-5DF3-5734-FF5CE4865868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1610496" y="4704373"/>
            <a:ext cx="2444373" cy="920750"/>
          </a:xfrm>
        </p:spPr>
        <p:txBody>
          <a:bodyPr>
            <a:noAutofit/>
          </a:bodyPr>
          <a:lstStyle>
            <a:lvl1pPr algn="ctr">
              <a:lnSpc>
                <a:spcPct val="150000"/>
              </a:lnSpc>
              <a:defRPr sz="1100" b="0">
                <a:solidFill>
                  <a:schemeClr val="tx2"/>
                </a:solidFill>
              </a:defRPr>
            </a:lvl1pPr>
            <a:lvl2pPr algn="ctr">
              <a:defRPr sz="1100">
                <a:solidFill>
                  <a:schemeClr val="tx2"/>
                </a:solidFill>
              </a:defRPr>
            </a:lvl2pPr>
            <a:lvl3pPr algn="ctr">
              <a:defRPr sz="1100">
                <a:solidFill>
                  <a:schemeClr val="tx2"/>
                </a:solidFill>
              </a:defRPr>
            </a:lvl3pPr>
            <a:lvl4pPr algn="ctr">
              <a:defRPr sz="1100">
                <a:solidFill>
                  <a:schemeClr val="tx2"/>
                </a:solidFill>
              </a:defRPr>
            </a:lvl4pPr>
            <a:lvl5pPr algn="ctr">
              <a:defRPr sz="1100">
                <a:solidFill>
                  <a:schemeClr val="tx2"/>
                </a:solidFill>
              </a:defRPr>
            </a:lvl5pPr>
          </a:lstStyle>
          <a:p>
            <a:pPr lvl="0"/>
            <a:endParaRPr lang="pt-BR"/>
          </a:p>
        </p:txBody>
      </p:sp>
      <p:sp>
        <p:nvSpPr>
          <p:cNvPr id="38" name="Espaço Reservado para Texto 36">
            <a:extLst>
              <a:ext uri="{FF2B5EF4-FFF2-40B4-BE49-F238E27FC236}">
                <a16:creationId xmlns:a16="http://schemas.microsoft.com/office/drawing/2014/main" id="{D2DAA205-1F5B-0E76-2E89-35678D12406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878915" y="4704373"/>
            <a:ext cx="2444373" cy="920750"/>
          </a:xfrm>
        </p:spPr>
        <p:txBody>
          <a:bodyPr>
            <a:noAutofit/>
          </a:bodyPr>
          <a:lstStyle>
            <a:lvl1pPr algn="ctr">
              <a:lnSpc>
                <a:spcPct val="150000"/>
              </a:lnSpc>
              <a:defRPr sz="1100" b="0">
                <a:solidFill>
                  <a:schemeClr val="tx2"/>
                </a:solidFill>
              </a:defRPr>
            </a:lvl1pPr>
            <a:lvl2pPr algn="ctr">
              <a:defRPr sz="1100">
                <a:solidFill>
                  <a:schemeClr val="tx2"/>
                </a:solidFill>
              </a:defRPr>
            </a:lvl2pPr>
            <a:lvl3pPr algn="ctr">
              <a:defRPr sz="1100">
                <a:solidFill>
                  <a:schemeClr val="tx2"/>
                </a:solidFill>
              </a:defRPr>
            </a:lvl3pPr>
            <a:lvl4pPr algn="ctr">
              <a:defRPr sz="1100">
                <a:solidFill>
                  <a:schemeClr val="tx2"/>
                </a:solidFill>
              </a:defRPr>
            </a:lvl4pPr>
            <a:lvl5pPr algn="ctr">
              <a:defRPr sz="1100">
                <a:solidFill>
                  <a:schemeClr val="tx2"/>
                </a:solidFill>
              </a:defRPr>
            </a:lvl5pPr>
          </a:lstStyle>
          <a:p>
            <a:pPr lvl="0"/>
            <a:endParaRPr lang="pt-BR"/>
          </a:p>
        </p:txBody>
      </p:sp>
      <p:sp>
        <p:nvSpPr>
          <p:cNvPr id="39" name="Espaço Reservado para Texto 36">
            <a:extLst>
              <a:ext uri="{FF2B5EF4-FFF2-40B4-BE49-F238E27FC236}">
                <a16:creationId xmlns:a16="http://schemas.microsoft.com/office/drawing/2014/main" id="{EC8C1CAA-95F3-AE44-1F31-7D912F1B8618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8199247" y="4704373"/>
            <a:ext cx="2444373" cy="920750"/>
          </a:xfrm>
        </p:spPr>
        <p:txBody>
          <a:bodyPr>
            <a:noAutofit/>
          </a:bodyPr>
          <a:lstStyle>
            <a:lvl1pPr algn="ctr">
              <a:lnSpc>
                <a:spcPct val="150000"/>
              </a:lnSpc>
              <a:defRPr sz="1100" b="0">
                <a:solidFill>
                  <a:schemeClr val="tx2"/>
                </a:solidFill>
              </a:defRPr>
            </a:lvl1pPr>
            <a:lvl2pPr algn="ctr">
              <a:defRPr sz="1100">
                <a:solidFill>
                  <a:schemeClr val="tx2"/>
                </a:solidFill>
              </a:defRPr>
            </a:lvl2pPr>
            <a:lvl3pPr algn="ctr">
              <a:defRPr sz="1100">
                <a:solidFill>
                  <a:schemeClr val="tx2"/>
                </a:solidFill>
              </a:defRPr>
            </a:lvl3pPr>
            <a:lvl4pPr algn="ctr">
              <a:defRPr sz="1100">
                <a:solidFill>
                  <a:schemeClr val="tx2"/>
                </a:solidFill>
              </a:defRPr>
            </a:lvl4pPr>
            <a:lvl5pPr algn="ctr">
              <a:defRPr sz="1100">
                <a:solidFill>
                  <a:schemeClr val="tx2"/>
                </a:solidFill>
              </a:defRPr>
            </a:lvl5pPr>
          </a:lstStyle>
          <a:p>
            <a:pPr lvl="0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532393788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áfico 3">
            <a:extLst>
              <a:ext uri="{FF2B5EF4-FFF2-40B4-BE49-F238E27FC236}">
                <a16:creationId xmlns:a16="http://schemas.microsoft.com/office/drawing/2014/main" id="{5536CC76-6171-B09D-FDF3-59407A13526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277600" y="-1751088"/>
            <a:ext cx="2647804" cy="3111172"/>
          </a:xfrm>
          <a:prstGeom prst="rect">
            <a:avLst/>
          </a:prstGeom>
        </p:spPr>
      </p:pic>
      <p:pic>
        <p:nvPicPr>
          <p:cNvPr id="5" name="Gráfico 4">
            <a:extLst>
              <a:ext uri="{FF2B5EF4-FFF2-40B4-BE49-F238E27FC236}">
                <a16:creationId xmlns:a16="http://schemas.microsoft.com/office/drawing/2014/main" id="{5C99EB3E-B5D8-9B44-1758-975265A41B45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-1477559" y="3052763"/>
            <a:ext cx="5182891" cy="6089900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BBDA759A-9915-56A7-B65A-20AE4C2B5F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70391" y="1668084"/>
            <a:ext cx="3046009" cy="1281113"/>
          </a:xfrm>
        </p:spPr>
        <p:txBody>
          <a:bodyPr>
            <a:normAutofit/>
          </a:bodyPr>
          <a:lstStyle>
            <a:lvl1pPr>
              <a:defRPr sz="3200">
                <a:solidFill>
                  <a:schemeClr val="accent2"/>
                </a:solidFill>
              </a:defRPr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6">
            <a:extLst>
              <a:ext uri="{FF2B5EF4-FFF2-40B4-BE49-F238E27FC236}">
                <a16:creationId xmlns:a16="http://schemas.microsoft.com/office/drawing/2014/main" id="{5A69258F-54AB-711A-8C68-B0EDF4C7EFE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71669" y="1313487"/>
            <a:ext cx="3044731" cy="354597"/>
          </a:xfrm>
        </p:spPr>
        <p:txBody>
          <a:bodyPr lIns="108000" anchor="b">
            <a:normAutofit/>
          </a:bodyPr>
          <a:lstStyle>
            <a:lvl1pPr algn="l">
              <a:lnSpc>
                <a:spcPct val="100000"/>
              </a:lnSpc>
              <a:defRPr sz="1100" b="0" cap="all" spc="100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pt-BR" err="1"/>
              <a:t>TítulO</a:t>
            </a:r>
            <a:endParaRPr lang="pt-BR"/>
          </a:p>
        </p:txBody>
      </p:sp>
      <p:sp>
        <p:nvSpPr>
          <p:cNvPr id="28" name="Espaço Reservado para Texto 26">
            <a:extLst>
              <a:ext uri="{FF2B5EF4-FFF2-40B4-BE49-F238E27FC236}">
                <a16:creationId xmlns:a16="http://schemas.microsoft.com/office/drawing/2014/main" id="{48FFDDFF-D427-23B0-5392-54A4F7DC0DB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673601" y="1566862"/>
            <a:ext cx="654050" cy="656199"/>
          </a:xfrm>
        </p:spPr>
        <p:txBody>
          <a:bodyPr>
            <a:noAutofit/>
          </a:bodyPr>
          <a:lstStyle>
            <a:lvl1pPr algn="ctr">
              <a:defRPr sz="3600" b="0">
                <a:solidFill>
                  <a:schemeClr val="accent1"/>
                </a:solidFill>
                <a:latin typeface="+mj-lt"/>
              </a:defRPr>
            </a:lvl1pPr>
            <a:lvl2pPr>
              <a:defRPr sz="3600">
                <a:solidFill>
                  <a:schemeClr val="accent1"/>
                </a:solidFill>
                <a:latin typeface="+mj-lt"/>
              </a:defRPr>
            </a:lvl2pPr>
            <a:lvl3pPr>
              <a:defRPr sz="3600">
                <a:solidFill>
                  <a:schemeClr val="accent1"/>
                </a:solidFill>
                <a:latin typeface="+mj-lt"/>
              </a:defRPr>
            </a:lvl3pPr>
            <a:lvl4pPr>
              <a:defRPr sz="3600">
                <a:solidFill>
                  <a:schemeClr val="accent1"/>
                </a:solidFill>
                <a:latin typeface="+mj-lt"/>
              </a:defRPr>
            </a:lvl4pPr>
            <a:lvl5pPr marL="1828800" indent="0">
              <a:buNone/>
              <a:defRPr sz="3600"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pt-BR"/>
              <a:t>#</a:t>
            </a:r>
          </a:p>
        </p:txBody>
      </p:sp>
      <p:sp>
        <p:nvSpPr>
          <p:cNvPr id="35" name="Espaço Reservado para Texto 26">
            <a:extLst>
              <a:ext uri="{FF2B5EF4-FFF2-40B4-BE49-F238E27FC236}">
                <a16:creationId xmlns:a16="http://schemas.microsoft.com/office/drawing/2014/main" id="{434FF1FA-B54B-D941-7236-4AB73CE075C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673601" y="2546240"/>
            <a:ext cx="654050" cy="656199"/>
          </a:xfrm>
        </p:spPr>
        <p:txBody>
          <a:bodyPr>
            <a:noAutofit/>
          </a:bodyPr>
          <a:lstStyle>
            <a:lvl1pPr algn="ctr">
              <a:defRPr sz="3600" b="0">
                <a:solidFill>
                  <a:schemeClr val="accent1"/>
                </a:solidFill>
                <a:latin typeface="+mj-lt"/>
              </a:defRPr>
            </a:lvl1pPr>
            <a:lvl2pPr>
              <a:defRPr sz="3600">
                <a:solidFill>
                  <a:schemeClr val="accent1"/>
                </a:solidFill>
                <a:latin typeface="+mj-lt"/>
              </a:defRPr>
            </a:lvl2pPr>
            <a:lvl3pPr>
              <a:defRPr sz="3600">
                <a:solidFill>
                  <a:schemeClr val="accent1"/>
                </a:solidFill>
                <a:latin typeface="+mj-lt"/>
              </a:defRPr>
            </a:lvl3pPr>
            <a:lvl4pPr>
              <a:defRPr sz="3600">
                <a:solidFill>
                  <a:schemeClr val="accent1"/>
                </a:solidFill>
                <a:latin typeface="+mj-lt"/>
              </a:defRPr>
            </a:lvl4pPr>
            <a:lvl5pPr marL="1828800" indent="0">
              <a:buNone/>
              <a:defRPr sz="3600"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pt-BR"/>
              <a:t>#</a:t>
            </a:r>
          </a:p>
        </p:txBody>
      </p:sp>
      <p:sp>
        <p:nvSpPr>
          <p:cNvPr id="36" name="Espaço Reservado para Texto 26">
            <a:extLst>
              <a:ext uri="{FF2B5EF4-FFF2-40B4-BE49-F238E27FC236}">
                <a16:creationId xmlns:a16="http://schemas.microsoft.com/office/drawing/2014/main" id="{94BBE6CA-1C8D-0C0E-98B1-F0C9675FB20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673601" y="3507581"/>
            <a:ext cx="654050" cy="656199"/>
          </a:xfrm>
        </p:spPr>
        <p:txBody>
          <a:bodyPr>
            <a:noAutofit/>
          </a:bodyPr>
          <a:lstStyle>
            <a:lvl1pPr algn="ctr">
              <a:defRPr sz="3600" b="0">
                <a:solidFill>
                  <a:schemeClr val="accent1"/>
                </a:solidFill>
                <a:latin typeface="+mj-lt"/>
              </a:defRPr>
            </a:lvl1pPr>
            <a:lvl2pPr>
              <a:defRPr sz="3600">
                <a:solidFill>
                  <a:schemeClr val="accent1"/>
                </a:solidFill>
                <a:latin typeface="+mj-lt"/>
              </a:defRPr>
            </a:lvl2pPr>
            <a:lvl3pPr>
              <a:defRPr sz="3600">
                <a:solidFill>
                  <a:schemeClr val="accent1"/>
                </a:solidFill>
                <a:latin typeface="+mj-lt"/>
              </a:defRPr>
            </a:lvl3pPr>
            <a:lvl4pPr>
              <a:defRPr sz="3600">
                <a:solidFill>
                  <a:schemeClr val="accent1"/>
                </a:solidFill>
                <a:latin typeface="+mj-lt"/>
              </a:defRPr>
            </a:lvl4pPr>
            <a:lvl5pPr marL="1828800" indent="0">
              <a:buNone/>
              <a:defRPr sz="3600"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pt-BR"/>
              <a:t>#</a:t>
            </a:r>
          </a:p>
        </p:txBody>
      </p:sp>
      <p:sp>
        <p:nvSpPr>
          <p:cNvPr id="37" name="Espaço Reservado para Texto 26">
            <a:extLst>
              <a:ext uri="{FF2B5EF4-FFF2-40B4-BE49-F238E27FC236}">
                <a16:creationId xmlns:a16="http://schemas.microsoft.com/office/drawing/2014/main" id="{802FF599-8D20-63CA-9E5C-86076C60E43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673601" y="4461884"/>
            <a:ext cx="654050" cy="656199"/>
          </a:xfrm>
        </p:spPr>
        <p:txBody>
          <a:bodyPr>
            <a:noAutofit/>
          </a:bodyPr>
          <a:lstStyle>
            <a:lvl1pPr algn="ctr">
              <a:defRPr sz="3600" b="0">
                <a:solidFill>
                  <a:schemeClr val="accent1"/>
                </a:solidFill>
                <a:latin typeface="+mj-lt"/>
              </a:defRPr>
            </a:lvl1pPr>
            <a:lvl2pPr>
              <a:defRPr sz="3600">
                <a:solidFill>
                  <a:schemeClr val="accent1"/>
                </a:solidFill>
                <a:latin typeface="+mj-lt"/>
              </a:defRPr>
            </a:lvl2pPr>
            <a:lvl3pPr>
              <a:defRPr sz="3600">
                <a:solidFill>
                  <a:schemeClr val="accent1"/>
                </a:solidFill>
                <a:latin typeface="+mj-lt"/>
              </a:defRPr>
            </a:lvl3pPr>
            <a:lvl4pPr>
              <a:defRPr sz="3600">
                <a:solidFill>
                  <a:schemeClr val="accent1"/>
                </a:solidFill>
                <a:latin typeface="+mj-lt"/>
              </a:defRPr>
            </a:lvl4pPr>
            <a:lvl5pPr marL="1828800" indent="0">
              <a:buNone/>
              <a:defRPr sz="3600"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pt-BR"/>
              <a:t>#</a:t>
            </a:r>
          </a:p>
        </p:txBody>
      </p:sp>
      <p:sp>
        <p:nvSpPr>
          <p:cNvPr id="41" name="Espaço Reservado para Texto 26">
            <a:extLst>
              <a:ext uri="{FF2B5EF4-FFF2-40B4-BE49-F238E27FC236}">
                <a16:creationId xmlns:a16="http://schemas.microsoft.com/office/drawing/2014/main" id="{57A346B4-11F9-01EB-210A-4A70946F8E0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197850" y="1566862"/>
            <a:ext cx="654050" cy="656199"/>
          </a:xfrm>
        </p:spPr>
        <p:txBody>
          <a:bodyPr>
            <a:noAutofit/>
          </a:bodyPr>
          <a:lstStyle>
            <a:lvl1pPr algn="ctr">
              <a:defRPr sz="3600" b="0">
                <a:solidFill>
                  <a:schemeClr val="accent1"/>
                </a:solidFill>
                <a:latin typeface="+mj-lt"/>
              </a:defRPr>
            </a:lvl1pPr>
            <a:lvl2pPr>
              <a:defRPr sz="3600">
                <a:solidFill>
                  <a:schemeClr val="accent1"/>
                </a:solidFill>
                <a:latin typeface="+mj-lt"/>
              </a:defRPr>
            </a:lvl2pPr>
            <a:lvl3pPr>
              <a:defRPr sz="3600">
                <a:solidFill>
                  <a:schemeClr val="accent1"/>
                </a:solidFill>
                <a:latin typeface="+mj-lt"/>
              </a:defRPr>
            </a:lvl3pPr>
            <a:lvl4pPr>
              <a:defRPr sz="3600">
                <a:solidFill>
                  <a:schemeClr val="accent1"/>
                </a:solidFill>
                <a:latin typeface="+mj-lt"/>
              </a:defRPr>
            </a:lvl4pPr>
            <a:lvl5pPr marL="1828800" indent="0">
              <a:buNone/>
              <a:defRPr sz="3600"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pt-BR"/>
              <a:t>#</a:t>
            </a:r>
          </a:p>
        </p:txBody>
      </p:sp>
      <p:sp>
        <p:nvSpPr>
          <p:cNvPr id="42" name="Espaço Reservado para Texto 26">
            <a:extLst>
              <a:ext uri="{FF2B5EF4-FFF2-40B4-BE49-F238E27FC236}">
                <a16:creationId xmlns:a16="http://schemas.microsoft.com/office/drawing/2014/main" id="{EC3DE48F-0EBD-2A68-925F-8A0EF020E66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197850" y="2546240"/>
            <a:ext cx="654050" cy="656199"/>
          </a:xfrm>
        </p:spPr>
        <p:txBody>
          <a:bodyPr>
            <a:noAutofit/>
          </a:bodyPr>
          <a:lstStyle>
            <a:lvl1pPr algn="ctr">
              <a:defRPr sz="3600" b="0">
                <a:solidFill>
                  <a:schemeClr val="accent1"/>
                </a:solidFill>
                <a:latin typeface="+mj-lt"/>
              </a:defRPr>
            </a:lvl1pPr>
            <a:lvl2pPr>
              <a:defRPr sz="3600">
                <a:solidFill>
                  <a:schemeClr val="accent1"/>
                </a:solidFill>
                <a:latin typeface="+mj-lt"/>
              </a:defRPr>
            </a:lvl2pPr>
            <a:lvl3pPr>
              <a:defRPr sz="3600">
                <a:solidFill>
                  <a:schemeClr val="accent1"/>
                </a:solidFill>
                <a:latin typeface="+mj-lt"/>
              </a:defRPr>
            </a:lvl3pPr>
            <a:lvl4pPr>
              <a:defRPr sz="3600">
                <a:solidFill>
                  <a:schemeClr val="accent1"/>
                </a:solidFill>
                <a:latin typeface="+mj-lt"/>
              </a:defRPr>
            </a:lvl4pPr>
            <a:lvl5pPr marL="1828800" indent="0">
              <a:buNone/>
              <a:defRPr sz="3600"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pt-BR"/>
              <a:t>#</a:t>
            </a:r>
          </a:p>
        </p:txBody>
      </p:sp>
      <p:sp>
        <p:nvSpPr>
          <p:cNvPr id="43" name="Espaço Reservado para Texto 26">
            <a:extLst>
              <a:ext uri="{FF2B5EF4-FFF2-40B4-BE49-F238E27FC236}">
                <a16:creationId xmlns:a16="http://schemas.microsoft.com/office/drawing/2014/main" id="{FF173AB6-483B-5C2C-0E35-74B8CFC0725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197850" y="3507581"/>
            <a:ext cx="654050" cy="656199"/>
          </a:xfrm>
        </p:spPr>
        <p:txBody>
          <a:bodyPr>
            <a:noAutofit/>
          </a:bodyPr>
          <a:lstStyle>
            <a:lvl1pPr algn="ctr">
              <a:defRPr sz="3600" b="0">
                <a:solidFill>
                  <a:schemeClr val="accent1"/>
                </a:solidFill>
                <a:latin typeface="+mj-lt"/>
              </a:defRPr>
            </a:lvl1pPr>
            <a:lvl2pPr>
              <a:defRPr sz="3600">
                <a:solidFill>
                  <a:schemeClr val="accent1"/>
                </a:solidFill>
                <a:latin typeface="+mj-lt"/>
              </a:defRPr>
            </a:lvl2pPr>
            <a:lvl3pPr>
              <a:defRPr sz="3600">
                <a:solidFill>
                  <a:schemeClr val="accent1"/>
                </a:solidFill>
                <a:latin typeface="+mj-lt"/>
              </a:defRPr>
            </a:lvl3pPr>
            <a:lvl4pPr>
              <a:defRPr sz="3600">
                <a:solidFill>
                  <a:schemeClr val="accent1"/>
                </a:solidFill>
                <a:latin typeface="+mj-lt"/>
              </a:defRPr>
            </a:lvl4pPr>
            <a:lvl5pPr marL="1828800" indent="0">
              <a:buNone/>
              <a:defRPr sz="3600"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pt-BR"/>
              <a:t>#</a:t>
            </a:r>
          </a:p>
        </p:txBody>
      </p:sp>
      <p:sp>
        <p:nvSpPr>
          <p:cNvPr id="44" name="Espaço Reservado para Texto 26">
            <a:extLst>
              <a:ext uri="{FF2B5EF4-FFF2-40B4-BE49-F238E27FC236}">
                <a16:creationId xmlns:a16="http://schemas.microsoft.com/office/drawing/2014/main" id="{67ADE121-C2B0-51E4-A497-3BB512AA416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197850" y="4461884"/>
            <a:ext cx="654050" cy="656199"/>
          </a:xfrm>
        </p:spPr>
        <p:txBody>
          <a:bodyPr>
            <a:noAutofit/>
          </a:bodyPr>
          <a:lstStyle>
            <a:lvl1pPr algn="ctr">
              <a:defRPr sz="3600" b="0">
                <a:solidFill>
                  <a:schemeClr val="accent1"/>
                </a:solidFill>
                <a:latin typeface="+mj-lt"/>
              </a:defRPr>
            </a:lvl1pPr>
            <a:lvl2pPr>
              <a:defRPr sz="3600">
                <a:solidFill>
                  <a:schemeClr val="accent1"/>
                </a:solidFill>
                <a:latin typeface="+mj-lt"/>
              </a:defRPr>
            </a:lvl2pPr>
            <a:lvl3pPr>
              <a:defRPr sz="3600">
                <a:solidFill>
                  <a:schemeClr val="accent1"/>
                </a:solidFill>
                <a:latin typeface="+mj-lt"/>
              </a:defRPr>
            </a:lvl3pPr>
            <a:lvl4pPr>
              <a:defRPr sz="3600">
                <a:solidFill>
                  <a:schemeClr val="accent1"/>
                </a:solidFill>
                <a:latin typeface="+mj-lt"/>
              </a:defRPr>
            </a:lvl4pPr>
            <a:lvl5pPr marL="1828800" indent="0">
              <a:buNone/>
              <a:defRPr sz="3600"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pt-BR"/>
              <a:t>#</a:t>
            </a:r>
          </a:p>
        </p:txBody>
      </p:sp>
      <p:sp>
        <p:nvSpPr>
          <p:cNvPr id="48" name="Espaço Reservado para Texto 45">
            <a:extLst>
              <a:ext uri="{FF2B5EF4-FFF2-40B4-BE49-F238E27FC236}">
                <a16:creationId xmlns:a16="http://schemas.microsoft.com/office/drawing/2014/main" id="{AA0A1508-379C-FE57-7F02-B2F7615EF5CA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230813" y="1607419"/>
            <a:ext cx="2744787" cy="625475"/>
          </a:xfrm>
        </p:spPr>
        <p:txBody>
          <a:bodyPr>
            <a:noAutofit/>
          </a:bodyPr>
          <a:lstStyle>
            <a:lvl1pPr>
              <a:lnSpc>
                <a:spcPct val="130000"/>
              </a:lnSpc>
              <a:defRPr sz="1400" b="0">
                <a:solidFill>
                  <a:schemeClr val="tx2"/>
                </a:solidFill>
              </a:defRPr>
            </a:lvl1pPr>
            <a:lvl2pPr>
              <a:lnSpc>
                <a:spcPct val="130000"/>
              </a:lnSpc>
              <a:defRPr sz="1300">
                <a:solidFill>
                  <a:schemeClr val="tx2"/>
                </a:solidFill>
              </a:defRPr>
            </a:lvl2pPr>
            <a:lvl3pPr>
              <a:lnSpc>
                <a:spcPct val="130000"/>
              </a:lnSpc>
              <a:defRPr sz="1300">
                <a:solidFill>
                  <a:schemeClr val="tx2"/>
                </a:solidFill>
              </a:defRPr>
            </a:lvl3pPr>
            <a:lvl4pPr>
              <a:lnSpc>
                <a:spcPct val="130000"/>
              </a:lnSpc>
              <a:defRPr sz="1300">
                <a:solidFill>
                  <a:schemeClr val="tx2"/>
                </a:solidFill>
              </a:defRPr>
            </a:lvl4pPr>
            <a:lvl5pPr marL="1828800" indent="0">
              <a:lnSpc>
                <a:spcPct val="130000"/>
              </a:lnSpc>
              <a:buNone/>
              <a:defRPr sz="1300">
                <a:solidFill>
                  <a:schemeClr val="tx2"/>
                </a:solidFill>
              </a:defRPr>
            </a:lvl5pPr>
          </a:lstStyle>
          <a:p>
            <a:pPr lvl="0"/>
            <a:endParaRPr lang="pt-BR"/>
          </a:p>
        </p:txBody>
      </p:sp>
      <p:sp>
        <p:nvSpPr>
          <p:cNvPr id="50" name="Espaço Reservado para Texto 45">
            <a:extLst>
              <a:ext uri="{FF2B5EF4-FFF2-40B4-BE49-F238E27FC236}">
                <a16:creationId xmlns:a16="http://schemas.microsoft.com/office/drawing/2014/main" id="{90EFF4E9-FB08-5C1A-9AE1-FC5E00F8336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230813" y="2579309"/>
            <a:ext cx="2744787" cy="625475"/>
          </a:xfrm>
        </p:spPr>
        <p:txBody>
          <a:bodyPr>
            <a:noAutofit/>
          </a:bodyPr>
          <a:lstStyle>
            <a:lvl1pPr>
              <a:lnSpc>
                <a:spcPct val="130000"/>
              </a:lnSpc>
              <a:defRPr sz="1400" b="0">
                <a:solidFill>
                  <a:schemeClr val="tx2"/>
                </a:solidFill>
              </a:defRPr>
            </a:lvl1pPr>
            <a:lvl2pPr>
              <a:lnSpc>
                <a:spcPct val="130000"/>
              </a:lnSpc>
              <a:defRPr sz="1300">
                <a:solidFill>
                  <a:schemeClr val="tx2"/>
                </a:solidFill>
              </a:defRPr>
            </a:lvl2pPr>
            <a:lvl3pPr>
              <a:lnSpc>
                <a:spcPct val="130000"/>
              </a:lnSpc>
              <a:defRPr sz="1300">
                <a:solidFill>
                  <a:schemeClr val="tx2"/>
                </a:solidFill>
              </a:defRPr>
            </a:lvl3pPr>
            <a:lvl4pPr>
              <a:lnSpc>
                <a:spcPct val="130000"/>
              </a:lnSpc>
              <a:defRPr sz="1300">
                <a:solidFill>
                  <a:schemeClr val="tx2"/>
                </a:solidFill>
              </a:defRPr>
            </a:lvl4pPr>
            <a:lvl5pPr marL="1828800" indent="0">
              <a:lnSpc>
                <a:spcPct val="130000"/>
              </a:lnSpc>
              <a:buNone/>
              <a:defRPr sz="1300">
                <a:solidFill>
                  <a:schemeClr val="tx2"/>
                </a:solidFill>
              </a:defRPr>
            </a:lvl5pPr>
          </a:lstStyle>
          <a:p>
            <a:pPr lvl="0"/>
            <a:endParaRPr lang="pt-BR"/>
          </a:p>
        </p:txBody>
      </p:sp>
      <p:sp>
        <p:nvSpPr>
          <p:cNvPr id="56" name="Espaço Reservado para Texto 45">
            <a:extLst>
              <a:ext uri="{FF2B5EF4-FFF2-40B4-BE49-F238E27FC236}">
                <a16:creationId xmlns:a16="http://schemas.microsoft.com/office/drawing/2014/main" id="{69EED1E0-BCD6-F969-095D-CB3F4281C4CC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5230813" y="4500843"/>
            <a:ext cx="2744787" cy="625475"/>
          </a:xfrm>
        </p:spPr>
        <p:txBody>
          <a:bodyPr>
            <a:noAutofit/>
          </a:bodyPr>
          <a:lstStyle>
            <a:lvl1pPr>
              <a:lnSpc>
                <a:spcPct val="130000"/>
              </a:lnSpc>
              <a:defRPr sz="1400" b="0">
                <a:solidFill>
                  <a:schemeClr val="tx2"/>
                </a:solidFill>
              </a:defRPr>
            </a:lvl1pPr>
            <a:lvl2pPr>
              <a:lnSpc>
                <a:spcPct val="130000"/>
              </a:lnSpc>
              <a:defRPr sz="1300">
                <a:solidFill>
                  <a:schemeClr val="tx2"/>
                </a:solidFill>
              </a:defRPr>
            </a:lvl2pPr>
            <a:lvl3pPr>
              <a:lnSpc>
                <a:spcPct val="130000"/>
              </a:lnSpc>
              <a:defRPr sz="1300">
                <a:solidFill>
                  <a:schemeClr val="tx2"/>
                </a:solidFill>
              </a:defRPr>
            </a:lvl3pPr>
            <a:lvl4pPr>
              <a:lnSpc>
                <a:spcPct val="130000"/>
              </a:lnSpc>
              <a:defRPr sz="1300">
                <a:solidFill>
                  <a:schemeClr val="tx2"/>
                </a:solidFill>
              </a:defRPr>
            </a:lvl4pPr>
            <a:lvl5pPr marL="1828800" indent="0">
              <a:lnSpc>
                <a:spcPct val="130000"/>
              </a:lnSpc>
              <a:buNone/>
              <a:defRPr sz="1300">
                <a:solidFill>
                  <a:schemeClr val="tx2"/>
                </a:solidFill>
              </a:defRPr>
            </a:lvl5pPr>
          </a:lstStyle>
          <a:p>
            <a:pPr lvl="0"/>
            <a:endParaRPr lang="pt-BR"/>
          </a:p>
        </p:txBody>
      </p:sp>
      <p:sp>
        <p:nvSpPr>
          <p:cNvPr id="57" name="Espaço Reservado para Texto 45">
            <a:extLst>
              <a:ext uri="{FF2B5EF4-FFF2-40B4-BE49-F238E27FC236}">
                <a16:creationId xmlns:a16="http://schemas.microsoft.com/office/drawing/2014/main" id="{FC661200-4B00-8BE8-EBFB-A1ADFE405EB1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5230813" y="3533705"/>
            <a:ext cx="2744787" cy="625475"/>
          </a:xfrm>
        </p:spPr>
        <p:txBody>
          <a:bodyPr>
            <a:noAutofit/>
          </a:bodyPr>
          <a:lstStyle>
            <a:lvl1pPr>
              <a:lnSpc>
                <a:spcPct val="130000"/>
              </a:lnSpc>
              <a:defRPr sz="1400" b="0">
                <a:solidFill>
                  <a:schemeClr val="tx2"/>
                </a:solidFill>
              </a:defRPr>
            </a:lvl1pPr>
            <a:lvl2pPr>
              <a:lnSpc>
                <a:spcPct val="130000"/>
              </a:lnSpc>
              <a:defRPr sz="1300">
                <a:solidFill>
                  <a:schemeClr val="tx2"/>
                </a:solidFill>
              </a:defRPr>
            </a:lvl2pPr>
            <a:lvl3pPr>
              <a:lnSpc>
                <a:spcPct val="130000"/>
              </a:lnSpc>
              <a:defRPr sz="1300">
                <a:solidFill>
                  <a:schemeClr val="tx2"/>
                </a:solidFill>
              </a:defRPr>
            </a:lvl3pPr>
            <a:lvl4pPr>
              <a:lnSpc>
                <a:spcPct val="130000"/>
              </a:lnSpc>
              <a:defRPr sz="1300">
                <a:solidFill>
                  <a:schemeClr val="tx2"/>
                </a:solidFill>
              </a:defRPr>
            </a:lvl4pPr>
            <a:lvl5pPr marL="1828800" indent="0">
              <a:lnSpc>
                <a:spcPct val="130000"/>
              </a:lnSpc>
              <a:buNone/>
              <a:defRPr sz="1300">
                <a:solidFill>
                  <a:schemeClr val="tx2"/>
                </a:solidFill>
              </a:defRPr>
            </a:lvl5pPr>
          </a:lstStyle>
          <a:p>
            <a:pPr lvl="0"/>
            <a:endParaRPr lang="pt-BR"/>
          </a:p>
        </p:txBody>
      </p:sp>
      <p:sp>
        <p:nvSpPr>
          <p:cNvPr id="58" name="Espaço Reservado para Texto 45">
            <a:extLst>
              <a:ext uri="{FF2B5EF4-FFF2-40B4-BE49-F238E27FC236}">
                <a16:creationId xmlns:a16="http://schemas.microsoft.com/office/drawing/2014/main" id="{345D7696-2F1D-1E51-5609-E3C0EBA299DC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8756650" y="1607419"/>
            <a:ext cx="2516187" cy="625475"/>
          </a:xfrm>
        </p:spPr>
        <p:txBody>
          <a:bodyPr>
            <a:noAutofit/>
          </a:bodyPr>
          <a:lstStyle>
            <a:lvl1pPr>
              <a:lnSpc>
                <a:spcPct val="130000"/>
              </a:lnSpc>
              <a:defRPr sz="1400" b="0">
                <a:solidFill>
                  <a:schemeClr val="tx2"/>
                </a:solidFill>
              </a:defRPr>
            </a:lvl1pPr>
            <a:lvl2pPr>
              <a:lnSpc>
                <a:spcPct val="130000"/>
              </a:lnSpc>
              <a:defRPr sz="1300">
                <a:solidFill>
                  <a:schemeClr val="tx2"/>
                </a:solidFill>
              </a:defRPr>
            </a:lvl2pPr>
            <a:lvl3pPr>
              <a:lnSpc>
                <a:spcPct val="130000"/>
              </a:lnSpc>
              <a:defRPr sz="1300">
                <a:solidFill>
                  <a:schemeClr val="tx2"/>
                </a:solidFill>
              </a:defRPr>
            </a:lvl3pPr>
            <a:lvl4pPr>
              <a:lnSpc>
                <a:spcPct val="130000"/>
              </a:lnSpc>
              <a:defRPr sz="1300">
                <a:solidFill>
                  <a:schemeClr val="tx2"/>
                </a:solidFill>
              </a:defRPr>
            </a:lvl4pPr>
            <a:lvl5pPr marL="1828800" indent="0">
              <a:lnSpc>
                <a:spcPct val="130000"/>
              </a:lnSpc>
              <a:buNone/>
              <a:defRPr sz="1300">
                <a:solidFill>
                  <a:schemeClr val="tx2"/>
                </a:solidFill>
              </a:defRPr>
            </a:lvl5pPr>
          </a:lstStyle>
          <a:p>
            <a:pPr lvl="0"/>
            <a:endParaRPr lang="pt-BR"/>
          </a:p>
        </p:txBody>
      </p:sp>
      <p:sp>
        <p:nvSpPr>
          <p:cNvPr id="59" name="Espaço Reservado para Texto 45">
            <a:extLst>
              <a:ext uri="{FF2B5EF4-FFF2-40B4-BE49-F238E27FC236}">
                <a16:creationId xmlns:a16="http://schemas.microsoft.com/office/drawing/2014/main" id="{22E326E2-1473-4ABD-2CF9-3D37955704CC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8756650" y="2579309"/>
            <a:ext cx="2516187" cy="625475"/>
          </a:xfrm>
        </p:spPr>
        <p:txBody>
          <a:bodyPr>
            <a:noAutofit/>
          </a:bodyPr>
          <a:lstStyle>
            <a:lvl1pPr>
              <a:lnSpc>
                <a:spcPct val="130000"/>
              </a:lnSpc>
              <a:defRPr sz="1400" b="0">
                <a:solidFill>
                  <a:schemeClr val="tx2"/>
                </a:solidFill>
              </a:defRPr>
            </a:lvl1pPr>
            <a:lvl2pPr>
              <a:lnSpc>
                <a:spcPct val="130000"/>
              </a:lnSpc>
              <a:defRPr sz="1300">
                <a:solidFill>
                  <a:schemeClr val="tx2"/>
                </a:solidFill>
              </a:defRPr>
            </a:lvl2pPr>
            <a:lvl3pPr>
              <a:lnSpc>
                <a:spcPct val="130000"/>
              </a:lnSpc>
              <a:defRPr sz="1300">
                <a:solidFill>
                  <a:schemeClr val="tx2"/>
                </a:solidFill>
              </a:defRPr>
            </a:lvl3pPr>
            <a:lvl4pPr>
              <a:lnSpc>
                <a:spcPct val="130000"/>
              </a:lnSpc>
              <a:defRPr sz="1300">
                <a:solidFill>
                  <a:schemeClr val="tx2"/>
                </a:solidFill>
              </a:defRPr>
            </a:lvl4pPr>
            <a:lvl5pPr marL="1828800" indent="0">
              <a:lnSpc>
                <a:spcPct val="130000"/>
              </a:lnSpc>
              <a:buNone/>
              <a:defRPr sz="1300">
                <a:solidFill>
                  <a:schemeClr val="tx2"/>
                </a:solidFill>
              </a:defRPr>
            </a:lvl5pPr>
          </a:lstStyle>
          <a:p>
            <a:pPr lvl="0"/>
            <a:endParaRPr lang="pt-BR"/>
          </a:p>
        </p:txBody>
      </p:sp>
      <p:sp>
        <p:nvSpPr>
          <p:cNvPr id="60" name="Espaço Reservado para Texto 45">
            <a:extLst>
              <a:ext uri="{FF2B5EF4-FFF2-40B4-BE49-F238E27FC236}">
                <a16:creationId xmlns:a16="http://schemas.microsoft.com/office/drawing/2014/main" id="{5A6A8A0A-A9DC-57C3-F49B-D204B25F3ED9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8756650" y="4500843"/>
            <a:ext cx="2516187" cy="625475"/>
          </a:xfrm>
        </p:spPr>
        <p:txBody>
          <a:bodyPr>
            <a:noAutofit/>
          </a:bodyPr>
          <a:lstStyle>
            <a:lvl1pPr>
              <a:lnSpc>
                <a:spcPct val="130000"/>
              </a:lnSpc>
              <a:defRPr sz="1400" b="0">
                <a:solidFill>
                  <a:schemeClr val="tx2"/>
                </a:solidFill>
              </a:defRPr>
            </a:lvl1pPr>
            <a:lvl2pPr>
              <a:lnSpc>
                <a:spcPct val="130000"/>
              </a:lnSpc>
              <a:defRPr sz="1300">
                <a:solidFill>
                  <a:schemeClr val="tx2"/>
                </a:solidFill>
              </a:defRPr>
            </a:lvl2pPr>
            <a:lvl3pPr>
              <a:lnSpc>
                <a:spcPct val="130000"/>
              </a:lnSpc>
              <a:defRPr sz="1300">
                <a:solidFill>
                  <a:schemeClr val="tx2"/>
                </a:solidFill>
              </a:defRPr>
            </a:lvl3pPr>
            <a:lvl4pPr>
              <a:lnSpc>
                <a:spcPct val="130000"/>
              </a:lnSpc>
              <a:defRPr sz="1300">
                <a:solidFill>
                  <a:schemeClr val="tx2"/>
                </a:solidFill>
              </a:defRPr>
            </a:lvl4pPr>
            <a:lvl5pPr marL="1828800" indent="0">
              <a:lnSpc>
                <a:spcPct val="130000"/>
              </a:lnSpc>
              <a:buNone/>
              <a:defRPr sz="1300">
                <a:solidFill>
                  <a:schemeClr val="tx2"/>
                </a:solidFill>
              </a:defRPr>
            </a:lvl5pPr>
          </a:lstStyle>
          <a:p>
            <a:pPr lvl="0"/>
            <a:endParaRPr lang="pt-BR"/>
          </a:p>
        </p:txBody>
      </p:sp>
      <p:sp>
        <p:nvSpPr>
          <p:cNvPr id="61" name="Espaço Reservado para Texto 45">
            <a:extLst>
              <a:ext uri="{FF2B5EF4-FFF2-40B4-BE49-F238E27FC236}">
                <a16:creationId xmlns:a16="http://schemas.microsoft.com/office/drawing/2014/main" id="{D3BE16D6-E390-D1BC-569E-B7C8A4BAC1EF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8756650" y="3533705"/>
            <a:ext cx="2516187" cy="625475"/>
          </a:xfrm>
        </p:spPr>
        <p:txBody>
          <a:bodyPr>
            <a:noAutofit/>
          </a:bodyPr>
          <a:lstStyle>
            <a:lvl1pPr>
              <a:lnSpc>
                <a:spcPct val="130000"/>
              </a:lnSpc>
              <a:defRPr sz="1400" b="0">
                <a:solidFill>
                  <a:schemeClr val="tx2"/>
                </a:solidFill>
              </a:defRPr>
            </a:lvl1pPr>
            <a:lvl2pPr>
              <a:lnSpc>
                <a:spcPct val="130000"/>
              </a:lnSpc>
              <a:defRPr sz="1300">
                <a:solidFill>
                  <a:schemeClr val="tx2"/>
                </a:solidFill>
              </a:defRPr>
            </a:lvl2pPr>
            <a:lvl3pPr>
              <a:lnSpc>
                <a:spcPct val="130000"/>
              </a:lnSpc>
              <a:defRPr sz="1300">
                <a:solidFill>
                  <a:schemeClr val="tx2"/>
                </a:solidFill>
              </a:defRPr>
            </a:lvl3pPr>
            <a:lvl4pPr>
              <a:lnSpc>
                <a:spcPct val="130000"/>
              </a:lnSpc>
              <a:defRPr sz="1300">
                <a:solidFill>
                  <a:schemeClr val="tx2"/>
                </a:solidFill>
              </a:defRPr>
            </a:lvl4pPr>
            <a:lvl5pPr marL="1828800" indent="0">
              <a:lnSpc>
                <a:spcPct val="130000"/>
              </a:lnSpc>
              <a:buNone/>
              <a:defRPr sz="1300">
                <a:solidFill>
                  <a:schemeClr val="tx2"/>
                </a:solidFill>
              </a:defRPr>
            </a:lvl5pPr>
          </a:lstStyle>
          <a:p>
            <a:pPr lvl="0"/>
            <a:endParaRPr lang="pt-BR"/>
          </a:p>
        </p:txBody>
      </p:sp>
      <p:sp>
        <p:nvSpPr>
          <p:cNvPr id="62" name="Espaço Reservado para Texto 3">
            <a:extLst>
              <a:ext uri="{FF2B5EF4-FFF2-40B4-BE49-F238E27FC236}">
                <a16:creationId xmlns:a16="http://schemas.microsoft.com/office/drawing/2014/main" id="{79D8D897-387E-A66E-3D4D-C6E8F6F7055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1170391" y="3235508"/>
            <a:ext cx="3044731" cy="951402"/>
          </a:xfrm>
        </p:spPr>
        <p:txBody>
          <a:bodyPr>
            <a:normAutofit/>
          </a:bodyPr>
          <a:lstStyle>
            <a:lvl1pPr marL="0" marR="0" indent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lang="pt-BR" sz="1100" b="0" i="0" u="none" strike="noStrike" cap="none" dirty="0">
                <a:solidFill>
                  <a:schemeClr val="bg1">
                    <a:lumMod val="50000"/>
                  </a:schemeClr>
                </a:solidFill>
                <a:latin typeface="+mn-lt"/>
                <a:ea typeface="Times New Roman" panose="02020603050405020304" pitchFamily="18" charset="0"/>
                <a:cs typeface="Arial"/>
                <a:sym typeface="Arial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</p:spTree>
    <p:extLst>
      <p:ext uri="{BB962C8B-B14F-4D97-AF65-F5344CB8AC3E}">
        <p14:creationId xmlns:p14="http://schemas.microsoft.com/office/powerpoint/2010/main" val="1583896131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m Branco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áfico 3">
            <a:extLst>
              <a:ext uri="{FF2B5EF4-FFF2-40B4-BE49-F238E27FC236}">
                <a16:creationId xmlns:a16="http://schemas.microsoft.com/office/drawing/2014/main" id="{5536CC76-6171-B09D-FDF3-59407A13526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277600" y="-1751088"/>
            <a:ext cx="2647804" cy="3111172"/>
          </a:xfrm>
          <a:prstGeom prst="rect">
            <a:avLst/>
          </a:prstGeom>
        </p:spPr>
      </p:pic>
      <p:pic>
        <p:nvPicPr>
          <p:cNvPr id="5" name="Gráfico 4">
            <a:extLst>
              <a:ext uri="{FF2B5EF4-FFF2-40B4-BE49-F238E27FC236}">
                <a16:creationId xmlns:a16="http://schemas.microsoft.com/office/drawing/2014/main" id="{5C99EB3E-B5D8-9B44-1758-975265A41B45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-1477559" y="3052763"/>
            <a:ext cx="5182891" cy="6089900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BBDA759A-9915-56A7-B65A-20AE4C2B5F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70391" y="1668084"/>
            <a:ext cx="3046009" cy="1281113"/>
          </a:xfrm>
        </p:spPr>
        <p:txBody>
          <a:bodyPr>
            <a:normAutofit/>
          </a:bodyPr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6">
            <a:extLst>
              <a:ext uri="{FF2B5EF4-FFF2-40B4-BE49-F238E27FC236}">
                <a16:creationId xmlns:a16="http://schemas.microsoft.com/office/drawing/2014/main" id="{5A69258F-54AB-711A-8C68-B0EDF4C7EFE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71669" y="1313487"/>
            <a:ext cx="3044731" cy="354597"/>
          </a:xfrm>
        </p:spPr>
        <p:txBody>
          <a:bodyPr lIns="108000" anchor="b">
            <a:normAutofit/>
          </a:bodyPr>
          <a:lstStyle>
            <a:lvl1pPr algn="l">
              <a:lnSpc>
                <a:spcPct val="100000"/>
              </a:lnSpc>
              <a:defRPr sz="1100" b="0" cap="all" spc="1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BR" err="1"/>
              <a:t>TítulO</a:t>
            </a:r>
            <a:endParaRPr lang="pt-BR"/>
          </a:p>
        </p:txBody>
      </p:sp>
      <p:sp>
        <p:nvSpPr>
          <p:cNvPr id="48" name="Espaço Reservado para Texto 45">
            <a:extLst>
              <a:ext uri="{FF2B5EF4-FFF2-40B4-BE49-F238E27FC236}">
                <a16:creationId xmlns:a16="http://schemas.microsoft.com/office/drawing/2014/main" id="{AA0A1508-379C-FE57-7F02-B2F7615EF5CA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230813" y="1607419"/>
            <a:ext cx="2744787" cy="625475"/>
          </a:xfrm>
        </p:spPr>
        <p:txBody>
          <a:bodyPr>
            <a:noAutofit/>
          </a:bodyPr>
          <a:lstStyle>
            <a:lvl1pPr>
              <a:lnSpc>
                <a:spcPct val="130000"/>
              </a:lnSpc>
              <a:defRPr sz="1400" b="0">
                <a:solidFill>
                  <a:schemeClr val="bg2"/>
                </a:solidFill>
              </a:defRPr>
            </a:lvl1pPr>
            <a:lvl2pPr>
              <a:lnSpc>
                <a:spcPct val="130000"/>
              </a:lnSpc>
              <a:defRPr sz="1300">
                <a:solidFill>
                  <a:schemeClr val="tx2"/>
                </a:solidFill>
              </a:defRPr>
            </a:lvl2pPr>
            <a:lvl3pPr>
              <a:lnSpc>
                <a:spcPct val="130000"/>
              </a:lnSpc>
              <a:defRPr sz="1300">
                <a:solidFill>
                  <a:schemeClr val="tx2"/>
                </a:solidFill>
              </a:defRPr>
            </a:lvl3pPr>
            <a:lvl4pPr>
              <a:lnSpc>
                <a:spcPct val="130000"/>
              </a:lnSpc>
              <a:defRPr sz="1300">
                <a:solidFill>
                  <a:schemeClr val="tx2"/>
                </a:solidFill>
              </a:defRPr>
            </a:lvl4pPr>
            <a:lvl5pPr marL="1828800" indent="0">
              <a:lnSpc>
                <a:spcPct val="130000"/>
              </a:lnSpc>
              <a:buNone/>
              <a:defRPr sz="1300">
                <a:solidFill>
                  <a:schemeClr val="tx2"/>
                </a:solidFill>
              </a:defRPr>
            </a:lvl5pPr>
          </a:lstStyle>
          <a:p>
            <a:pPr lvl="0"/>
            <a:endParaRPr lang="pt-BR"/>
          </a:p>
        </p:txBody>
      </p:sp>
      <p:sp>
        <p:nvSpPr>
          <p:cNvPr id="50" name="Espaço Reservado para Texto 45">
            <a:extLst>
              <a:ext uri="{FF2B5EF4-FFF2-40B4-BE49-F238E27FC236}">
                <a16:creationId xmlns:a16="http://schemas.microsoft.com/office/drawing/2014/main" id="{90EFF4E9-FB08-5C1A-9AE1-FC5E00F8336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230813" y="2579309"/>
            <a:ext cx="2744787" cy="625475"/>
          </a:xfrm>
        </p:spPr>
        <p:txBody>
          <a:bodyPr>
            <a:noAutofit/>
          </a:bodyPr>
          <a:lstStyle>
            <a:lvl1pPr>
              <a:lnSpc>
                <a:spcPct val="130000"/>
              </a:lnSpc>
              <a:defRPr sz="1400" b="0">
                <a:solidFill>
                  <a:schemeClr val="bg2"/>
                </a:solidFill>
              </a:defRPr>
            </a:lvl1pPr>
            <a:lvl2pPr>
              <a:lnSpc>
                <a:spcPct val="130000"/>
              </a:lnSpc>
              <a:defRPr sz="1300">
                <a:solidFill>
                  <a:schemeClr val="tx2"/>
                </a:solidFill>
              </a:defRPr>
            </a:lvl2pPr>
            <a:lvl3pPr>
              <a:lnSpc>
                <a:spcPct val="130000"/>
              </a:lnSpc>
              <a:defRPr sz="1300">
                <a:solidFill>
                  <a:schemeClr val="tx2"/>
                </a:solidFill>
              </a:defRPr>
            </a:lvl3pPr>
            <a:lvl4pPr>
              <a:lnSpc>
                <a:spcPct val="130000"/>
              </a:lnSpc>
              <a:defRPr sz="1300">
                <a:solidFill>
                  <a:schemeClr val="tx2"/>
                </a:solidFill>
              </a:defRPr>
            </a:lvl4pPr>
            <a:lvl5pPr marL="1828800" indent="0">
              <a:lnSpc>
                <a:spcPct val="130000"/>
              </a:lnSpc>
              <a:buNone/>
              <a:defRPr sz="1300">
                <a:solidFill>
                  <a:schemeClr val="tx2"/>
                </a:solidFill>
              </a:defRPr>
            </a:lvl5pPr>
          </a:lstStyle>
          <a:p>
            <a:pPr lvl="0"/>
            <a:endParaRPr lang="pt-BR"/>
          </a:p>
        </p:txBody>
      </p:sp>
      <p:sp>
        <p:nvSpPr>
          <p:cNvPr id="56" name="Espaço Reservado para Texto 45">
            <a:extLst>
              <a:ext uri="{FF2B5EF4-FFF2-40B4-BE49-F238E27FC236}">
                <a16:creationId xmlns:a16="http://schemas.microsoft.com/office/drawing/2014/main" id="{69EED1E0-BCD6-F969-095D-CB3F4281C4CC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5230813" y="4500843"/>
            <a:ext cx="2744787" cy="625475"/>
          </a:xfrm>
        </p:spPr>
        <p:txBody>
          <a:bodyPr>
            <a:noAutofit/>
          </a:bodyPr>
          <a:lstStyle>
            <a:lvl1pPr>
              <a:lnSpc>
                <a:spcPct val="130000"/>
              </a:lnSpc>
              <a:defRPr sz="1400" b="0">
                <a:solidFill>
                  <a:schemeClr val="bg2"/>
                </a:solidFill>
              </a:defRPr>
            </a:lvl1pPr>
            <a:lvl2pPr>
              <a:lnSpc>
                <a:spcPct val="130000"/>
              </a:lnSpc>
              <a:defRPr sz="1300">
                <a:solidFill>
                  <a:schemeClr val="tx2"/>
                </a:solidFill>
              </a:defRPr>
            </a:lvl2pPr>
            <a:lvl3pPr>
              <a:lnSpc>
                <a:spcPct val="130000"/>
              </a:lnSpc>
              <a:defRPr sz="1300">
                <a:solidFill>
                  <a:schemeClr val="tx2"/>
                </a:solidFill>
              </a:defRPr>
            </a:lvl3pPr>
            <a:lvl4pPr>
              <a:lnSpc>
                <a:spcPct val="130000"/>
              </a:lnSpc>
              <a:defRPr sz="1300">
                <a:solidFill>
                  <a:schemeClr val="tx2"/>
                </a:solidFill>
              </a:defRPr>
            </a:lvl4pPr>
            <a:lvl5pPr marL="1828800" indent="0">
              <a:lnSpc>
                <a:spcPct val="130000"/>
              </a:lnSpc>
              <a:buNone/>
              <a:defRPr sz="1300">
                <a:solidFill>
                  <a:schemeClr val="tx2"/>
                </a:solidFill>
              </a:defRPr>
            </a:lvl5pPr>
          </a:lstStyle>
          <a:p>
            <a:pPr lvl="0"/>
            <a:endParaRPr lang="pt-BR"/>
          </a:p>
        </p:txBody>
      </p:sp>
      <p:sp>
        <p:nvSpPr>
          <p:cNvPr id="57" name="Espaço Reservado para Texto 45">
            <a:extLst>
              <a:ext uri="{FF2B5EF4-FFF2-40B4-BE49-F238E27FC236}">
                <a16:creationId xmlns:a16="http://schemas.microsoft.com/office/drawing/2014/main" id="{FC661200-4B00-8BE8-EBFB-A1ADFE405EB1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5230813" y="3533705"/>
            <a:ext cx="2744787" cy="625475"/>
          </a:xfrm>
        </p:spPr>
        <p:txBody>
          <a:bodyPr>
            <a:noAutofit/>
          </a:bodyPr>
          <a:lstStyle>
            <a:lvl1pPr>
              <a:lnSpc>
                <a:spcPct val="130000"/>
              </a:lnSpc>
              <a:defRPr sz="1400" b="0">
                <a:solidFill>
                  <a:schemeClr val="bg2"/>
                </a:solidFill>
              </a:defRPr>
            </a:lvl1pPr>
            <a:lvl2pPr>
              <a:lnSpc>
                <a:spcPct val="130000"/>
              </a:lnSpc>
              <a:defRPr sz="1300">
                <a:solidFill>
                  <a:schemeClr val="tx2"/>
                </a:solidFill>
              </a:defRPr>
            </a:lvl2pPr>
            <a:lvl3pPr>
              <a:lnSpc>
                <a:spcPct val="130000"/>
              </a:lnSpc>
              <a:defRPr sz="1300">
                <a:solidFill>
                  <a:schemeClr val="tx2"/>
                </a:solidFill>
              </a:defRPr>
            </a:lvl3pPr>
            <a:lvl4pPr>
              <a:lnSpc>
                <a:spcPct val="130000"/>
              </a:lnSpc>
              <a:defRPr sz="1300">
                <a:solidFill>
                  <a:schemeClr val="tx2"/>
                </a:solidFill>
              </a:defRPr>
            </a:lvl4pPr>
            <a:lvl5pPr marL="1828800" indent="0">
              <a:lnSpc>
                <a:spcPct val="130000"/>
              </a:lnSpc>
              <a:buNone/>
              <a:defRPr sz="1300">
                <a:solidFill>
                  <a:schemeClr val="tx2"/>
                </a:solidFill>
              </a:defRPr>
            </a:lvl5pPr>
          </a:lstStyle>
          <a:p>
            <a:pPr lvl="0"/>
            <a:endParaRPr lang="pt-BR"/>
          </a:p>
        </p:txBody>
      </p:sp>
      <p:sp>
        <p:nvSpPr>
          <p:cNvPr id="58" name="Espaço Reservado para Texto 45">
            <a:extLst>
              <a:ext uri="{FF2B5EF4-FFF2-40B4-BE49-F238E27FC236}">
                <a16:creationId xmlns:a16="http://schemas.microsoft.com/office/drawing/2014/main" id="{345D7696-2F1D-1E51-5609-E3C0EBA299DC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8756650" y="1607419"/>
            <a:ext cx="2516187" cy="625475"/>
          </a:xfrm>
        </p:spPr>
        <p:txBody>
          <a:bodyPr>
            <a:noAutofit/>
          </a:bodyPr>
          <a:lstStyle>
            <a:lvl1pPr>
              <a:lnSpc>
                <a:spcPct val="130000"/>
              </a:lnSpc>
              <a:defRPr sz="1400" b="0">
                <a:solidFill>
                  <a:schemeClr val="bg2"/>
                </a:solidFill>
              </a:defRPr>
            </a:lvl1pPr>
            <a:lvl2pPr>
              <a:lnSpc>
                <a:spcPct val="130000"/>
              </a:lnSpc>
              <a:defRPr sz="1300">
                <a:solidFill>
                  <a:schemeClr val="tx2"/>
                </a:solidFill>
              </a:defRPr>
            </a:lvl2pPr>
            <a:lvl3pPr>
              <a:lnSpc>
                <a:spcPct val="130000"/>
              </a:lnSpc>
              <a:defRPr sz="1300">
                <a:solidFill>
                  <a:schemeClr val="tx2"/>
                </a:solidFill>
              </a:defRPr>
            </a:lvl3pPr>
            <a:lvl4pPr>
              <a:lnSpc>
                <a:spcPct val="130000"/>
              </a:lnSpc>
              <a:defRPr sz="1300">
                <a:solidFill>
                  <a:schemeClr val="tx2"/>
                </a:solidFill>
              </a:defRPr>
            </a:lvl4pPr>
            <a:lvl5pPr marL="1828800" indent="0">
              <a:lnSpc>
                <a:spcPct val="130000"/>
              </a:lnSpc>
              <a:buNone/>
              <a:defRPr sz="1300">
                <a:solidFill>
                  <a:schemeClr val="tx2"/>
                </a:solidFill>
              </a:defRPr>
            </a:lvl5pPr>
          </a:lstStyle>
          <a:p>
            <a:pPr lvl="0"/>
            <a:endParaRPr lang="pt-BR"/>
          </a:p>
        </p:txBody>
      </p:sp>
      <p:sp>
        <p:nvSpPr>
          <p:cNvPr id="59" name="Espaço Reservado para Texto 45">
            <a:extLst>
              <a:ext uri="{FF2B5EF4-FFF2-40B4-BE49-F238E27FC236}">
                <a16:creationId xmlns:a16="http://schemas.microsoft.com/office/drawing/2014/main" id="{22E326E2-1473-4ABD-2CF9-3D37955704CC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8756650" y="2579309"/>
            <a:ext cx="2516187" cy="625475"/>
          </a:xfrm>
        </p:spPr>
        <p:txBody>
          <a:bodyPr>
            <a:noAutofit/>
          </a:bodyPr>
          <a:lstStyle>
            <a:lvl1pPr>
              <a:lnSpc>
                <a:spcPct val="130000"/>
              </a:lnSpc>
              <a:defRPr sz="1400" b="0">
                <a:solidFill>
                  <a:schemeClr val="bg2"/>
                </a:solidFill>
              </a:defRPr>
            </a:lvl1pPr>
            <a:lvl2pPr>
              <a:lnSpc>
                <a:spcPct val="130000"/>
              </a:lnSpc>
              <a:defRPr sz="1300">
                <a:solidFill>
                  <a:schemeClr val="tx2"/>
                </a:solidFill>
              </a:defRPr>
            </a:lvl2pPr>
            <a:lvl3pPr>
              <a:lnSpc>
                <a:spcPct val="130000"/>
              </a:lnSpc>
              <a:defRPr sz="1300">
                <a:solidFill>
                  <a:schemeClr val="tx2"/>
                </a:solidFill>
              </a:defRPr>
            </a:lvl3pPr>
            <a:lvl4pPr>
              <a:lnSpc>
                <a:spcPct val="130000"/>
              </a:lnSpc>
              <a:defRPr sz="1300">
                <a:solidFill>
                  <a:schemeClr val="tx2"/>
                </a:solidFill>
              </a:defRPr>
            </a:lvl4pPr>
            <a:lvl5pPr marL="1828800" indent="0">
              <a:lnSpc>
                <a:spcPct val="130000"/>
              </a:lnSpc>
              <a:buNone/>
              <a:defRPr sz="1300">
                <a:solidFill>
                  <a:schemeClr val="tx2"/>
                </a:solidFill>
              </a:defRPr>
            </a:lvl5pPr>
          </a:lstStyle>
          <a:p>
            <a:pPr lvl="0"/>
            <a:endParaRPr lang="pt-BR"/>
          </a:p>
        </p:txBody>
      </p:sp>
      <p:sp>
        <p:nvSpPr>
          <p:cNvPr id="60" name="Espaço Reservado para Texto 45">
            <a:extLst>
              <a:ext uri="{FF2B5EF4-FFF2-40B4-BE49-F238E27FC236}">
                <a16:creationId xmlns:a16="http://schemas.microsoft.com/office/drawing/2014/main" id="{5A6A8A0A-A9DC-57C3-F49B-D204B25F3ED9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8756650" y="4500843"/>
            <a:ext cx="2516187" cy="625475"/>
          </a:xfrm>
        </p:spPr>
        <p:txBody>
          <a:bodyPr>
            <a:noAutofit/>
          </a:bodyPr>
          <a:lstStyle>
            <a:lvl1pPr>
              <a:lnSpc>
                <a:spcPct val="130000"/>
              </a:lnSpc>
              <a:defRPr sz="1400" b="0">
                <a:solidFill>
                  <a:schemeClr val="bg2"/>
                </a:solidFill>
              </a:defRPr>
            </a:lvl1pPr>
            <a:lvl2pPr>
              <a:lnSpc>
                <a:spcPct val="130000"/>
              </a:lnSpc>
              <a:defRPr sz="1300">
                <a:solidFill>
                  <a:schemeClr val="tx2"/>
                </a:solidFill>
              </a:defRPr>
            </a:lvl2pPr>
            <a:lvl3pPr>
              <a:lnSpc>
                <a:spcPct val="130000"/>
              </a:lnSpc>
              <a:defRPr sz="1300">
                <a:solidFill>
                  <a:schemeClr val="tx2"/>
                </a:solidFill>
              </a:defRPr>
            </a:lvl3pPr>
            <a:lvl4pPr>
              <a:lnSpc>
                <a:spcPct val="130000"/>
              </a:lnSpc>
              <a:defRPr sz="1300">
                <a:solidFill>
                  <a:schemeClr val="tx2"/>
                </a:solidFill>
              </a:defRPr>
            </a:lvl4pPr>
            <a:lvl5pPr marL="1828800" indent="0">
              <a:lnSpc>
                <a:spcPct val="130000"/>
              </a:lnSpc>
              <a:buNone/>
              <a:defRPr sz="1300">
                <a:solidFill>
                  <a:schemeClr val="tx2"/>
                </a:solidFill>
              </a:defRPr>
            </a:lvl5pPr>
          </a:lstStyle>
          <a:p>
            <a:pPr lvl="0"/>
            <a:endParaRPr lang="pt-BR"/>
          </a:p>
        </p:txBody>
      </p:sp>
      <p:sp>
        <p:nvSpPr>
          <p:cNvPr id="61" name="Espaço Reservado para Texto 45">
            <a:extLst>
              <a:ext uri="{FF2B5EF4-FFF2-40B4-BE49-F238E27FC236}">
                <a16:creationId xmlns:a16="http://schemas.microsoft.com/office/drawing/2014/main" id="{D3BE16D6-E390-D1BC-569E-B7C8A4BAC1EF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8756650" y="3533705"/>
            <a:ext cx="2516187" cy="625475"/>
          </a:xfrm>
        </p:spPr>
        <p:txBody>
          <a:bodyPr>
            <a:noAutofit/>
          </a:bodyPr>
          <a:lstStyle>
            <a:lvl1pPr>
              <a:lnSpc>
                <a:spcPct val="130000"/>
              </a:lnSpc>
              <a:defRPr sz="1400" b="0">
                <a:solidFill>
                  <a:schemeClr val="bg2"/>
                </a:solidFill>
              </a:defRPr>
            </a:lvl1pPr>
            <a:lvl2pPr>
              <a:lnSpc>
                <a:spcPct val="130000"/>
              </a:lnSpc>
              <a:defRPr sz="1300">
                <a:solidFill>
                  <a:schemeClr val="tx2"/>
                </a:solidFill>
              </a:defRPr>
            </a:lvl2pPr>
            <a:lvl3pPr>
              <a:lnSpc>
                <a:spcPct val="130000"/>
              </a:lnSpc>
              <a:defRPr sz="1300">
                <a:solidFill>
                  <a:schemeClr val="tx2"/>
                </a:solidFill>
              </a:defRPr>
            </a:lvl3pPr>
            <a:lvl4pPr>
              <a:lnSpc>
                <a:spcPct val="130000"/>
              </a:lnSpc>
              <a:defRPr sz="1300">
                <a:solidFill>
                  <a:schemeClr val="tx2"/>
                </a:solidFill>
              </a:defRPr>
            </a:lvl4pPr>
            <a:lvl5pPr marL="1828800" indent="0">
              <a:lnSpc>
                <a:spcPct val="130000"/>
              </a:lnSpc>
              <a:buNone/>
              <a:defRPr sz="1300">
                <a:solidFill>
                  <a:schemeClr val="tx2"/>
                </a:solidFill>
              </a:defRPr>
            </a:lvl5pPr>
          </a:lstStyle>
          <a:p>
            <a:pPr lvl="0"/>
            <a:endParaRPr lang="pt-BR"/>
          </a:p>
        </p:txBody>
      </p:sp>
      <p:sp>
        <p:nvSpPr>
          <p:cNvPr id="7" name="Espaço Reservado para Imagem 6">
            <a:extLst>
              <a:ext uri="{FF2B5EF4-FFF2-40B4-BE49-F238E27FC236}">
                <a16:creationId xmlns:a16="http://schemas.microsoft.com/office/drawing/2014/main" id="{9F790EC3-C462-56AD-2B08-F7FF72508A8C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4576763" y="1571153"/>
            <a:ext cx="654050" cy="65405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endParaRPr lang="pt-BR"/>
          </a:p>
        </p:txBody>
      </p:sp>
      <p:sp>
        <p:nvSpPr>
          <p:cNvPr id="9" name="Espaço Reservado para Imagem 6">
            <a:extLst>
              <a:ext uri="{FF2B5EF4-FFF2-40B4-BE49-F238E27FC236}">
                <a16:creationId xmlns:a16="http://schemas.microsoft.com/office/drawing/2014/main" id="{117F00D3-8A9D-BA5C-B4D6-56F53DABE081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4576763" y="4468922"/>
            <a:ext cx="654050" cy="654050"/>
          </a:xfrm>
          <a:prstGeom prst="ellipse">
            <a:avLst/>
          </a:prstGeom>
        </p:spPr>
        <p:txBody>
          <a:bodyPr/>
          <a:lstStyle/>
          <a:p>
            <a:endParaRPr lang="pt-BR"/>
          </a:p>
        </p:txBody>
      </p:sp>
      <p:sp>
        <p:nvSpPr>
          <p:cNvPr id="11" name="Espaço Reservado para Imagem 6">
            <a:extLst>
              <a:ext uri="{FF2B5EF4-FFF2-40B4-BE49-F238E27FC236}">
                <a16:creationId xmlns:a16="http://schemas.microsoft.com/office/drawing/2014/main" id="{C63AF8FD-7A31-97C0-140D-F6C27992E08A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4576763" y="3507444"/>
            <a:ext cx="654050" cy="654050"/>
          </a:xfrm>
          <a:prstGeom prst="ellipse">
            <a:avLst/>
          </a:prstGeom>
        </p:spPr>
        <p:txBody>
          <a:bodyPr/>
          <a:lstStyle/>
          <a:p>
            <a:endParaRPr lang="pt-BR"/>
          </a:p>
        </p:txBody>
      </p:sp>
      <p:sp>
        <p:nvSpPr>
          <p:cNvPr id="13" name="Espaço Reservado para Imagem 6">
            <a:extLst>
              <a:ext uri="{FF2B5EF4-FFF2-40B4-BE49-F238E27FC236}">
                <a16:creationId xmlns:a16="http://schemas.microsoft.com/office/drawing/2014/main" id="{F1E03703-2380-F3EB-4FA7-CE7A98BD8A46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4576763" y="2545093"/>
            <a:ext cx="654050" cy="654050"/>
          </a:xfrm>
          <a:prstGeom prst="ellipse">
            <a:avLst/>
          </a:prstGeom>
        </p:spPr>
        <p:txBody>
          <a:bodyPr/>
          <a:lstStyle/>
          <a:p>
            <a:endParaRPr lang="pt-BR"/>
          </a:p>
        </p:txBody>
      </p:sp>
      <p:sp>
        <p:nvSpPr>
          <p:cNvPr id="18" name="Espaço Reservado para Imagem 6">
            <a:extLst>
              <a:ext uri="{FF2B5EF4-FFF2-40B4-BE49-F238E27FC236}">
                <a16:creationId xmlns:a16="http://schemas.microsoft.com/office/drawing/2014/main" id="{F2561D0A-B2DA-2E1A-6F9F-4F820557716D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8102600" y="1571153"/>
            <a:ext cx="654050" cy="654050"/>
          </a:xfrm>
          <a:prstGeom prst="ellipse">
            <a:avLst/>
          </a:prstGeom>
        </p:spPr>
        <p:txBody>
          <a:bodyPr/>
          <a:lstStyle/>
          <a:p>
            <a:endParaRPr lang="pt-BR"/>
          </a:p>
        </p:txBody>
      </p:sp>
      <p:sp>
        <p:nvSpPr>
          <p:cNvPr id="19" name="Espaço Reservado para Imagem 6">
            <a:extLst>
              <a:ext uri="{FF2B5EF4-FFF2-40B4-BE49-F238E27FC236}">
                <a16:creationId xmlns:a16="http://schemas.microsoft.com/office/drawing/2014/main" id="{5FF9A836-CC47-5A5F-1F9F-77925A1F4580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8102600" y="4468922"/>
            <a:ext cx="654050" cy="654050"/>
          </a:xfrm>
          <a:prstGeom prst="ellipse">
            <a:avLst/>
          </a:prstGeom>
        </p:spPr>
        <p:txBody>
          <a:bodyPr/>
          <a:lstStyle/>
          <a:p>
            <a:endParaRPr lang="pt-BR"/>
          </a:p>
        </p:txBody>
      </p:sp>
      <p:sp>
        <p:nvSpPr>
          <p:cNvPr id="20" name="Espaço Reservado para Imagem 6">
            <a:extLst>
              <a:ext uri="{FF2B5EF4-FFF2-40B4-BE49-F238E27FC236}">
                <a16:creationId xmlns:a16="http://schemas.microsoft.com/office/drawing/2014/main" id="{6B2CA7E3-B922-EC4D-43CF-64B5C722AF49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8102600" y="3507444"/>
            <a:ext cx="654050" cy="654050"/>
          </a:xfrm>
          <a:prstGeom prst="ellipse">
            <a:avLst/>
          </a:prstGeom>
        </p:spPr>
        <p:txBody>
          <a:bodyPr/>
          <a:lstStyle/>
          <a:p>
            <a:endParaRPr lang="pt-BR"/>
          </a:p>
        </p:txBody>
      </p:sp>
      <p:sp>
        <p:nvSpPr>
          <p:cNvPr id="21" name="Espaço Reservado para Imagem 6">
            <a:extLst>
              <a:ext uri="{FF2B5EF4-FFF2-40B4-BE49-F238E27FC236}">
                <a16:creationId xmlns:a16="http://schemas.microsoft.com/office/drawing/2014/main" id="{59009F60-9F6B-1234-55D4-BBD6C8FA18BA}"/>
              </a:ext>
            </a:extLst>
          </p:cNvPr>
          <p:cNvSpPr>
            <a:spLocks noGrp="1"/>
          </p:cNvSpPr>
          <p:nvPr>
            <p:ph type="pic" sz="quarter" idx="39"/>
          </p:nvPr>
        </p:nvSpPr>
        <p:spPr>
          <a:xfrm>
            <a:off x="8102600" y="2545093"/>
            <a:ext cx="654050" cy="654050"/>
          </a:xfrm>
          <a:prstGeom prst="ellipse">
            <a:avLst/>
          </a:prstGeom>
        </p:spPr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145967047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55448991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DF73CDAE-20FF-F5BC-347A-843738C96F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  <a:endParaRPr lang="en-US"/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B16FD09C-478B-AFB0-A25E-E7F586C0D73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57330100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E339FF7-E679-BC64-FE01-C490964293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44562" y="2848767"/>
            <a:ext cx="6832600" cy="1281113"/>
          </a:xfrm>
        </p:spPr>
        <p:txBody>
          <a:bodyPr>
            <a:noAutofit/>
          </a:bodyPr>
          <a:lstStyle>
            <a:lvl1pPr>
              <a:lnSpc>
                <a:spcPct val="85000"/>
              </a:lnSpc>
              <a:defRPr lang="pt-BR" sz="5400" b="1" i="0" u="none" strike="noStrike" kern="1200" cap="all" spc="-100" baseline="0" dirty="0" smtClean="0">
                <a:solidFill>
                  <a:schemeClr val="accent1"/>
                </a:solidFill>
                <a:latin typeface="+mj-lt"/>
                <a:ea typeface="+mj-ea"/>
                <a:cs typeface="+mj-cs"/>
                <a:sym typeface="Arial"/>
              </a:defRPr>
            </a:lvl1pPr>
          </a:lstStyle>
          <a:p>
            <a:r>
              <a:rPr lang="pt-BR"/>
              <a:t>Clique para editar o </a:t>
            </a:r>
            <a:r>
              <a:rPr lang="pt-BR" err="1"/>
              <a:t>títulO</a:t>
            </a:r>
            <a:endParaRPr lang="pt-BR"/>
          </a:p>
        </p:txBody>
      </p:sp>
      <p:pic>
        <p:nvPicPr>
          <p:cNvPr id="9" name="Gráfico 8">
            <a:extLst>
              <a:ext uri="{FF2B5EF4-FFF2-40B4-BE49-F238E27FC236}">
                <a16:creationId xmlns:a16="http://schemas.microsoft.com/office/drawing/2014/main" id="{74D81A32-4C7C-0CCE-4AE1-180F087D38D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8386" y="476863"/>
            <a:ext cx="1412714" cy="829797"/>
          </a:xfrm>
          <a:prstGeom prst="rect">
            <a:avLst/>
          </a:prstGeom>
        </p:spPr>
      </p:pic>
      <p:pic>
        <p:nvPicPr>
          <p:cNvPr id="10" name="Gráfico 9">
            <a:extLst>
              <a:ext uri="{FF2B5EF4-FFF2-40B4-BE49-F238E27FC236}">
                <a16:creationId xmlns:a16="http://schemas.microsoft.com/office/drawing/2014/main" id="{9BD457A8-84E7-7430-6D08-43149ED43C5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-643448" y="4877887"/>
            <a:ext cx="1577057" cy="1853043"/>
          </a:xfrm>
          <a:prstGeom prst="rect">
            <a:avLst/>
          </a:prstGeom>
        </p:spPr>
      </p:pic>
      <p:sp>
        <p:nvSpPr>
          <p:cNvPr id="12" name="Espaço Reservado para Texto 11">
            <a:extLst>
              <a:ext uri="{FF2B5EF4-FFF2-40B4-BE49-F238E27FC236}">
                <a16:creationId xmlns:a16="http://schemas.microsoft.com/office/drawing/2014/main" id="{0D810081-EA73-009A-C87B-3D42044833B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14400" y="2449218"/>
            <a:ext cx="6832600" cy="447675"/>
          </a:xfrm>
        </p:spPr>
        <p:txBody>
          <a:bodyPr lIns="144000">
            <a:normAutofit/>
          </a:bodyPr>
          <a:lstStyle>
            <a:lvl1pPr marL="0" marR="0" indent="0" algn="l" defTabSz="914400" rtl="0" eaLnBrk="1" latinLnBrk="0" hangingPunct="1">
              <a:lnSpc>
                <a:spcPct val="100000"/>
              </a:lnSpc>
              <a:spcBef>
                <a:spcPts val="2000"/>
              </a:spcBef>
              <a:spcAft>
                <a:spcPts val="500"/>
              </a:spcAft>
              <a:buClrTx/>
              <a:buFont typeface="Arial" panose="020B0604020202020204" pitchFamily="34" charset="0"/>
              <a:buNone/>
              <a:defRPr lang="pt-BR" sz="1500" b="0" i="0" u="none" strike="noStrike" kern="1200" cap="all" spc="10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Arial"/>
              </a:defRPr>
            </a:lvl1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13" name="Espaço Reservado para Texto 11">
            <a:extLst>
              <a:ext uri="{FF2B5EF4-FFF2-40B4-BE49-F238E27FC236}">
                <a16:creationId xmlns:a16="http://schemas.microsoft.com/office/drawing/2014/main" id="{C8458586-A2E0-FAC7-BE44-2EA68F6CF93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914400" y="4205706"/>
            <a:ext cx="6832600" cy="447675"/>
          </a:xfrm>
        </p:spPr>
        <p:txBody>
          <a:bodyPr lIns="144000" anchor="t">
            <a:normAutofit/>
          </a:bodyPr>
          <a:lstStyle>
            <a:lvl1pPr marL="0" marR="0" indent="0" algn="l" defTabSz="914400" rtl="0" eaLnBrk="1" latinLnBrk="0" hangingPunct="1">
              <a:lnSpc>
                <a:spcPct val="100000"/>
              </a:lnSpc>
              <a:spcBef>
                <a:spcPts val="2000"/>
              </a:spcBef>
              <a:spcAft>
                <a:spcPts val="500"/>
              </a:spcAft>
              <a:buClrTx/>
              <a:buFont typeface="Arial" panose="020B0604020202020204" pitchFamily="34" charset="0"/>
              <a:buNone/>
              <a:defRPr lang="pt-BR" sz="1500" b="0" i="0" u="none" strike="noStrike" kern="1200" cap="all" spc="10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Arial"/>
              </a:defRPr>
            </a:lvl1pPr>
          </a:lstStyle>
          <a:p>
            <a:pPr lvl="0"/>
            <a:r>
              <a:rPr lang="pt-BR"/>
              <a:t>Clique para editar os estilos de texto Mestres</a:t>
            </a:r>
          </a:p>
        </p:txBody>
      </p:sp>
      <p:pic>
        <p:nvPicPr>
          <p:cNvPr id="14" name="Gráfico 13">
            <a:extLst>
              <a:ext uri="{FF2B5EF4-FFF2-40B4-BE49-F238E27FC236}">
                <a16:creationId xmlns:a16="http://schemas.microsoft.com/office/drawing/2014/main" id="{24C9451C-4B61-4874-1435-D78622F233BB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975600" y="-2844501"/>
            <a:ext cx="6858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9394124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áfico 5">
            <a:extLst>
              <a:ext uri="{FF2B5EF4-FFF2-40B4-BE49-F238E27FC236}">
                <a16:creationId xmlns:a16="http://schemas.microsoft.com/office/drawing/2014/main" id="{63E891D6-3C9E-6CA7-58C5-A99C0C4D22B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458099" y="274462"/>
            <a:ext cx="1577057" cy="1853043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B9827399-D6D9-8189-3904-36F5D87972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4400" y="2838195"/>
            <a:ext cx="5067300" cy="1326091"/>
          </a:xfrm>
          <a:prstGeom prst="rect">
            <a:avLst/>
          </a:prstGeom>
        </p:spPr>
        <p:txBody>
          <a:bodyPr>
            <a:noAutofit/>
          </a:bodyPr>
          <a:lstStyle>
            <a:lvl1pPr marR="0" algn="l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pt-BR" sz="4800" b="1" i="0" u="none" strike="noStrike" cap="none" spc="-100" baseline="0" dirty="0">
                <a:solidFill>
                  <a:schemeClr val="accent1"/>
                </a:solidFill>
                <a:latin typeface="+mj-lt"/>
                <a:ea typeface="Arial"/>
                <a:cs typeface="Poppins" panose="00000500000000000000" pitchFamily="2" charset="0"/>
                <a:sym typeface="Arial"/>
              </a:defRPr>
            </a:lvl1pPr>
          </a:lstStyle>
          <a:p>
            <a:r>
              <a:rPr lang="pt-BR"/>
              <a:t>Clique para editar o título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53DD9C0-0B7B-4802-9204-0F90379C05A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230111" y="1170710"/>
            <a:ext cx="4516582" cy="4516582"/>
          </a:xfrm>
          <a:custGeom>
            <a:avLst/>
            <a:gdLst>
              <a:gd name="connsiteX0" fmla="*/ 3543300 w 7086600"/>
              <a:gd name="connsiteY0" fmla="*/ 0 h 7086600"/>
              <a:gd name="connsiteX1" fmla="*/ 7086600 w 7086600"/>
              <a:gd name="connsiteY1" fmla="*/ 3543300 h 7086600"/>
              <a:gd name="connsiteX2" fmla="*/ 3543300 w 7086600"/>
              <a:gd name="connsiteY2" fmla="*/ 7086600 h 7086600"/>
              <a:gd name="connsiteX3" fmla="*/ 0 w 7086600"/>
              <a:gd name="connsiteY3" fmla="*/ 3543300 h 7086600"/>
              <a:gd name="connsiteX4" fmla="*/ 3543300 w 7086600"/>
              <a:gd name="connsiteY4" fmla="*/ 0 h 7086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086600" h="7086600">
                <a:moveTo>
                  <a:pt x="3543300" y="0"/>
                </a:moveTo>
                <a:cubicBezTo>
                  <a:pt x="5500211" y="0"/>
                  <a:pt x="7086600" y="1586389"/>
                  <a:pt x="7086600" y="3543300"/>
                </a:cubicBezTo>
                <a:cubicBezTo>
                  <a:pt x="7086600" y="5500211"/>
                  <a:pt x="5500211" y="7086600"/>
                  <a:pt x="3543300" y="7086600"/>
                </a:cubicBezTo>
                <a:cubicBezTo>
                  <a:pt x="1586389" y="7086600"/>
                  <a:pt x="0" y="5500211"/>
                  <a:pt x="0" y="3543300"/>
                </a:cubicBezTo>
                <a:cubicBezTo>
                  <a:pt x="0" y="1586389"/>
                  <a:pt x="1586389" y="0"/>
                  <a:pt x="35433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 algn="ctr">
              <a:defRPr sz="1333"/>
            </a:lvl1pPr>
          </a:lstStyle>
          <a:p>
            <a:endParaRPr lang="en-ID"/>
          </a:p>
        </p:txBody>
      </p:sp>
      <p:sp>
        <p:nvSpPr>
          <p:cNvPr id="3" name="Elipse 2">
            <a:extLst>
              <a:ext uri="{FF2B5EF4-FFF2-40B4-BE49-F238E27FC236}">
                <a16:creationId xmlns:a16="http://schemas.microsoft.com/office/drawing/2014/main" id="{3DA375F6-7AA0-AEC1-BC95-CE2BAFBDE8A2}"/>
              </a:ext>
            </a:extLst>
          </p:cNvPr>
          <p:cNvSpPr/>
          <p:nvPr userDrawn="1"/>
        </p:nvSpPr>
        <p:spPr>
          <a:xfrm>
            <a:off x="6114793" y="1078111"/>
            <a:ext cx="4747217" cy="4747217"/>
          </a:xfrm>
          <a:prstGeom prst="ellipse">
            <a:avLst/>
          </a:prstGeom>
          <a:noFill/>
          <a:ln w="28575">
            <a:solidFill>
              <a:schemeClr val="bg1"/>
            </a:solidFill>
            <a:extLst>
              <a:ext uri="{C807C97D-BFC1-408E-A445-0C87EB9F89A2}">
                <ask:lineSketchStyleProps xmlns:ask="http://schemas.microsoft.com/office/drawing/2018/sketchyshapes" sd="264327539">
                  <a:custGeom>
                    <a:avLst/>
                    <a:gdLst>
                      <a:gd name="connsiteX0" fmla="*/ 0 w 4747217"/>
                      <a:gd name="connsiteY0" fmla="*/ 2373609 h 4747217"/>
                      <a:gd name="connsiteX1" fmla="*/ 2373609 w 4747217"/>
                      <a:gd name="connsiteY1" fmla="*/ 0 h 4747217"/>
                      <a:gd name="connsiteX2" fmla="*/ 4747218 w 4747217"/>
                      <a:gd name="connsiteY2" fmla="*/ 2373609 h 4747217"/>
                      <a:gd name="connsiteX3" fmla="*/ 2373609 w 4747217"/>
                      <a:gd name="connsiteY3" fmla="*/ 4747218 h 4747217"/>
                      <a:gd name="connsiteX4" fmla="*/ 0 w 4747217"/>
                      <a:gd name="connsiteY4" fmla="*/ 2373609 h 474721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747217" h="4747217" extrusionOk="0">
                        <a:moveTo>
                          <a:pt x="0" y="2373609"/>
                        </a:moveTo>
                        <a:cubicBezTo>
                          <a:pt x="-47287" y="930507"/>
                          <a:pt x="1050209" y="-151600"/>
                          <a:pt x="2373609" y="0"/>
                        </a:cubicBezTo>
                        <a:cubicBezTo>
                          <a:pt x="3459270" y="-54555"/>
                          <a:pt x="4685701" y="1074288"/>
                          <a:pt x="4747218" y="2373609"/>
                        </a:cubicBezTo>
                        <a:cubicBezTo>
                          <a:pt x="4844760" y="3890868"/>
                          <a:pt x="3836141" y="4684234"/>
                          <a:pt x="2373609" y="4747218"/>
                        </a:cubicBezTo>
                        <a:cubicBezTo>
                          <a:pt x="1311770" y="4759003"/>
                          <a:pt x="3635" y="3726051"/>
                          <a:pt x="0" y="2373609"/>
                        </a:cubicBezTo>
                        <a:close/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933"/>
          </a:p>
        </p:txBody>
      </p:sp>
      <p:pic>
        <p:nvPicPr>
          <p:cNvPr id="9" name="Gráfico 8">
            <a:extLst>
              <a:ext uri="{FF2B5EF4-FFF2-40B4-BE49-F238E27FC236}">
                <a16:creationId xmlns:a16="http://schemas.microsoft.com/office/drawing/2014/main" id="{F3284FE4-4CFB-8D54-E3D2-F2EE05FC531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38386" y="1200983"/>
            <a:ext cx="1412714" cy="829797"/>
          </a:xfrm>
          <a:prstGeom prst="rect">
            <a:avLst/>
          </a:prstGeom>
        </p:spPr>
      </p:pic>
      <p:pic>
        <p:nvPicPr>
          <p:cNvPr id="11" name="Gráfico 10">
            <a:extLst>
              <a:ext uri="{FF2B5EF4-FFF2-40B4-BE49-F238E27FC236}">
                <a16:creationId xmlns:a16="http://schemas.microsoft.com/office/drawing/2014/main" id="{E1E74A66-AB3B-0B9D-E917-184B6A4C9939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-585919" y="-473413"/>
            <a:ext cx="1577057" cy="1853043"/>
          </a:xfrm>
          <a:prstGeom prst="rect">
            <a:avLst/>
          </a:prstGeom>
        </p:spPr>
      </p:pic>
      <p:sp>
        <p:nvSpPr>
          <p:cNvPr id="13" name="Título 1">
            <a:extLst>
              <a:ext uri="{FF2B5EF4-FFF2-40B4-BE49-F238E27FC236}">
                <a16:creationId xmlns:a16="http://schemas.microsoft.com/office/drawing/2014/main" id="{40E63747-3802-E5CE-C8ED-52D01051B737}"/>
              </a:ext>
            </a:extLst>
          </p:cNvPr>
          <p:cNvSpPr txBox="1">
            <a:spLocks/>
          </p:cNvSpPr>
          <p:nvPr userDrawn="1"/>
        </p:nvSpPr>
        <p:spPr>
          <a:xfrm>
            <a:off x="914400" y="4763247"/>
            <a:ext cx="5067300" cy="1326091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R="0" algn="l" defTabSz="914400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lang="pt-BR" sz="4800" b="1" i="0" u="none" strike="noStrike" kern="1200" cap="none" spc="-40" baseline="0" dirty="0">
                <a:solidFill>
                  <a:schemeClr val="accent1"/>
                </a:solidFill>
                <a:latin typeface="+mj-lt"/>
                <a:ea typeface="Arial"/>
                <a:cs typeface="Poppins" panose="00000500000000000000" pitchFamily="2" charset="0"/>
                <a:sym typeface="Arial"/>
              </a:defRPr>
            </a:lvl1pPr>
          </a:lstStyle>
          <a:p>
            <a:endParaRPr lang="pt-BR"/>
          </a:p>
        </p:txBody>
      </p:sp>
      <p:sp>
        <p:nvSpPr>
          <p:cNvPr id="15" name="Espaço Reservado para Texto 14">
            <a:extLst>
              <a:ext uri="{FF2B5EF4-FFF2-40B4-BE49-F238E27FC236}">
                <a16:creationId xmlns:a16="http://schemas.microsoft.com/office/drawing/2014/main" id="{6AB1257F-413F-25D8-39C5-3FCF673DA0F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14400" y="4268788"/>
            <a:ext cx="5067300" cy="261937"/>
          </a:xfrm>
        </p:spPr>
        <p:txBody>
          <a:bodyPr>
            <a:noAutofit/>
          </a:bodyPr>
          <a:lstStyle>
            <a:lvl1pPr marR="0" algn="l" defTabSz="914400" rtl="0" eaLnBrk="1" latinLnBrk="0" hangingPunct="1">
              <a:lnSpc>
                <a:spcPct val="100000"/>
              </a:lnSpc>
              <a:spcBef>
                <a:spcPts val="2000"/>
              </a:spcBef>
              <a:spcAft>
                <a:spcPts val="500"/>
              </a:spcAft>
              <a:buClr>
                <a:srgbClr val="000000"/>
              </a:buClr>
              <a:buFont typeface="Arial"/>
              <a:buNone/>
              <a:defRPr lang="pt-BR" sz="1100" b="0" i="0" u="none" strike="noStrike" kern="1200" cap="all" spc="10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Arial"/>
              </a:defRPr>
            </a:lvl1pPr>
            <a:lvl2pPr marL="0" marR="0" indent="0" algn="l" defTabSz="914400" rtl="0" eaLnBrk="1" latinLnBrk="0" hangingPunct="1">
              <a:lnSpc>
                <a:spcPct val="100000"/>
              </a:lnSpc>
              <a:spcBef>
                <a:spcPts val="2000"/>
              </a:spcBef>
              <a:spcAft>
                <a:spcPts val="500"/>
              </a:spcAft>
              <a:buClr>
                <a:srgbClr val="000000"/>
              </a:buClr>
              <a:buFont typeface="Arial"/>
              <a:buNone/>
              <a:defRPr lang="pt-BR" sz="1100" b="0" i="0" u="none" strike="noStrike" kern="1200" cap="all" spc="10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Arial"/>
              </a:defRPr>
            </a:lvl2pPr>
          </a:lstStyle>
          <a:p>
            <a:pPr lvl="0"/>
            <a:r>
              <a:rPr lang="pt-BR"/>
              <a:t>Clique para editar os estilos de texto Mestres</a:t>
            </a:r>
          </a:p>
        </p:txBody>
      </p:sp>
      <p:pic>
        <p:nvPicPr>
          <p:cNvPr id="4" name="Gráfico 3">
            <a:extLst>
              <a:ext uri="{FF2B5EF4-FFF2-40B4-BE49-F238E27FC236}">
                <a16:creationId xmlns:a16="http://schemas.microsoft.com/office/drawing/2014/main" id="{1E35B455-200F-4413-6A26-E292AAB88A11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 flipH="1">
            <a:off x="10751250" y="5199385"/>
            <a:ext cx="953097" cy="953097"/>
          </a:xfrm>
          <a:prstGeom prst="rect">
            <a:avLst/>
          </a:prstGeom>
        </p:spPr>
      </p:pic>
      <p:sp>
        <p:nvSpPr>
          <p:cNvPr id="7" name="Arco">
            <a:extLst>
              <a:ext uri="{FF2B5EF4-FFF2-40B4-BE49-F238E27FC236}">
                <a16:creationId xmlns:a16="http://schemas.microsoft.com/office/drawing/2014/main" id="{FEACC453-19FE-F672-C06C-EFABEC608F0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6604789">
            <a:off x="6305041" y="536830"/>
            <a:ext cx="2987899" cy="2987899"/>
          </a:xfrm>
          <a:prstGeom prst="arc">
            <a:avLst>
              <a:gd name="adj1" fmla="val 14455503"/>
              <a:gd name="adj2" fmla="val 0"/>
            </a:avLst>
          </a:prstGeom>
          <a:ln w="127000" cap="rnd">
            <a:solidFill>
              <a:schemeClr val="bg2"/>
            </a:solidFill>
            <a:prstDash val="dash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Rectangle: Rounded Corners 11">
            <a:extLst>
              <a:ext uri="{FF2B5EF4-FFF2-40B4-BE49-F238E27FC236}">
                <a16:creationId xmlns:a16="http://schemas.microsoft.com/office/drawing/2014/main" id="{5DDD0DB3-501E-0143-8384-4B5B0B19366F}"/>
              </a:ext>
            </a:extLst>
          </p:cNvPr>
          <p:cNvSpPr/>
          <p:nvPr userDrawn="1"/>
        </p:nvSpPr>
        <p:spPr>
          <a:xfrm>
            <a:off x="914399" y="5094580"/>
            <a:ext cx="1725959" cy="396583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err="1">
                <a:solidFill>
                  <a:schemeClr val="bg1"/>
                </a:solidFill>
              </a:rPr>
              <a:t>Iniciar</a:t>
            </a:r>
            <a:r>
              <a:rPr lang="en-US" sz="1100">
                <a:solidFill>
                  <a:schemeClr val="bg1"/>
                </a:solidFill>
              </a:rPr>
              <a:t> </a:t>
            </a:r>
            <a:r>
              <a:rPr lang="en-US" sz="1100" err="1">
                <a:solidFill>
                  <a:schemeClr val="bg1"/>
                </a:solidFill>
              </a:rPr>
              <a:t>Apresentação</a:t>
            </a:r>
            <a:endParaRPr lang="en-ID" sz="11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02776031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lipse 9">
            <a:extLst>
              <a:ext uri="{FF2B5EF4-FFF2-40B4-BE49-F238E27FC236}">
                <a16:creationId xmlns:a16="http://schemas.microsoft.com/office/drawing/2014/main" id="{1DA6EAF7-7A58-A806-93AB-79252ADE3D02}"/>
              </a:ext>
            </a:extLst>
          </p:cNvPr>
          <p:cNvSpPr/>
          <p:nvPr userDrawn="1"/>
        </p:nvSpPr>
        <p:spPr>
          <a:xfrm>
            <a:off x="5991426" y="507252"/>
            <a:ext cx="3400926" cy="3400926"/>
          </a:xfrm>
          <a:prstGeom prst="ellipse">
            <a:avLst/>
          </a:prstGeom>
          <a:noFill/>
          <a:ln w="57150" cap="rnd">
            <a:solidFill>
              <a:schemeClr val="bg2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6" name="Gráfico 5">
            <a:extLst>
              <a:ext uri="{FF2B5EF4-FFF2-40B4-BE49-F238E27FC236}">
                <a16:creationId xmlns:a16="http://schemas.microsoft.com/office/drawing/2014/main" id="{63E891D6-3C9E-6CA7-58C5-A99C0C4D22B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458099" y="274462"/>
            <a:ext cx="1577057" cy="1853043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B9827399-D6D9-8189-3904-36F5D87972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4400" y="2838195"/>
            <a:ext cx="5067300" cy="1326091"/>
          </a:xfrm>
          <a:prstGeom prst="rect">
            <a:avLst/>
          </a:prstGeom>
        </p:spPr>
        <p:txBody>
          <a:bodyPr>
            <a:noAutofit/>
          </a:bodyPr>
          <a:lstStyle>
            <a:lvl1pPr marR="0" algn="l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pt-BR" sz="4800" b="1" i="0" u="none" strike="noStrike" cap="none" spc="-100" baseline="0" dirty="0">
                <a:solidFill>
                  <a:schemeClr val="accent1"/>
                </a:solidFill>
                <a:latin typeface="+mj-lt"/>
                <a:ea typeface="Arial"/>
                <a:cs typeface="Poppins" panose="00000500000000000000" pitchFamily="2" charset="0"/>
                <a:sym typeface="Arial"/>
              </a:defRPr>
            </a:lvl1pPr>
          </a:lstStyle>
          <a:p>
            <a:r>
              <a:rPr lang="pt-BR"/>
              <a:t>Clique para editar o título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53DD9C0-0B7B-4802-9204-0F90379C05A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230111" y="1170710"/>
            <a:ext cx="4516582" cy="4516582"/>
          </a:xfrm>
          <a:custGeom>
            <a:avLst/>
            <a:gdLst>
              <a:gd name="connsiteX0" fmla="*/ 3543300 w 7086600"/>
              <a:gd name="connsiteY0" fmla="*/ 0 h 7086600"/>
              <a:gd name="connsiteX1" fmla="*/ 7086600 w 7086600"/>
              <a:gd name="connsiteY1" fmla="*/ 3543300 h 7086600"/>
              <a:gd name="connsiteX2" fmla="*/ 3543300 w 7086600"/>
              <a:gd name="connsiteY2" fmla="*/ 7086600 h 7086600"/>
              <a:gd name="connsiteX3" fmla="*/ 0 w 7086600"/>
              <a:gd name="connsiteY3" fmla="*/ 3543300 h 7086600"/>
              <a:gd name="connsiteX4" fmla="*/ 3543300 w 7086600"/>
              <a:gd name="connsiteY4" fmla="*/ 0 h 7086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086600" h="7086600">
                <a:moveTo>
                  <a:pt x="3543300" y="0"/>
                </a:moveTo>
                <a:cubicBezTo>
                  <a:pt x="5500211" y="0"/>
                  <a:pt x="7086600" y="1586389"/>
                  <a:pt x="7086600" y="3543300"/>
                </a:cubicBezTo>
                <a:cubicBezTo>
                  <a:pt x="7086600" y="5500211"/>
                  <a:pt x="5500211" y="7086600"/>
                  <a:pt x="3543300" y="7086600"/>
                </a:cubicBezTo>
                <a:cubicBezTo>
                  <a:pt x="1586389" y="7086600"/>
                  <a:pt x="0" y="5500211"/>
                  <a:pt x="0" y="3543300"/>
                </a:cubicBezTo>
                <a:cubicBezTo>
                  <a:pt x="0" y="1586389"/>
                  <a:pt x="1586389" y="0"/>
                  <a:pt x="35433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 algn="ctr">
              <a:defRPr sz="1333"/>
            </a:lvl1pPr>
          </a:lstStyle>
          <a:p>
            <a:endParaRPr lang="en-ID"/>
          </a:p>
        </p:txBody>
      </p:sp>
      <p:sp>
        <p:nvSpPr>
          <p:cNvPr id="3" name="Elipse 2">
            <a:extLst>
              <a:ext uri="{FF2B5EF4-FFF2-40B4-BE49-F238E27FC236}">
                <a16:creationId xmlns:a16="http://schemas.microsoft.com/office/drawing/2014/main" id="{3DA375F6-7AA0-AEC1-BC95-CE2BAFBDE8A2}"/>
              </a:ext>
            </a:extLst>
          </p:cNvPr>
          <p:cNvSpPr/>
          <p:nvPr userDrawn="1"/>
        </p:nvSpPr>
        <p:spPr>
          <a:xfrm>
            <a:off x="6114793" y="1078111"/>
            <a:ext cx="4747217" cy="4747217"/>
          </a:xfrm>
          <a:prstGeom prst="ellipse">
            <a:avLst/>
          </a:prstGeom>
          <a:noFill/>
          <a:ln w="28575">
            <a:solidFill>
              <a:schemeClr val="bg1"/>
            </a:solidFill>
            <a:extLst>
              <a:ext uri="{C807C97D-BFC1-408E-A445-0C87EB9F89A2}">
                <ask:lineSketchStyleProps xmlns:ask="http://schemas.microsoft.com/office/drawing/2018/sketchyshapes" sd="264327539">
                  <a:custGeom>
                    <a:avLst/>
                    <a:gdLst>
                      <a:gd name="connsiteX0" fmla="*/ 0 w 4747217"/>
                      <a:gd name="connsiteY0" fmla="*/ 2373609 h 4747217"/>
                      <a:gd name="connsiteX1" fmla="*/ 2373609 w 4747217"/>
                      <a:gd name="connsiteY1" fmla="*/ 0 h 4747217"/>
                      <a:gd name="connsiteX2" fmla="*/ 4747218 w 4747217"/>
                      <a:gd name="connsiteY2" fmla="*/ 2373609 h 4747217"/>
                      <a:gd name="connsiteX3" fmla="*/ 2373609 w 4747217"/>
                      <a:gd name="connsiteY3" fmla="*/ 4747218 h 4747217"/>
                      <a:gd name="connsiteX4" fmla="*/ 0 w 4747217"/>
                      <a:gd name="connsiteY4" fmla="*/ 2373609 h 474721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747217" h="4747217" extrusionOk="0">
                        <a:moveTo>
                          <a:pt x="0" y="2373609"/>
                        </a:moveTo>
                        <a:cubicBezTo>
                          <a:pt x="-47287" y="930507"/>
                          <a:pt x="1050209" y="-151600"/>
                          <a:pt x="2373609" y="0"/>
                        </a:cubicBezTo>
                        <a:cubicBezTo>
                          <a:pt x="3459270" y="-54555"/>
                          <a:pt x="4685701" y="1074288"/>
                          <a:pt x="4747218" y="2373609"/>
                        </a:cubicBezTo>
                        <a:cubicBezTo>
                          <a:pt x="4844760" y="3890868"/>
                          <a:pt x="3836141" y="4684234"/>
                          <a:pt x="2373609" y="4747218"/>
                        </a:cubicBezTo>
                        <a:cubicBezTo>
                          <a:pt x="1311770" y="4759003"/>
                          <a:pt x="3635" y="3726051"/>
                          <a:pt x="0" y="2373609"/>
                        </a:cubicBezTo>
                        <a:close/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933"/>
          </a:p>
        </p:txBody>
      </p:sp>
      <p:pic>
        <p:nvPicPr>
          <p:cNvPr id="9" name="Gráfico 8">
            <a:extLst>
              <a:ext uri="{FF2B5EF4-FFF2-40B4-BE49-F238E27FC236}">
                <a16:creationId xmlns:a16="http://schemas.microsoft.com/office/drawing/2014/main" id="{F3284FE4-4CFB-8D54-E3D2-F2EE05FC531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38386" y="1200983"/>
            <a:ext cx="1412714" cy="829797"/>
          </a:xfrm>
          <a:prstGeom prst="rect">
            <a:avLst/>
          </a:prstGeom>
        </p:spPr>
      </p:pic>
      <p:pic>
        <p:nvPicPr>
          <p:cNvPr id="11" name="Gráfico 10">
            <a:extLst>
              <a:ext uri="{FF2B5EF4-FFF2-40B4-BE49-F238E27FC236}">
                <a16:creationId xmlns:a16="http://schemas.microsoft.com/office/drawing/2014/main" id="{E1E74A66-AB3B-0B9D-E917-184B6A4C9939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-585919" y="-473413"/>
            <a:ext cx="1577057" cy="1853043"/>
          </a:xfrm>
          <a:prstGeom prst="rect">
            <a:avLst/>
          </a:prstGeom>
        </p:spPr>
      </p:pic>
      <p:sp>
        <p:nvSpPr>
          <p:cNvPr id="13" name="Título 1">
            <a:extLst>
              <a:ext uri="{FF2B5EF4-FFF2-40B4-BE49-F238E27FC236}">
                <a16:creationId xmlns:a16="http://schemas.microsoft.com/office/drawing/2014/main" id="{40E63747-3802-E5CE-C8ED-52D01051B737}"/>
              </a:ext>
            </a:extLst>
          </p:cNvPr>
          <p:cNvSpPr txBox="1">
            <a:spLocks/>
          </p:cNvSpPr>
          <p:nvPr userDrawn="1"/>
        </p:nvSpPr>
        <p:spPr>
          <a:xfrm>
            <a:off x="914400" y="4763247"/>
            <a:ext cx="5067300" cy="1326091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R="0" algn="l" defTabSz="914400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lang="pt-BR" sz="4800" b="1" i="0" u="none" strike="noStrike" kern="1200" cap="none" spc="-40" baseline="0" dirty="0">
                <a:solidFill>
                  <a:schemeClr val="accent1"/>
                </a:solidFill>
                <a:latin typeface="+mj-lt"/>
                <a:ea typeface="Arial"/>
                <a:cs typeface="Poppins" panose="00000500000000000000" pitchFamily="2" charset="0"/>
                <a:sym typeface="Arial"/>
              </a:defRPr>
            </a:lvl1pPr>
          </a:lstStyle>
          <a:p>
            <a:endParaRPr lang="pt-BR"/>
          </a:p>
        </p:txBody>
      </p:sp>
      <p:sp>
        <p:nvSpPr>
          <p:cNvPr id="15" name="Espaço Reservado para Texto 14">
            <a:extLst>
              <a:ext uri="{FF2B5EF4-FFF2-40B4-BE49-F238E27FC236}">
                <a16:creationId xmlns:a16="http://schemas.microsoft.com/office/drawing/2014/main" id="{6AB1257F-413F-25D8-39C5-3FCF673DA0F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14400" y="4268788"/>
            <a:ext cx="5067300" cy="261937"/>
          </a:xfrm>
        </p:spPr>
        <p:txBody>
          <a:bodyPr>
            <a:noAutofit/>
          </a:bodyPr>
          <a:lstStyle>
            <a:lvl1pPr marR="0" algn="l" defTabSz="914400" rtl="0" eaLnBrk="1" latinLnBrk="0" hangingPunct="1">
              <a:lnSpc>
                <a:spcPct val="100000"/>
              </a:lnSpc>
              <a:spcBef>
                <a:spcPts val="2000"/>
              </a:spcBef>
              <a:spcAft>
                <a:spcPts val="500"/>
              </a:spcAft>
              <a:buClr>
                <a:srgbClr val="000000"/>
              </a:buClr>
              <a:buFont typeface="Arial"/>
              <a:buNone/>
              <a:defRPr lang="pt-BR" sz="1100" b="0" i="0" u="none" strike="noStrike" kern="1200" cap="all" spc="10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Arial"/>
              </a:defRPr>
            </a:lvl1pPr>
            <a:lvl2pPr marL="0" marR="0" indent="0" algn="l" defTabSz="914400" rtl="0" eaLnBrk="1" latinLnBrk="0" hangingPunct="1">
              <a:lnSpc>
                <a:spcPct val="100000"/>
              </a:lnSpc>
              <a:spcBef>
                <a:spcPts val="2000"/>
              </a:spcBef>
              <a:spcAft>
                <a:spcPts val="500"/>
              </a:spcAft>
              <a:buClr>
                <a:srgbClr val="000000"/>
              </a:buClr>
              <a:buFont typeface="Arial"/>
              <a:buNone/>
              <a:defRPr lang="pt-BR" sz="1100" b="0" i="0" u="none" strike="noStrike" kern="1200" cap="all" spc="10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Arial"/>
              </a:defRPr>
            </a:lvl2pPr>
          </a:lstStyle>
          <a:p>
            <a:pPr lvl="0"/>
            <a:r>
              <a:rPr lang="pt-BR"/>
              <a:t>Clique para editar os estilos de texto Mestres</a:t>
            </a:r>
          </a:p>
        </p:txBody>
      </p:sp>
      <p:pic>
        <p:nvPicPr>
          <p:cNvPr id="4" name="Gráfico 3">
            <a:extLst>
              <a:ext uri="{FF2B5EF4-FFF2-40B4-BE49-F238E27FC236}">
                <a16:creationId xmlns:a16="http://schemas.microsoft.com/office/drawing/2014/main" id="{1E35B455-200F-4413-6A26-E292AAB88A11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 flipH="1">
            <a:off x="10751250" y="5199385"/>
            <a:ext cx="953097" cy="953097"/>
          </a:xfrm>
          <a:prstGeom prst="rect">
            <a:avLst/>
          </a:prstGeom>
        </p:spPr>
      </p:pic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E825313D-A284-DF6E-CA0F-9FEA8047887C}"/>
              </a:ext>
            </a:extLst>
          </p:cNvPr>
          <p:cNvSpPr/>
          <p:nvPr userDrawn="1"/>
        </p:nvSpPr>
        <p:spPr>
          <a:xfrm>
            <a:off x="914399" y="5094580"/>
            <a:ext cx="1725959" cy="396583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err="1">
                <a:solidFill>
                  <a:schemeClr val="bg1"/>
                </a:solidFill>
              </a:rPr>
              <a:t>Iniciar</a:t>
            </a:r>
            <a:r>
              <a:rPr lang="en-US" sz="1100">
                <a:solidFill>
                  <a:schemeClr val="bg1"/>
                </a:solidFill>
              </a:rPr>
              <a:t> </a:t>
            </a:r>
            <a:r>
              <a:rPr lang="en-US" sz="1100" err="1">
                <a:solidFill>
                  <a:schemeClr val="bg1"/>
                </a:solidFill>
              </a:rPr>
              <a:t>Apresentação</a:t>
            </a:r>
            <a:endParaRPr lang="en-ID" sz="11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3369491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42" Type="http://schemas.openxmlformats.org/officeDocument/2006/relationships/tags" Target="../tags/tag2.xml"/><Relationship Id="rId47" Type="http://schemas.openxmlformats.org/officeDocument/2006/relationships/image" Target="../media/image4.png"/><Relationship Id="rId63" Type="http://schemas.openxmlformats.org/officeDocument/2006/relationships/image" Target="../media/image20.png"/><Relationship Id="rId68" Type="http://schemas.openxmlformats.org/officeDocument/2006/relationships/image" Target="../media/image25.svg"/><Relationship Id="rId84" Type="http://schemas.openxmlformats.org/officeDocument/2006/relationships/image" Target="../media/image41.svg"/><Relationship Id="rId89" Type="http://schemas.openxmlformats.org/officeDocument/2006/relationships/image" Target="../media/image46.png"/><Relationship Id="rId16" Type="http://schemas.openxmlformats.org/officeDocument/2006/relationships/slideLayout" Target="../slideLayouts/slideLayout16.xml"/><Relationship Id="rId11" Type="http://schemas.openxmlformats.org/officeDocument/2006/relationships/slideLayout" Target="../slideLayouts/slideLayout11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53" Type="http://schemas.openxmlformats.org/officeDocument/2006/relationships/image" Target="../media/image10.png"/><Relationship Id="rId58" Type="http://schemas.openxmlformats.org/officeDocument/2006/relationships/image" Target="../media/image15.svg"/><Relationship Id="rId74" Type="http://schemas.openxmlformats.org/officeDocument/2006/relationships/image" Target="../media/image31.svg"/><Relationship Id="rId79" Type="http://schemas.openxmlformats.org/officeDocument/2006/relationships/image" Target="../media/image36.png"/><Relationship Id="rId5" Type="http://schemas.openxmlformats.org/officeDocument/2006/relationships/slideLayout" Target="../slideLayouts/slideLayout5.xml"/><Relationship Id="rId90" Type="http://schemas.openxmlformats.org/officeDocument/2006/relationships/image" Target="../media/image47.svg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43" Type="http://schemas.openxmlformats.org/officeDocument/2006/relationships/oleObject" Target="../embeddings/oleObject1.bin"/><Relationship Id="rId48" Type="http://schemas.openxmlformats.org/officeDocument/2006/relationships/image" Target="../media/image5.svg"/><Relationship Id="rId64" Type="http://schemas.openxmlformats.org/officeDocument/2006/relationships/image" Target="../media/image21.svg"/><Relationship Id="rId69" Type="http://schemas.openxmlformats.org/officeDocument/2006/relationships/image" Target="../media/image26.png"/><Relationship Id="rId8" Type="http://schemas.openxmlformats.org/officeDocument/2006/relationships/slideLayout" Target="../slideLayouts/slideLayout8.xml"/><Relationship Id="rId51" Type="http://schemas.openxmlformats.org/officeDocument/2006/relationships/image" Target="../media/image8.png"/><Relationship Id="rId72" Type="http://schemas.openxmlformats.org/officeDocument/2006/relationships/image" Target="../media/image29.svg"/><Relationship Id="rId80" Type="http://schemas.openxmlformats.org/officeDocument/2006/relationships/image" Target="../media/image37.svg"/><Relationship Id="rId85" Type="http://schemas.openxmlformats.org/officeDocument/2006/relationships/image" Target="../media/image42.png"/><Relationship Id="rId93" Type="http://schemas.openxmlformats.org/officeDocument/2006/relationships/image" Target="../media/image50.png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image" Target="../media/image3.svg"/><Relationship Id="rId59" Type="http://schemas.openxmlformats.org/officeDocument/2006/relationships/image" Target="../media/image16.png"/><Relationship Id="rId67" Type="http://schemas.openxmlformats.org/officeDocument/2006/relationships/image" Target="../media/image24.png"/><Relationship Id="rId20" Type="http://schemas.openxmlformats.org/officeDocument/2006/relationships/slideLayout" Target="../slideLayouts/slideLayout20.xml"/><Relationship Id="rId41" Type="http://schemas.openxmlformats.org/officeDocument/2006/relationships/theme" Target="../theme/theme1.xml"/><Relationship Id="rId54" Type="http://schemas.openxmlformats.org/officeDocument/2006/relationships/image" Target="../media/image11.svg"/><Relationship Id="rId62" Type="http://schemas.openxmlformats.org/officeDocument/2006/relationships/image" Target="../media/image19.svg"/><Relationship Id="rId70" Type="http://schemas.openxmlformats.org/officeDocument/2006/relationships/image" Target="../media/image27.svg"/><Relationship Id="rId75" Type="http://schemas.openxmlformats.org/officeDocument/2006/relationships/image" Target="../media/image32.png"/><Relationship Id="rId83" Type="http://schemas.openxmlformats.org/officeDocument/2006/relationships/image" Target="../media/image40.png"/><Relationship Id="rId88" Type="http://schemas.openxmlformats.org/officeDocument/2006/relationships/image" Target="../media/image45.svg"/><Relationship Id="rId91" Type="http://schemas.openxmlformats.org/officeDocument/2006/relationships/image" Target="../media/image48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image" Target="../media/image6.png"/><Relationship Id="rId57" Type="http://schemas.openxmlformats.org/officeDocument/2006/relationships/image" Target="../media/image14.png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image" Target="../media/image1.emf"/><Relationship Id="rId52" Type="http://schemas.openxmlformats.org/officeDocument/2006/relationships/image" Target="../media/image9.svg"/><Relationship Id="rId60" Type="http://schemas.openxmlformats.org/officeDocument/2006/relationships/image" Target="../media/image17.svg"/><Relationship Id="rId65" Type="http://schemas.openxmlformats.org/officeDocument/2006/relationships/image" Target="../media/image22.png"/><Relationship Id="rId73" Type="http://schemas.openxmlformats.org/officeDocument/2006/relationships/image" Target="../media/image30.png"/><Relationship Id="rId78" Type="http://schemas.openxmlformats.org/officeDocument/2006/relationships/image" Target="../media/image35.svg"/><Relationship Id="rId81" Type="http://schemas.openxmlformats.org/officeDocument/2006/relationships/image" Target="../media/image38.png"/><Relationship Id="rId86" Type="http://schemas.openxmlformats.org/officeDocument/2006/relationships/image" Target="../media/image43.svg"/><Relationship Id="rId94" Type="http://schemas.openxmlformats.org/officeDocument/2006/relationships/image" Target="../media/image51.sv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9" Type="http://schemas.openxmlformats.org/officeDocument/2006/relationships/slideLayout" Target="../slideLayouts/slideLayout39.xml"/><Relationship Id="rId34" Type="http://schemas.openxmlformats.org/officeDocument/2006/relationships/slideLayout" Target="../slideLayouts/slideLayout34.xml"/><Relationship Id="rId50" Type="http://schemas.openxmlformats.org/officeDocument/2006/relationships/image" Target="../media/image7.svg"/><Relationship Id="rId55" Type="http://schemas.openxmlformats.org/officeDocument/2006/relationships/image" Target="../media/image12.png"/><Relationship Id="rId76" Type="http://schemas.openxmlformats.org/officeDocument/2006/relationships/image" Target="../media/image33.svg"/><Relationship Id="rId7" Type="http://schemas.openxmlformats.org/officeDocument/2006/relationships/slideLayout" Target="../slideLayouts/slideLayout7.xml"/><Relationship Id="rId71" Type="http://schemas.openxmlformats.org/officeDocument/2006/relationships/image" Target="../media/image28.png"/><Relationship Id="rId92" Type="http://schemas.openxmlformats.org/officeDocument/2006/relationships/image" Target="../media/image49.svg"/><Relationship Id="rId2" Type="http://schemas.openxmlformats.org/officeDocument/2006/relationships/slideLayout" Target="../slideLayouts/slideLayout2.xml"/><Relationship Id="rId29" Type="http://schemas.openxmlformats.org/officeDocument/2006/relationships/slideLayout" Target="../slideLayouts/slideLayout29.xml"/><Relationship Id="rId24" Type="http://schemas.openxmlformats.org/officeDocument/2006/relationships/slideLayout" Target="../slideLayouts/slideLayout24.xml"/><Relationship Id="rId40" Type="http://schemas.openxmlformats.org/officeDocument/2006/relationships/slideLayout" Target="../slideLayouts/slideLayout40.xml"/><Relationship Id="rId45" Type="http://schemas.openxmlformats.org/officeDocument/2006/relationships/image" Target="../media/image2.png"/><Relationship Id="rId66" Type="http://schemas.openxmlformats.org/officeDocument/2006/relationships/image" Target="../media/image23.svg"/><Relationship Id="rId87" Type="http://schemas.openxmlformats.org/officeDocument/2006/relationships/image" Target="../media/image44.png"/><Relationship Id="rId61" Type="http://schemas.openxmlformats.org/officeDocument/2006/relationships/image" Target="../media/image18.png"/><Relationship Id="rId82" Type="http://schemas.openxmlformats.org/officeDocument/2006/relationships/image" Target="../media/image39.svg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56" Type="http://schemas.openxmlformats.org/officeDocument/2006/relationships/image" Target="../media/image13.svg"/><Relationship Id="rId77" Type="http://schemas.openxmlformats.org/officeDocument/2006/relationships/image" Target="../media/image34.png"/></Relationships>
</file>

<file path=ppt/slideMasters/_rels/slideMaster2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66.xml"/><Relationship Id="rId21" Type="http://schemas.openxmlformats.org/officeDocument/2006/relationships/slideLayout" Target="../slideLayouts/slideLayout61.xml"/><Relationship Id="rId42" Type="http://schemas.openxmlformats.org/officeDocument/2006/relationships/image" Target="../media/image11.svg"/><Relationship Id="rId47" Type="http://schemas.openxmlformats.org/officeDocument/2006/relationships/image" Target="../media/image16.png"/><Relationship Id="rId63" Type="http://schemas.openxmlformats.org/officeDocument/2006/relationships/image" Target="../media/image32.png"/><Relationship Id="rId68" Type="http://schemas.openxmlformats.org/officeDocument/2006/relationships/image" Target="../media/image37.svg"/><Relationship Id="rId1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51.xml"/><Relationship Id="rId32" Type="http://schemas.openxmlformats.org/officeDocument/2006/relationships/image" Target="../media/image1.emf"/><Relationship Id="rId37" Type="http://schemas.openxmlformats.org/officeDocument/2006/relationships/image" Target="../media/image6.png"/><Relationship Id="rId53" Type="http://schemas.openxmlformats.org/officeDocument/2006/relationships/image" Target="../media/image22.png"/><Relationship Id="rId58" Type="http://schemas.openxmlformats.org/officeDocument/2006/relationships/image" Target="../media/image27.svg"/><Relationship Id="rId74" Type="http://schemas.openxmlformats.org/officeDocument/2006/relationships/image" Target="../media/image43.svg"/><Relationship Id="rId79" Type="http://schemas.openxmlformats.org/officeDocument/2006/relationships/image" Target="../media/image48.png"/><Relationship Id="rId5" Type="http://schemas.openxmlformats.org/officeDocument/2006/relationships/slideLayout" Target="../slideLayouts/slideLayout45.xml"/><Relationship Id="rId61" Type="http://schemas.openxmlformats.org/officeDocument/2006/relationships/image" Target="../media/image30.png"/><Relationship Id="rId82" Type="http://schemas.openxmlformats.org/officeDocument/2006/relationships/image" Target="../media/image51.svg"/><Relationship Id="rId1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54.xml"/><Relationship Id="rId22" Type="http://schemas.openxmlformats.org/officeDocument/2006/relationships/slideLayout" Target="../slideLayouts/slideLayout62.xml"/><Relationship Id="rId27" Type="http://schemas.openxmlformats.org/officeDocument/2006/relationships/slideLayout" Target="../slideLayouts/slideLayout67.xml"/><Relationship Id="rId30" Type="http://schemas.openxmlformats.org/officeDocument/2006/relationships/tags" Target="../tags/tag5.xml"/><Relationship Id="rId35" Type="http://schemas.openxmlformats.org/officeDocument/2006/relationships/image" Target="../media/image4.png"/><Relationship Id="rId43" Type="http://schemas.openxmlformats.org/officeDocument/2006/relationships/image" Target="../media/image12.png"/><Relationship Id="rId48" Type="http://schemas.openxmlformats.org/officeDocument/2006/relationships/image" Target="../media/image17.svg"/><Relationship Id="rId56" Type="http://schemas.openxmlformats.org/officeDocument/2006/relationships/image" Target="../media/image25.svg"/><Relationship Id="rId64" Type="http://schemas.openxmlformats.org/officeDocument/2006/relationships/image" Target="../media/image33.svg"/><Relationship Id="rId69" Type="http://schemas.openxmlformats.org/officeDocument/2006/relationships/image" Target="../media/image38.png"/><Relationship Id="rId77" Type="http://schemas.openxmlformats.org/officeDocument/2006/relationships/image" Target="../media/image46.png"/><Relationship Id="rId8" Type="http://schemas.openxmlformats.org/officeDocument/2006/relationships/slideLayout" Target="../slideLayouts/slideLayout48.xml"/><Relationship Id="rId51" Type="http://schemas.openxmlformats.org/officeDocument/2006/relationships/image" Target="../media/image20.png"/><Relationship Id="rId72" Type="http://schemas.openxmlformats.org/officeDocument/2006/relationships/image" Target="../media/image41.svg"/><Relationship Id="rId80" Type="http://schemas.openxmlformats.org/officeDocument/2006/relationships/image" Target="../media/image49.svg"/><Relationship Id="rId3" Type="http://schemas.openxmlformats.org/officeDocument/2006/relationships/slideLayout" Target="../slideLayouts/slideLayout43.xml"/><Relationship Id="rId12" Type="http://schemas.openxmlformats.org/officeDocument/2006/relationships/slideLayout" Target="../slideLayouts/slideLayout52.xml"/><Relationship Id="rId17" Type="http://schemas.openxmlformats.org/officeDocument/2006/relationships/slideLayout" Target="../slideLayouts/slideLayout57.xml"/><Relationship Id="rId25" Type="http://schemas.openxmlformats.org/officeDocument/2006/relationships/slideLayout" Target="../slideLayouts/slideLayout65.xml"/><Relationship Id="rId33" Type="http://schemas.openxmlformats.org/officeDocument/2006/relationships/image" Target="../media/image2.png"/><Relationship Id="rId38" Type="http://schemas.openxmlformats.org/officeDocument/2006/relationships/image" Target="../media/image7.svg"/><Relationship Id="rId46" Type="http://schemas.openxmlformats.org/officeDocument/2006/relationships/image" Target="../media/image15.svg"/><Relationship Id="rId59" Type="http://schemas.openxmlformats.org/officeDocument/2006/relationships/image" Target="../media/image28.png"/><Relationship Id="rId67" Type="http://schemas.openxmlformats.org/officeDocument/2006/relationships/image" Target="../media/image36.png"/><Relationship Id="rId20" Type="http://schemas.openxmlformats.org/officeDocument/2006/relationships/slideLayout" Target="../slideLayouts/slideLayout60.xml"/><Relationship Id="rId41" Type="http://schemas.openxmlformats.org/officeDocument/2006/relationships/image" Target="../media/image10.png"/><Relationship Id="rId54" Type="http://schemas.openxmlformats.org/officeDocument/2006/relationships/image" Target="../media/image23.svg"/><Relationship Id="rId62" Type="http://schemas.openxmlformats.org/officeDocument/2006/relationships/image" Target="../media/image31.svg"/><Relationship Id="rId70" Type="http://schemas.openxmlformats.org/officeDocument/2006/relationships/image" Target="../media/image39.svg"/><Relationship Id="rId75" Type="http://schemas.openxmlformats.org/officeDocument/2006/relationships/image" Target="../media/image44.png"/><Relationship Id="rId1" Type="http://schemas.openxmlformats.org/officeDocument/2006/relationships/slideLayout" Target="../slideLayouts/slideLayout41.xml"/><Relationship Id="rId6" Type="http://schemas.openxmlformats.org/officeDocument/2006/relationships/slideLayout" Target="../slideLayouts/slideLayout46.xml"/><Relationship Id="rId15" Type="http://schemas.openxmlformats.org/officeDocument/2006/relationships/slideLayout" Target="../slideLayouts/slideLayout55.xml"/><Relationship Id="rId23" Type="http://schemas.openxmlformats.org/officeDocument/2006/relationships/slideLayout" Target="../slideLayouts/slideLayout63.xml"/><Relationship Id="rId28" Type="http://schemas.openxmlformats.org/officeDocument/2006/relationships/slideLayout" Target="../slideLayouts/slideLayout68.xml"/><Relationship Id="rId36" Type="http://schemas.openxmlformats.org/officeDocument/2006/relationships/image" Target="../media/image5.svg"/><Relationship Id="rId49" Type="http://schemas.openxmlformats.org/officeDocument/2006/relationships/image" Target="../media/image18.png"/><Relationship Id="rId57" Type="http://schemas.openxmlformats.org/officeDocument/2006/relationships/image" Target="../media/image26.png"/><Relationship Id="rId10" Type="http://schemas.openxmlformats.org/officeDocument/2006/relationships/slideLayout" Target="../slideLayouts/slideLayout50.xml"/><Relationship Id="rId31" Type="http://schemas.openxmlformats.org/officeDocument/2006/relationships/oleObject" Target="../embeddings/oleObject4.bin"/><Relationship Id="rId44" Type="http://schemas.openxmlformats.org/officeDocument/2006/relationships/image" Target="../media/image13.svg"/><Relationship Id="rId52" Type="http://schemas.openxmlformats.org/officeDocument/2006/relationships/image" Target="../media/image21.svg"/><Relationship Id="rId60" Type="http://schemas.openxmlformats.org/officeDocument/2006/relationships/image" Target="../media/image29.svg"/><Relationship Id="rId65" Type="http://schemas.openxmlformats.org/officeDocument/2006/relationships/image" Target="../media/image34.png"/><Relationship Id="rId73" Type="http://schemas.openxmlformats.org/officeDocument/2006/relationships/image" Target="../media/image42.png"/><Relationship Id="rId78" Type="http://schemas.openxmlformats.org/officeDocument/2006/relationships/image" Target="../media/image47.svg"/><Relationship Id="rId81" Type="http://schemas.openxmlformats.org/officeDocument/2006/relationships/image" Target="../media/image50.png"/><Relationship Id="rId4" Type="http://schemas.openxmlformats.org/officeDocument/2006/relationships/slideLayout" Target="../slideLayouts/slideLayout44.xml"/><Relationship Id="rId9" Type="http://schemas.openxmlformats.org/officeDocument/2006/relationships/slideLayout" Target="../slideLayouts/slideLayout49.xml"/><Relationship Id="rId13" Type="http://schemas.openxmlformats.org/officeDocument/2006/relationships/slideLayout" Target="../slideLayouts/slideLayout53.xml"/><Relationship Id="rId18" Type="http://schemas.openxmlformats.org/officeDocument/2006/relationships/slideLayout" Target="../slideLayouts/slideLayout58.xml"/><Relationship Id="rId39" Type="http://schemas.openxmlformats.org/officeDocument/2006/relationships/image" Target="../media/image8.png"/><Relationship Id="rId34" Type="http://schemas.openxmlformats.org/officeDocument/2006/relationships/image" Target="../media/image3.svg"/><Relationship Id="rId50" Type="http://schemas.openxmlformats.org/officeDocument/2006/relationships/image" Target="../media/image19.svg"/><Relationship Id="rId55" Type="http://schemas.openxmlformats.org/officeDocument/2006/relationships/image" Target="../media/image24.png"/><Relationship Id="rId76" Type="http://schemas.openxmlformats.org/officeDocument/2006/relationships/image" Target="../media/image45.svg"/><Relationship Id="rId7" Type="http://schemas.openxmlformats.org/officeDocument/2006/relationships/slideLayout" Target="../slideLayouts/slideLayout47.xml"/><Relationship Id="rId71" Type="http://schemas.openxmlformats.org/officeDocument/2006/relationships/image" Target="../media/image40.png"/><Relationship Id="rId2" Type="http://schemas.openxmlformats.org/officeDocument/2006/relationships/slideLayout" Target="../slideLayouts/slideLayout42.xml"/><Relationship Id="rId29" Type="http://schemas.openxmlformats.org/officeDocument/2006/relationships/theme" Target="../theme/theme2.xml"/><Relationship Id="rId24" Type="http://schemas.openxmlformats.org/officeDocument/2006/relationships/slideLayout" Target="../slideLayouts/slideLayout64.xml"/><Relationship Id="rId40" Type="http://schemas.openxmlformats.org/officeDocument/2006/relationships/image" Target="../media/image9.svg"/><Relationship Id="rId45" Type="http://schemas.openxmlformats.org/officeDocument/2006/relationships/image" Target="../media/image14.png"/><Relationship Id="rId66" Type="http://schemas.openxmlformats.org/officeDocument/2006/relationships/image" Target="../media/image35.svg"/></Relationships>
</file>

<file path=ppt/slideMasters/_rels/slideMaster3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94.xml"/><Relationship Id="rId21" Type="http://schemas.openxmlformats.org/officeDocument/2006/relationships/slideLayout" Target="../slideLayouts/slideLayout89.xml"/><Relationship Id="rId42" Type="http://schemas.openxmlformats.org/officeDocument/2006/relationships/image" Target="../media/image11.svg"/><Relationship Id="rId47" Type="http://schemas.openxmlformats.org/officeDocument/2006/relationships/image" Target="../media/image16.png"/><Relationship Id="rId63" Type="http://schemas.openxmlformats.org/officeDocument/2006/relationships/image" Target="../media/image32.png"/><Relationship Id="rId68" Type="http://schemas.openxmlformats.org/officeDocument/2006/relationships/image" Target="../media/image37.svg"/><Relationship Id="rId16" Type="http://schemas.openxmlformats.org/officeDocument/2006/relationships/slideLayout" Target="../slideLayouts/slideLayout84.xml"/><Relationship Id="rId11" Type="http://schemas.openxmlformats.org/officeDocument/2006/relationships/slideLayout" Target="../slideLayouts/slideLayout79.xml"/><Relationship Id="rId32" Type="http://schemas.openxmlformats.org/officeDocument/2006/relationships/image" Target="../media/image1.emf"/><Relationship Id="rId37" Type="http://schemas.openxmlformats.org/officeDocument/2006/relationships/image" Target="../media/image6.png"/><Relationship Id="rId53" Type="http://schemas.openxmlformats.org/officeDocument/2006/relationships/image" Target="../media/image22.png"/><Relationship Id="rId58" Type="http://schemas.openxmlformats.org/officeDocument/2006/relationships/image" Target="../media/image27.svg"/><Relationship Id="rId74" Type="http://schemas.openxmlformats.org/officeDocument/2006/relationships/image" Target="../media/image43.svg"/><Relationship Id="rId79" Type="http://schemas.openxmlformats.org/officeDocument/2006/relationships/image" Target="../media/image48.png"/><Relationship Id="rId5" Type="http://schemas.openxmlformats.org/officeDocument/2006/relationships/slideLayout" Target="../slideLayouts/slideLayout73.xml"/><Relationship Id="rId61" Type="http://schemas.openxmlformats.org/officeDocument/2006/relationships/image" Target="../media/image30.png"/><Relationship Id="rId82" Type="http://schemas.openxmlformats.org/officeDocument/2006/relationships/image" Target="../media/image51.svg"/><Relationship Id="rId19" Type="http://schemas.openxmlformats.org/officeDocument/2006/relationships/slideLayout" Target="../slideLayouts/slideLayout87.xml"/><Relationship Id="rId14" Type="http://schemas.openxmlformats.org/officeDocument/2006/relationships/slideLayout" Target="../slideLayouts/slideLayout82.xml"/><Relationship Id="rId22" Type="http://schemas.openxmlformats.org/officeDocument/2006/relationships/slideLayout" Target="../slideLayouts/slideLayout90.xml"/><Relationship Id="rId27" Type="http://schemas.openxmlformats.org/officeDocument/2006/relationships/slideLayout" Target="../slideLayouts/slideLayout95.xml"/><Relationship Id="rId30" Type="http://schemas.openxmlformats.org/officeDocument/2006/relationships/tags" Target="../tags/tag7.xml"/><Relationship Id="rId35" Type="http://schemas.openxmlformats.org/officeDocument/2006/relationships/image" Target="../media/image4.png"/><Relationship Id="rId43" Type="http://schemas.openxmlformats.org/officeDocument/2006/relationships/image" Target="../media/image12.png"/><Relationship Id="rId48" Type="http://schemas.openxmlformats.org/officeDocument/2006/relationships/image" Target="../media/image17.svg"/><Relationship Id="rId56" Type="http://schemas.openxmlformats.org/officeDocument/2006/relationships/image" Target="../media/image25.svg"/><Relationship Id="rId64" Type="http://schemas.openxmlformats.org/officeDocument/2006/relationships/image" Target="../media/image33.svg"/><Relationship Id="rId69" Type="http://schemas.openxmlformats.org/officeDocument/2006/relationships/image" Target="../media/image38.png"/><Relationship Id="rId77" Type="http://schemas.openxmlformats.org/officeDocument/2006/relationships/image" Target="../media/image46.png"/><Relationship Id="rId8" Type="http://schemas.openxmlformats.org/officeDocument/2006/relationships/slideLayout" Target="../slideLayouts/slideLayout76.xml"/><Relationship Id="rId51" Type="http://schemas.openxmlformats.org/officeDocument/2006/relationships/image" Target="../media/image20.png"/><Relationship Id="rId72" Type="http://schemas.openxmlformats.org/officeDocument/2006/relationships/image" Target="../media/image41.svg"/><Relationship Id="rId80" Type="http://schemas.openxmlformats.org/officeDocument/2006/relationships/image" Target="../media/image49.svg"/><Relationship Id="rId3" Type="http://schemas.openxmlformats.org/officeDocument/2006/relationships/slideLayout" Target="../slideLayouts/slideLayout71.xml"/><Relationship Id="rId12" Type="http://schemas.openxmlformats.org/officeDocument/2006/relationships/slideLayout" Target="../slideLayouts/slideLayout80.xml"/><Relationship Id="rId17" Type="http://schemas.openxmlformats.org/officeDocument/2006/relationships/slideLayout" Target="../slideLayouts/slideLayout85.xml"/><Relationship Id="rId25" Type="http://schemas.openxmlformats.org/officeDocument/2006/relationships/slideLayout" Target="../slideLayouts/slideLayout93.xml"/><Relationship Id="rId33" Type="http://schemas.openxmlformats.org/officeDocument/2006/relationships/image" Target="../media/image2.png"/><Relationship Id="rId38" Type="http://schemas.openxmlformats.org/officeDocument/2006/relationships/image" Target="../media/image7.svg"/><Relationship Id="rId46" Type="http://schemas.openxmlformats.org/officeDocument/2006/relationships/image" Target="../media/image15.svg"/><Relationship Id="rId59" Type="http://schemas.openxmlformats.org/officeDocument/2006/relationships/image" Target="../media/image28.png"/><Relationship Id="rId67" Type="http://schemas.openxmlformats.org/officeDocument/2006/relationships/image" Target="../media/image36.png"/><Relationship Id="rId20" Type="http://schemas.openxmlformats.org/officeDocument/2006/relationships/slideLayout" Target="../slideLayouts/slideLayout88.xml"/><Relationship Id="rId41" Type="http://schemas.openxmlformats.org/officeDocument/2006/relationships/image" Target="../media/image10.png"/><Relationship Id="rId54" Type="http://schemas.openxmlformats.org/officeDocument/2006/relationships/image" Target="../media/image23.svg"/><Relationship Id="rId62" Type="http://schemas.openxmlformats.org/officeDocument/2006/relationships/image" Target="../media/image31.svg"/><Relationship Id="rId70" Type="http://schemas.openxmlformats.org/officeDocument/2006/relationships/image" Target="../media/image39.svg"/><Relationship Id="rId75" Type="http://schemas.openxmlformats.org/officeDocument/2006/relationships/image" Target="../media/image44.png"/><Relationship Id="rId1" Type="http://schemas.openxmlformats.org/officeDocument/2006/relationships/slideLayout" Target="../slideLayouts/slideLayout69.xml"/><Relationship Id="rId6" Type="http://schemas.openxmlformats.org/officeDocument/2006/relationships/slideLayout" Target="../slideLayouts/slideLayout74.xml"/><Relationship Id="rId15" Type="http://schemas.openxmlformats.org/officeDocument/2006/relationships/slideLayout" Target="../slideLayouts/slideLayout83.xml"/><Relationship Id="rId23" Type="http://schemas.openxmlformats.org/officeDocument/2006/relationships/slideLayout" Target="../slideLayouts/slideLayout91.xml"/><Relationship Id="rId28" Type="http://schemas.openxmlformats.org/officeDocument/2006/relationships/slideLayout" Target="../slideLayouts/slideLayout96.xml"/><Relationship Id="rId36" Type="http://schemas.openxmlformats.org/officeDocument/2006/relationships/image" Target="../media/image5.svg"/><Relationship Id="rId49" Type="http://schemas.openxmlformats.org/officeDocument/2006/relationships/image" Target="../media/image18.png"/><Relationship Id="rId57" Type="http://schemas.openxmlformats.org/officeDocument/2006/relationships/image" Target="../media/image26.png"/><Relationship Id="rId10" Type="http://schemas.openxmlformats.org/officeDocument/2006/relationships/slideLayout" Target="../slideLayouts/slideLayout78.xml"/><Relationship Id="rId31" Type="http://schemas.openxmlformats.org/officeDocument/2006/relationships/oleObject" Target="../embeddings/oleObject6.bin"/><Relationship Id="rId44" Type="http://schemas.openxmlformats.org/officeDocument/2006/relationships/image" Target="../media/image13.svg"/><Relationship Id="rId52" Type="http://schemas.openxmlformats.org/officeDocument/2006/relationships/image" Target="../media/image21.svg"/><Relationship Id="rId60" Type="http://schemas.openxmlformats.org/officeDocument/2006/relationships/image" Target="../media/image29.svg"/><Relationship Id="rId65" Type="http://schemas.openxmlformats.org/officeDocument/2006/relationships/image" Target="../media/image34.png"/><Relationship Id="rId73" Type="http://schemas.openxmlformats.org/officeDocument/2006/relationships/image" Target="../media/image42.png"/><Relationship Id="rId78" Type="http://schemas.openxmlformats.org/officeDocument/2006/relationships/image" Target="../media/image47.svg"/><Relationship Id="rId81" Type="http://schemas.openxmlformats.org/officeDocument/2006/relationships/image" Target="../media/image50.png"/><Relationship Id="rId4" Type="http://schemas.openxmlformats.org/officeDocument/2006/relationships/slideLayout" Target="../slideLayouts/slideLayout72.xml"/><Relationship Id="rId9" Type="http://schemas.openxmlformats.org/officeDocument/2006/relationships/slideLayout" Target="../slideLayouts/slideLayout77.xml"/><Relationship Id="rId13" Type="http://schemas.openxmlformats.org/officeDocument/2006/relationships/slideLayout" Target="../slideLayouts/slideLayout81.xml"/><Relationship Id="rId18" Type="http://schemas.openxmlformats.org/officeDocument/2006/relationships/slideLayout" Target="../slideLayouts/slideLayout86.xml"/><Relationship Id="rId39" Type="http://schemas.openxmlformats.org/officeDocument/2006/relationships/image" Target="../media/image8.png"/><Relationship Id="rId34" Type="http://schemas.openxmlformats.org/officeDocument/2006/relationships/image" Target="../media/image3.svg"/><Relationship Id="rId50" Type="http://schemas.openxmlformats.org/officeDocument/2006/relationships/image" Target="../media/image19.svg"/><Relationship Id="rId55" Type="http://schemas.openxmlformats.org/officeDocument/2006/relationships/image" Target="../media/image24.png"/><Relationship Id="rId76" Type="http://schemas.openxmlformats.org/officeDocument/2006/relationships/image" Target="../media/image45.svg"/><Relationship Id="rId7" Type="http://schemas.openxmlformats.org/officeDocument/2006/relationships/slideLayout" Target="../slideLayouts/slideLayout75.xml"/><Relationship Id="rId71" Type="http://schemas.openxmlformats.org/officeDocument/2006/relationships/image" Target="../media/image40.png"/><Relationship Id="rId2" Type="http://schemas.openxmlformats.org/officeDocument/2006/relationships/slideLayout" Target="../slideLayouts/slideLayout70.xml"/><Relationship Id="rId29" Type="http://schemas.openxmlformats.org/officeDocument/2006/relationships/theme" Target="../theme/theme3.xml"/><Relationship Id="rId24" Type="http://schemas.openxmlformats.org/officeDocument/2006/relationships/slideLayout" Target="../slideLayouts/slideLayout92.xml"/><Relationship Id="rId40" Type="http://schemas.openxmlformats.org/officeDocument/2006/relationships/image" Target="../media/image9.svg"/><Relationship Id="rId45" Type="http://schemas.openxmlformats.org/officeDocument/2006/relationships/image" Target="../media/image14.png"/><Relationship Id="rId66" Type="http://schemas.openxmlformats.org/officeDocument/2006/relationships/image" Target="../media/image35.svg"/></Relationships>
</file>

<file path=ppt/slideMasters/_rels/slideMaster4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122.xml"/><Relationship Id="rId21" Type="http://schemas.openxmlformats.org/officeDocument/2006/relationships/slideLayout" Target="../slideLayouts/slideLayout117.xml"/><Relationship Id="rId42" Type="http://schemas.openxmlformats.org/officeDocument/2006/relationships/tags" Target="../tags/tag8.xml"/><Relationship Id="rId47" Type="http://schemas.openxmlformats.org/officeDocument/2006/relationships/image" Target="../media/image4.png"/><Relationship Id="rId63" Type="http://schemas.openxmlformats.org/officeDocument/2006/relationships/image" Target="../media/image20.png"/><Relationship Id="rId68" Type="http://schemas.openxmlformats.org/officeDocument/2006/relationships/image" Target="../media/image25.svg"/><Relationship Id="rId84" Type="http://schemas.openxmlformats.org/officeDocument/2006/relationships/image" Target="../media/image41.svg"/><Relationship Id="rId89" Type="http://schemas.openxmlformats.org/officeDocument/2006/relationships/image" Target="../media/image46.png"/><Relationship Id="rId16" Type="http://schemas.openxmlformats.org/officeDocument/2006/relationships/slideLayout" Target="../slideLayouts/slideLayout112.xml"/><Relationship Id="rId11" Type="http://schemas.openxmlformats.org/officeDocument/2006/relationships/slideLayout" Target="../slideLayouts/slideLayout107.xml"/><Relationship Id="rId32" Type="http://schemas.openxmlformats.org/officeDocument/2006/relationships/slideLayout" Target="../slideLayouts/slideLayout128.xml"/><Relationship Id="rId37" Type="http://schemas.openxmlformats.org/officeDocument/2006/relationships/slideLayout" Target="../slideLayouts/slideLayout133.xml"/><Relationship Id="rId53" Type="http://schemas.openxmlformats.org/officeDocument/2006/relationships/image" Target="../media/image10.png"/><Relationship Id="rId58" Type="http://schemas.openxmlformats.org/officeDocument/2006/relationships/image" Target="../media/image15.svg"/><Relationship Id="rId74" Type="http://schemas.openxmlformats.org/officeDocument/2006/relationships/image" Target="../media/image31.svg"/><Relationship Id="rId79" Type="http://schemas.openxmlformats.org/officeDocument/2006/relationships/image" Target="../media/image36.png"/><Relationship Id="rId5" Type="http://schemas.openxmlformats.org/officeDocument/2006/relationships/slideLayout" Target="../slideLayouts/slideLayout101.xml"/><Relationship Id="rId90" Type="http://schemas.openxmlformats.org/officeDocument/2006/relationships/image" Target="../media/image47.svg"/><Relationship Id="rId22" Type="http://schemas.openxmlformats.org/officeDocument/2006/relationships/slideLayout" Target="../slideLayouts/slideLayout118.xml"/><Relationship Id="rId27" Type="http://schemas.openxmlformats.org/officeDocument/2006/relationships/slideLayout" Target="../slideLayouts/slideLayout123.xml"/><Relationship Id="rId43" Type="http://schemas.openxmlformats.org/officeDocument/2006/relationships/oleObject" Target="../embeddings/oleObject1.bin"/><Relationship Id="rId48" Type="http://schemas.openxmlformats.org/officeDocument/2006/relationships/image" Target="../media/image5.svg"/><Relationship Id="rId64" Type="http://schemas.openxmlformats.org/officeDocument/2006/relationships/image" Target="../media/image21.svg"/><Relationship Id="rId69" Type="http://schemas.openxmlformats.org/officeDocument/2006/relationships/image" Target="../media/image26.png"/><Relationship Id="rId8" Type="http://schemas.openxmlformats.org/officeDocument/2006/relationships/slideLayout" Target="../slideLayouts/slideLayout104.xml"/><Relationship Id="rId51" Type="http://schemas.openxmlformats.org/officeDocument/2006/relationships/image" Target="../media/image8.png"/><Relationship Id="rId72" Type="http://schemas.openxmlformats.org/officeDocument/2006/relationships/image" Target="../media/image29.svg"/><Relationship Id="rId80" Type="http://schemas.openxmlformats.org/officeDocument/2006/relationships/image" Target="../media/image37.svg"/><Relationship Id="rId85" Type="http://schemas.openxmlformats.org/officeDocument/2006/relationships/image" Target="../media/image42.png"/><Relationship Id="rId93" Type="http://schemas.openxmlformats.org/officeDocument/2006/relationships/image" Target="../media/image50.png"/><Relationship Id="rId3" Type="http://schemas.openxmlformats.org/officeDocument/2006/relationships/slideLayout" Target="../slideLayouts/slideLayout99.xml"/><Relationship Id="rId12" Type="http://schemas.openxmlformats.org/officeDocument/2006/relationships/slideLayout" Target="../slideLayouts/slideLayout108.xml"/><Relationship Id="rId17" Type="http://schemas.openxmlformats.org/officeDocument/2006/relationships/slideLayout" Target="../slideLayouts/slideLayout113.xml"/><Relationship Id="rId25" Type="http://schemas.openxmlformats.org/officeDocument/2006/relationships/slideLayout" Target="../slideLayouts/slideLayout121.xml"/><Relationship Id="rId33" Type="http://schemas.openxmlformats.org/officeDocument/2006/relationships/slideLayout" Target="../slideLayouts/slideLayout129.xml"/><Relationship Id="rId38" Type="http://schemas.openxmlformats.org/officeDocument/2006/relationships/slideLayout" Target="../slideLayouts/slideLayout134.xml"/><Relationship Id="rId46" Type="http://schemas.openxmlformats.org/officeDocument/2006/relationships/image" Target="../media/image3.svg"/><Relationship Id="rId59" Type="http://schemas.openxmlformats.org/officeDocument/2006/relationships/image" Target="../media/image16.png"/><Relationship Id="rId67" Type="http://schemas.openxmlformats.org/officeDocument/2006/relationships/image" Target="../media/image24.png"/><Relationship Id="rId20" Type="http://schemas.openxmlformats.org/officeDocument/2006/relationships/slideLayout" Target="../slideLayouts/slideLayout116.xml"/><Relationship Id="rId41" Type="http://schemas.openxmlformats.org/officeDocument/2006/relationships/theme" Target="../theme/theme4.xml"/><Relationship Id="rId54" Type="http://schemas.openxmlformats.org/officeDocument/2006/relationships/image" Target="../media/image11.svg"/><Relationship Id="rId62" Type="http://schemas.openxmlformats.org/officeDocument/2006/relationships/image" Target="../media/image19.svg"/><Relationship Id="rId70" Type="http://schemas.openxmlformats.org/officeDocument/2006/relationships/image" Target="../media/image27.svg"/><Relationship Id="rId75" Type="http://schemas.openxmlformats.org/officeDocument/2006/relationships/image" Target="../media/image32.png"/><Relationship Id="rId83" Type="http://schemas.openxmlformats.org/officeDocument/2006/relationships/image" Target="../media/image40.png"/><Relationship Id="rId88" Type="http://schemas.openxmlformats.org/officeDocument/2006/relationships/image" Target="../media/image45.svg"/><Relationship Id="rId91" Type="http://schemas.openxmlformats.org/officeDocument/2006/relationships/image" Target="../media/image48.png"/><Relationship Id="rId1" Type="http://schemas.openxmlformats.org/officeDocument/2006/relationships/slideLayout" Target="../slideLayouts/slideLayout97.xml"/><Relationship Id="rId6" Type="http://schemas.openxmlformats.org/officeDocument/2006/relationships/slideLayout" Target="../slideLayouts/slideLayout102.xml"/><Relationship Id="rId15" Type="http://schemas.openxmlformats.org/officeDocument/2006/relationships/slideLayout" Target="../slideLayouts/slideLayout111.xml"/><Relationship Id="rId23" Type="http://schemas.openxmlformats.org/officeDocument/2006/relationships/slideLayout" Target="../slideLayouts/slideLayout119.xml"/><Relationship Id="rId28" Type="http://schemas.openxmlformats.org/officeDocument/2006/relationships/slideLayout" Target="../slideLayouts/slideLayout124.xml"/><Relationship Id="rId36" Type="http://schemas.openxmlformats.org/officeDocument/2006/relationships/slideLayout" Target="../slideLayouts/slideLayout132.xml"/><Relationship Id="rId49" Type="http://schemas.openxmlformats.org/officeDocument/2006/relationships/image" Target="../media/image6.png"/><Relationship Id="rId57" Type="http://schemas.openxmlformats.org/officeDocument/2006/relationships/image" Target="../media/image14.png"/><Relationship Id="rId10" Type="http://schemas.openxmlformats.org/officeDocument/2006/relationships/slideLayout" Target="../slideLayouts/slideLayout106.xml"/><Relationship Id="rId31" Type="http://schemas.openxmlformats.org/officeDocument/2006/relationships/slideLayout" Target="../slideLayouts/slideLayout127.xml"/><Relationship Id="rId44" Type="http://schemas.openxmlformats.org/officeDocument/2006/relationships/image" Target="../media/image1.emf"/><Relationship Id="rId52" Type="http://schemas.openxmlformats.org/officeDocument/2006/relationships/image" Target="../media/image9.svg"/><Relationship Id="rId60" Type="http://schemas.openxmlformats.org/officeDocument/2006/relationships/image" Target="../media/image17.svg"/><Relationship Id="rId65" Type="http://schemas.openxmlformats.org/officeDocument/2006/relationships/image" Target="../media/image22.png"/><Relationship Id="rId73" Type="http://schemas.openxmlformats.org/officeDocument/2006/relationships/image" Target="../media/image30.png"/><Relationship Id="rId78" Type="http://schemas.openxmlformats.org/officeDocument/2006/relationships/image" Target="../media/image35.svg"/><Relationship Id="rId81" Type="http://schemas.openxmlformats.org/officeDocument/2006/relationships/image" Target="../media/image38.png"/><Relationship Id="rId86" Type="http://schemas.openxmlformats.org/officeDocument/2006/relationships/image" Target="../media/image43.svg"/><Relationship Id="rId94" Type="http://schemas.openxmlformats.org/officeDocument/2006/relationships/image" Target="../media/image51.svg"/><Relationship Id="rId4" Type="http://schemas.openxmlformats.org/officeDocument/2006/relationships/slideLayout" Target="../slideLayouts/slideLayout100.xml"/><Relationship Id="rId9" Type="http://schemas.openxmlformats.org/officeDocument/2006/relationships/slideLayout" Target="../slideLayouts/slideLayout105.xml"/><Relationship Id="rId13" Type="http://schemas.openxmlformats.org/officeDocument/2006/relationships/slideLayout" Target="../slideLayouts/slideLayout109.xml"/><Relationship Id="rId18" Type="http://schemas.openxmlformats.org/officeDocument/2006/relationships/slideLayout" Target="../slideLayouts/slideLayout114.xml"/><Relationship Id="rId39" Type="http://schemas.openxmlformats.org/officeDocument/2006/relationships/slideLayout" Target="../slideLayouts/slideLayout135.xml"/><Relationship Id="rId34" Type="http://schemas.openxmlformats.org/officeDocument/2006/relationships/slideLayout" Target="../slideLayouts/slideLayout130.xml"/><Relationship Id="rId50" Type="http://schemas.openxmlformats.org/officeDocument/2006/relationships/image" Target="../media/image7.svg"/><Relationship Id="rId55" Type="http://schemas.openxmlformats.org/officeDocument/2006/relationships/image" Target="../media/image12.png"/><Relationship Id="rId76" Type="http://schemas.openxmlformats.org/officeDocument/2006/relationships/image" Target="../media/image33.svg"/><Relationship Id="rId7" Type="http://schemas.openxmlformats.org/officeDocument/2006/relationships/slideLayout" Target="../slideLayouts/slideLayout103.xml"/><Relationship Id="rId71" Type="http://schemas.openxmlformats.org/officeDocument/2006/relationships/image" Target="../media/image28.png"/><Relationship Id="rId92" Type="http://schemas.openxmlformats.org/officeDocument/2006/relationships/image" Target="../media/image49.svg"/><Relationship Id="rId2" Type="http://schemas.openxmlformats.org/officeDocument/2006/relationships/slideLayout" Target="../slideLayouts/slideLayout98.xml"/><Relationship Id="rId29" Type="http://schemas.openxmlformats.org/officeDocument/2006/relationships/slideLayout" Target="../slideLayouts/slideLayout125.xml"/><Relationship Id="rId24" Type="http://schemas.openxmlformats.org/officeDocument/2006/relationships/slideLayout" Target="../slideLayouts/slideLayout120.xml"/><Relationship Id="rId40" Type="http://schemas.openxmlformats.org/officeDocument/2006/relationships/slideLayout" Target="../slideLayouts/slideLayout136.xml"/><Relationship Id="rId45" Type="http://schemas.openxmlformats.org/officeDocument/2006/relationships/image" Target="../media/image2.png"/><Relationship Id="rId66" Type="http://schemas.openxmlformats.org/officeDocument/2006/relationships/image" Target="../media/image23.svg"/><Relationship Id="rId87" Type="http://schemas.openxmlformats.org/officeDocument/2006/relationships/image" Target="../media/image44.png"/><Relationship Id="rId61" Type="http://schemas.openxmlformats.org/officeDocument/2006/relationships/image" Target="../media/image18.png"/><Relationship Id="rId82" Type="http://schemas.openxmlformats.org/officeDocument/2006/relationships/image" Target="../media/image39.svg"/><Relationship Id="rId19" Type="http://schemas.openxmlformats.org/officeDocument/2006/relationships/slideLayout" Target="../slideLayouts/slideLayout115.xml"/><Relationship Id="rId14" Type="http://schemas.openxmlformats.org/officeDocument/2006/relationships/slideLayout" Target="../slideLayouts/slideLayout110.xml"/><Relationship Id="rId30" Type="http://schemas.openxmlformats.org/officeDocument/2006/relationships/slideLayout" Target="../slideLayouts/slideLayout126.xml"/><Relationship Id="rId35" Type="http://schemas.openxmlformats.org/officeDocument/2006/relationships/slideLayout" Target="../slideLayouts/slideLayout131.xml"/><Relationship Id="rId56" Type="http://schemas.openxmlformats.org/officeDocument/2006/relationships/image" Target="../media/image13.svg"/><Relationship Id="rId77" Type="http://schemas.openxmlformats.org/officeDocument/2006/relationships/image" Target="../media/image34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blackGray">
      <p:bgPr>
        <a:solidFill>
          <a:srgbClr val="F3F5F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7935B6F9-052D-01EC-95D7-2A59F7A5C41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2"/>
            </p:custDataLst>
            <p:extLst>
              <p:ext uri="{D42A27DB-BD31-4B8C-83A1-F6EECF244321}">
                <p14:modId xmlns:p14="http://schemas.microsoft.com/office/powerpoint/2010/main" val="3312980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43" imgW="425" imgH="424" progId="TCLayout.ActiveDocument.1">
                  <p:embed/>
                </p:oleObj>
              </mc:Choice>
              <mc:Fallback>
                <p:oleObj name="Slide do think-cell" r:id="rId43" imgW="425" imgH="42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935B6F9-052D-01EC-95D7-2A59F7A5C4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ço Reservado para Título 1">
            <a:extLst>
              <a:ext uri="{FF2B5EF4-FFF2-40B4-BE49-F238E27FC236}">
                <a16:creationId xmlns:a16="http://schemas.microsoft.com/office/drawing/2014/main" id="{41375562-E38E-3A5D-DD5E-76EE13574F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4400" y="681037"/>
            <a:ext cx="10363200" cy="128111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C9C89F05-6560-FB4B-012E-55287B7FDE6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914400" y="2090738"/>
            <a:ext cx="10363200" cy="408622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/>
              <a:t>Clique para editar os estilos de texto Mestres</a:t>
            </a:r>
          </a:p>
          <a:p>
            <a:pPr marL="0" marR="0" lvl="1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BR"/>
              <a:t>Segundo nível</a:t>
            </a:r>
          </a:p>
          <a:p>
            <a:pPr marL="792000" marR="0" lvl="2" indent="-288000" algn="l" defTabSz="914400" rtl="0" eaLnBrk="1" fontAlgn="auto" latinLnBrk="0" hangingPunct="1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Blip>
                <a:blip r:embed="rId45">
                  <a:extLst>
                    <a:ext uri="{96DAC541-7B7A-43D3-8B79-37D633B846F1}">
                      <asvg:svgBlip xmlns:asvg="http://schemas.microsoft.com/office/drawing/2016/SVG/main" r:embed="rId46"/>
                    </a:ext>
                  </a:extLst>
                </a:blip>
              </a:buBlip>
              <a:tabLst/>
              <a:defRPr/>
            </a:pPr>
            <a:endParaRPr lang="pt-BR"/>
          </a:p>
        </p:txBody>
      </p:sp>
      <p:sp>
        <p:nvSpPr>
          <p:cNvPr id="7" name="Rectangle 7">
            <a:extLst>
              <a:ext uri="{FF2B5EF4-FFF2-40B4-BE49-F238E27FC236}">
                <a16:creationId xmlns:a16="http://schemas.microsoft.com/office/drawing/2014/main" id="{BF552152-09DD-4754-E8EA-28C8CDC581EB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-806451" y="1"/>
            <a:ext cx="711200" cy="54292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 algn="r"/>
            <a:r>
              <a:rPr lang="en-US" sz="900" b="1">
                <a:solidFill>
                  <a:schemeClr val="bg1"/>
                </a:solidFill>
              </a:rPr>
              <a:t> R 45</a:t>
            </a:r>
          </a:p>
          <a:p>
            <a:pPr lvl="0" algn="r"/>
            <a:r>
              <a:rPr lang="en-US" sz="900" b="1">
                <a:solidFill>
                  <a:schemeClr val="bg1"/>
                </a:solidFill>
              </a:rPr>
              <a:t> G 61</a:t>
            </a:r>
          </a:p>
          <a:p>
            <a:pPr lvl="0" algn="r"/>
            <a:r>
              <a:rPr lang="en-US" sz="900" b="1">
                <a:solidFill>
                  <a:schemeClr val="bg1"/>
                </a:solidFill>
              </a:rPr>
              <a:t>B 112</a:t>
            </a:r>
          </a:p>
        </p:txBody>
      </p:sp>
      <p:sp>
        <p:nvSpPr>
          <p:cNvPr id="8" name="Rectangle 8">
            <a:extLst>
              <a:ext uri="{FF2B5EF4-FFF2-40B4-BE49-F238E27FC236}">
                <a16:creationId xmlns:a16="http://schemas.microsoft.com/office/drawing/2014/main" id="{745BB3BD-7CE9-F565-F21C-426C7596E71B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-806451" y="621506"/>
            <a:ext cx="711200" cy="5334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 algn="r"/>
            <a:r>
              <a:rPr lang="en-US" sz="900" b="1">
                <a:solidFill>
                  <a:schemeClr val="bg1"/>
                </a:solidFill>
              </a:rPr>
              <a:t> R 244</a:t>
            </a:r>
          </a:p>
          <a:p>
            <a:pPr lvl="0" algn="r"/>
            <a:r>
              <a:rPr lang="en-US" sz="900" b="1">
                <a:solidFill>
                  <a:schemeClr val="bg1"/>
                </a:solidFill>
              </a:rPr>
              <a:t> G 97</a:t>
            </a:r>
          </a:p>
          <a:p>
            <a:pPr lvl="0" algn="r"/>
            <a:r>
              <a:rPr lang="en-US" sz="900" b="1">
                <a:solidFill>
                  <a:schemeClr val="bg1"/>
                </a:solidFill>
              </a:rPr>
              <a:t>B 77</a:t>
            </a:r>
          </a:p>
        </p:txBody>
      </p:sp>
      <p:sp>
        <p:nvSpPr>
          <p:cNvPr id="9" name="Rectangle 9">
            <a:extLst>
              <a:ext uri="{FF2B5EF4-FFF2-40B4-BE49-F238E27FC236}">
                <a16:creationId xmlns:a16="http://schemas.microsoft.com/office/drawing/2014/main" id="{F7F9F265-89D1-78AC-55E6-238CE5D4A1E4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-806451" y="1233488"/>
            <a:ext cx="711200" cy="54292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r"/>
            <a:r>
              <a:rPr lang="en-US" sz="900" b="1">
                <a:solidFill>
                  <a:schemeClr val="bg1"/>
                </a:solidFill>
              </a:rPr>
              <a:t>R 176</a:t>
            </a:r>
          </a:p>
          <a:p>
            <a:pPr algn="r"/>
            <a:r>
              <a:rPr lang="en-US" sz="900" b="1">
                <a:solidFill>
                  <a:schemeClr val="bg1"/>
                </a:solidFill>
              </a:rPr>
              <a:t>G 183</a:t>
            </a:r>
          </a:p>
          <a:p>
            <a:pPr algn="r"/>
            <a:r>
              <a:rPr lang="en-US" sz="900" b="1">
                <a:solidFill>
                  <a:schemeClr val="bg1"/>
                </a:solidFill>
              </a:rPr>
              <a:t>B 193</a:t>
            </a:r>
          </a:p>
        </p:txBody>
      </p:sp>
      <p:pic>
        <p:nvPicPr>
          <p:cNvPr id="27" name="Gráfico 26">
            <a:extLst>
              <a:ext uri="{FF2B5EF4-FFF2-40B4-BE49-F238E27FC236}">
                <a16:creationId xmlns:a16="http://schemas.microsoft.com/office/drawing/2014/main" id="{31F32912-5504-1525-E4B7-761D37AF19E9}"/>
              </a:ext>
            </a:extLst>
          </p:cNvPr>
          <p:cNvPicPr>
            <a:picLocks noChangeAspect="1"/>
          </p:cNvPicPr>
          <p:nvPr userDrawn="1"/>
        </p:nvPicPr>
        <p:blipFill>
          <a:blip r:embed="rId47">
            <a:extLst>
              <a:ext uri="{96DAC541-7B7A-43D3-8B79-37D633B846F1}">
                <asvg:svgBlip xmlns:asvg="http://schemas.microsoft.com/office/drawing/2016/SVG/main" r:embed="rId48"/>
              </a:ext>
            </a:extLst>
          </a:blip>
          <a:stretch>
            <a:fillRect/>
          </a:stretch>
        </p:blipFill>
        <p:spPr>
          <a:xfrm>
            <a:off x="-806451" y="2343150"/>
            <a:ext cx="711200" cy="417743"/>
          </a:xfrm>
          <a:prstGeom prst="rect">
            <a:avLst/>
          </a:prstGeom>
        </p:spPr>
      </p:pic>
      <p:pic>
        <p:nvPicPr>
          <p:cNvPr id="29" name="Gráfico 28">
            <a:extLst>
              <a:ext uri="{FF2B5EF4-FFF2-40B4-BE49-F238E27FC236}">
                <a16:creationId xmlns:a16="http://schemas.microsoft.com/office/drawing/2014/main" id="{6CA5DEA4-EEAB-3449-C3DD-83C8AC448769}"/>
              </a:ext>
            </a:extLst>
          </p:cNvPr>
          <p:cNvPicPr>
            <a:picLocks noChangeAspect="1"/>
          </p:cNvPicPr>
          <p:nvPr userDrawn="1"/>
        </p:nvPicPr>
        <p:blipFill>
          <a:blip r:embed="rId49">
            <a:extLst>
              <a:ext uri="{96DAC541-7B7A-43D3-8B79-37D633B846F1}">
                <asvg:svgBlip xmlns:asvg="http://schemas.microsoft.com/office/drawing/2016/SVG/main" r:embed="rId50"/>
              </a:ext>
            </a:extLst>
          </a:blip>
          <a:stretch>
            <a:fillRect/>
          </a:stretch>
        </p:blipFill>
        <p:spPr>
          <a:xfrm>
            <a:off x="-806451" y="2760893"/>
            <a:ext cx="711200" cy="334885"/>
          </a:xfrm>
          <a:prstGeom prst="rect">
            <a:avLst/>
          </a:prstGeom>
        </p:spPr>
      </p:pic>
      <p:pic>
        <p:nvPicPr>
          <p:cNvPr id="31" name="Gráfico 30">
            <a:extLst>
              <a:ext uri="{FF2B5EF4-FFF2-40B4-BE49-F238E27FC236}">
                <a16:creationId xmlns:a16="http://schemas.microsoft.com/office/drawing/2014/main" id="{B90C53BE-8249-C3B9-7787-556D2CC13226}"/>
              </a:ext>
            </a:extLst>
          </p:cNvPr>
          <p:cNvPicPr>
            <a:picLocks noChangeAspect="1"/>
          </p:cNvPicPr>
          <p:nvPr userDrawn="1"/>
        </p:nvPicPr>
        <p:blipFill>
          <a:blip r:embed="rId45">
            <a:extLst>
              <a:ext uri="{96DAC541-7B7A-43D3-8B79-37D633B846F1}">
                <asvg:svgBlip xmlns:asvg="http://schemas.microsoft.com/office/drawing/2016/SVG/main" r:embed="rId46"/>
              </a:ext>
            </a:extLst>
          </a:blip>
          <a:stretch>
            <a:fillRect/>
          </a:stretch>
        </p:blipFill>
        <p:spPr>
          <a:xfrm>
            <a:off x="-233348" y="3254590"/>
            <a:ext cx="138097" cy="162264"/>
          </a:xfrm>
          <a:prstGeom prst="rect">
            <a:avLst/>
          </a:prstGeom>
        </p:spPr>
      </p:pic>
      <p:pic>
        <p:nvPicPr>
          <p:cNvPr id="14" name="Gráfico 13" descr="Matérias primas estrutura de tópicos">
            <a:extLst>
              <a:ext uri="{FF2B5EF4-FFF2-40B4-BE49-F238E27FC236}">
                <a16:creationId xmlns:a16="http://schemas.microsoft.com/office/drawing/2014/main" id="{8AD833E9-22C0-601A-0AE3-555FB8C37570}"/>
              </a:ext>
            </a:extLst>
          </p:cNvPr>
          <p:cNvPicPr>
            <a:picLocks noChangeAspect="1"/>
          </p:cNvPicPr>
          <p:nvPr userDrawn="1"/>
        </p:nvPicPr>
        <p:blipFill>
          <a:blip r:embed="rId51">
            <a:extLst>
              <a:ext uri="{96DAC541-7B7A-43D3-8B79-37D633B846F1}">
                <asvg:svgBlip xmlns:asvg="http://schemas.microsoft.com/office/drawing/2016/SVG/main" r:embed="rId52"/>
              </a:ext>
            </a:extLst>
          </a:blip>
          <a:stretch>
            <a:fillRect/>
          </a:stretch>
        </p:blipFill>
        <p:spPr>
          <a:xfrm>
            <a:off x="14457074" y="2993159"/>
            <a:ext cx="242954" cy="242954"/>
          </a:xfrm>
          <a:prstGeom prst="rect">
            <a:avLst/>
          </a:prstGeom>
        </p:spPr>
      </p:pic>
      <p:pic>
        <p:nvPicPr>
          <p:cNvPr id="15" name="Gráfico 14" descr="Ferramentas de mineração estrutura de tópicos">
            <a:extLst>
              <a:ext uri="{FF2B5EF4-FFF2-40B4-BE49-F238E27FC236}">
                <a16:creationId xmlns:a16="http://schemas.microsoft.com/office/drawing/2014/main" id="{CCA2FCD9-F510-D80C-4745-0BF4C8EDB219}"/>
              </a:ext>
            </a:extLst>
          </p:cNvPr>
          <p:cNvPicPr>
            <a:picLocks noChangeAspect="1"/>
          </p:cNvPicPr>
          <p:nvPr userDrawn="1"/>
        </p:nvPicPr>
        <p:blipFill>
          <a:blip r:embed="rId53">
            <a:extLst>
              <a:ext uri="{96DAC541-7B7A-43D3-8B79-37D633B846F1}">
                <asvg:svgBlip xmlns:asvg="http://schemas.microsoft.com/office/drawing/2016/SVG/main" r:embed="rId54"/>
              </a:ext>
            </a:extLst>
          </a:blip>
          <a:stretch>
            <a:fillRect/>
          </a:stretch>
        </p:blipFill>
        <p:spPr>
          <a:xfrm>
            <a:off x="14742849" y="2121862"/>
            <a:ext cx="242952" cy="242952"/>
          </a:xfrm>
          <a:prstGeom prst="rect">
            <a:avLst/>
          </a:prstGeom>
        </p:spPr>
      </p:pic>
      <p:pic>
        <p:nvPicPr>
          <p:cNvPr id="16" name="Gráfico 15" descr="Giroteodolito estrutura de tópicos">
            <a:extLst>
              <a:ext uri="{FF2B5EF4-FFF2-40B4-BE49-F238E27FC236}">
                <a16:creationId xmlns:a16="http://schemas.microsoft.com/office/drawing/2014/main" id="{F0FBC73D-E02E-FE83-D5BA-3DC8280E3019}"/>
              </a:ext>
            </a:extLst>
          </p:cNvPr>
          <p:cNvPicPr>
            <a:picLocks noChangeAspect="1"/>
          </p:cNvPicPr>
          <p:nvPr userDrawn="1"/>
        </p:nvPicPr>
        <p:blipFill>
          <a:blip r:embed="rId55">
            <a:extLst>
              <a:ext uri="{96DAC541-7B7A-43D3-8B79-37D633B846F1}">
                <asvg:svgBlip xmlns:asvg="http://schemas.microsoft.com/office/drawing/2016/SVG/main" r:embed="rId56"/>
              </a:ext>
            </a:extLst>
          </a:blip>
          <a:stretch>
            <a:fillRect/>
          </a:stretch>
        </p:blipFill>
        <p:spPr>
          <a:xfrm>
            <a:off x="13805097" y="1382027"/>
            <a:ext cx="283735" cy="283735"/>
          </a:xfrm>
          <a:prstGeom prst="rect">
            <a:avLst/>
          </a:prstGeom>
        </p:spPr>
      </p:pic>
      <p:pic>
        <p:nvPicPr>
          <p:cNvPr id="17" name="Gráfico 16" descr="Trabalho estrutura de tópicos">
            <a:extLst>
              <a:ext uri="{FF2B5EF4-FFF2-40B4-BE49-F238E27FC236}">
                <a16:creationId xmlns:a16="http://schemas.microsoft.com/office/drawing/2014/main" id="{32532361-509B-7A46-B1D7-55CBC5498FC0}"/>
              </a:ext>
            </a:extLst>
          </p:cNvPr>
          <p:cNvPicPr>
            <a:picLocks noChangeAspect="1"/>
          </p:cNvPicPr>
          <p:nvPr userDrawn="1"/>
        </p:nvPicPr>
        <p:blipFill>
          <a:blip r:embed="rId57">
            <a:extLst>
              <a:ext uri="{96DAC541-7B7A-43D3-8B79-37D633B846F1}">
                <asvg:svgBlip xmlns:asvg="http://schemas.microsoft.com/office/drawing/2016/SVG/main" r:embed="rId58"/>
              </a:ext>
            </a:extLst>
          </a:blip>
          <a:stretch>
            <a:fillRect/>
          </a:stretch>
        </p:blipFill>
        <p:spPr>
          <a:xfrm>
            <a:off x="13459014" y="2272264"/>
            <a:ext cx="242952" cy="242952"/>
          </a:xfrm>
          <a:prstGeom prst="rect">
            <a:avLst/>
          </a:prstGeom>
        </p:spPr>
      </p:pic>
      <p:pic>
        <p:nvPicPr>
          <p:cNvPr id="18" name="Gráfico 17" descr="Mapa da topografia estrutura de tópicos">
            <a:extLst>
              <a:ext uri="{FF2B5EF4-FFF2-40B4-BE49-F238E27FC236}">
                <a16:creationId xmlns:a16="http://schemas.microsoft.com/office/drawing/2014/main" id="{1BDC512B-4ED3-961D-76C0-58A033B4863F}"/>
              </a:ext>
            </a:extLst>
          </p:cNvPr>
          <p:cNvPicPr>
            <a:picLocks noChangeAspect="1"/>
          </p:cNvPicPr>
          <p:nvPr userDrawn="1"/>
        </p:nvPicPr>
        <p:blipFill>
          <a:blip r:embed="rId59">
            <a:extLst>
              <a:ext uri="{96DAC541-7B7A-43D3-8B79-37D633B846F1}">
                <asvg:svgBlip xmlns:asvg="http://schemas.microsoft.com/office/drawing/2016/SVG/main" r:embed="rId60"/>
              </a:ext>
            </a:extLst>
          </a:blip>
          <a:stretch>
            <a:fillRect/>
          </a:stretch>
        </p:blipFill>
        <p:spPr>
          <a:xfrm>
            <a:off x="13383978" y="5325046"/>
            <a:ext cx="214270" cy="214270"/>
          </a:xfrm>
          <a:prstGeom prst="rect">
            <a:avLst/>
          </a:prstGeom>
        </p:spPr>
      </p:pic>
      <p:pic>
        <p:nvPicPr>
          <p:cNvPr id="19" name="Gráfico 18" descr="Caminhão de lixo estrutura de tópicos">
            <a:extLst>
              <a:ext uri="{FF2B5EF4-FFF2-40B4-BE49-F238E27FC236}">
                <a16:creationId xmlns:a16="http://schemas.microsoft.com/office/drawing/2014/main" id="{71A9711F-F456-49EE-5BF2-E847298745B0}"/>
              </a:ext>
            </a:extLst>
          </p:cNvPr>
          <p:cNvPicPr>
            <a:picLocks noChangeAspect="1"/>
          </p:cNvPicPr>
          <p:nvPr userDrawn="1"/>
        </p:nvPicPr>
        <p:blipFill>
          <a:blip r:embed="rId61">
            <a:extLst>
              <a:ext uri="{96DAC541-7B7A-43D3-8B79-37D633B846F1}">
                <asvg:svgBlip xmlns:asvg="http://schemas.microsoft.com/office/drawing/2016/SVG/main" r:embed="rId62"/>
              </a:ext>
            </a:extLst>
          </a:blip>
          <a:stretch>
            <a:fillRect/>
          </a:stretch>
        </p:blipFill>
        <p:spPr>
          <a:xfrm>
            <a:off x="13596049" y="1112339"/>
            <a:ext cx="211834" cy="211834"/>
          </a:xfrm>
          <a:prstGeom prst="rect">
            <a:avLst/>
          </a:prstGeom>
        </p:spPr>
      </p:pic>
      <p:pic>
        <p:nvPicPr>
          <p:cNvPr id="20" name="Gráfico 19" descr="Área de Transferência estrutura de tópicos">
            <a:extLst>
              <a:ext uri="{FF2B5EF4-FFF2-40B4-BE49-F238E27FC236}">
                <a16:creationId xmlns:a16="http://schemas.microsoft.com/office/drawing/2014/main" id="{0B7D5D2B-E920-5228-5D71-03FA4EC24AB7}"/>
              </a:ext>
            </a:extLst>
          </p:cNvPr>
          <p:cNvPicPr>
            <a:picLocks noChangeAspect="1"/>
          </p:cNvPicPr>
          <p:nvPr userDrawn="1"/>
        </p:nvPicPr>
        <p:blipFill>
          <a:blip r:embed="rId63">
            <a:extLst>
              <a:ext uri="{96DAC541-7B7A-43D3-8B79-37D633B846F1}">
                <asvg:svgBlip xmlns:asvg="http://schemas.microsoft.com/office/drawing/2016/SVG/main" r:embed="rId64"/>
              </a:ext>
            </a:extLst>
          </a:blip>
          <a:stretch>
            <a:fillRect/>
          </a:stretch>
        </p:blipFill>
        <p:spPr>
          <a:xfrm>
            <a:off x="12940699" y="5716455"/>
            <a:ext cx="199733" cy="199733"/>
          </a:xfrm>
          <a:prstGeom prst="rect">
            <a:avLst/>
          </a:prstGeom>
        </p:spPr>
      </p:pic>
      <p:pic>
        <p:nvPicPr>
          <p:cNvPr id="21" name="Gráfico 20" descr="Área de Transferência Marcada estrutura de tópicos">
            <a:extLst>
              <a:ext uri="{FF2B5EF4-FFF2-40B4-BE49-F238E27FC236}">
                <a16:creationId xmlns:a16="http://schemas.microsoft.com/office/drawing/2014/main" id="{F1D20945-8D16-40DE-2D51-2B7423C50A81}"/>
              </a:ext>
            </a:extLst>
          </p:cNvPr>
          <p:cNvPicPr>
            <a:picLocks noChangeAspect="1"/>
          </p:cNvPicPr>
          <p:nvPr userDrawn="1"/>
        </p:nvPicPr>
        <p:blipFill>
          <a:blip r:embed="rId65">
            <a:extLst>
              <a:ext uri="{96DAC541-7B7A-43D3-8B79-37D633B846F1}">
                <asvg:svgBlip xmlns:asvg="http://schemas.microsoft.com/office/drawing/2016/SVG/main" r:embed="rId66"/>
              </a:ext>
            </a:extLst>
          </a:blip>
          <a:stretch>
            <a:fillRect/>
          </a:stretch>
        </p:blipFill>
        <p:spPr>
          <a:xfrm>
            <a:off x="14804579" y="3454273"/>
            <a:ext cx="274845" cy="274845"/>
          </a:xfrm>
          <a:prstGeom prst="rect">
            <a:avLst/>
          </a:prstGeom>
        </p:spPr>
      </p:pic>
      <p:pic>
        <p:nvPicPr>
          <p:cNvPr id="22" name="Gráfico 21" descr="Bússola estrutura de tópicos">
            <a:extLst>
              <a:ext uri="{FF2B5EF4-FFF2-40B4-BE49-F238E27FC236}">
                <a16:creationId xmlns:a16="http://schemas.microsoft.com/office/drawing/2014/main" id="{6C420177-92AA-84B7-F0A4-24F84B8716C5}"/>
              </a:ext>
            </a:extLst>
          </p:cNvPr>
          <p:cNvPicPr>
            <a:picLocks noChangeAspect="1"/>
          </p:cNvPicPr>
          <p:nvPr userDrawn="1"/>
        </p:nvPicPr>
        <p:blipFill>
          <a:blip r:embed="rId67">
            <a:extLst>
              <a:ext uri="{96DAC541-7B7A-43D3-8B79-37D633B846F1}">
                <asvg:svgBlip xmlns:asvg="http://schemas.microsoft.com/office/drawing/2016/SVG/main" r:embed="rId68"/>
              </a:ext>
            </a:extLst>
          </a:blip>
          <a:stretch>
            <a:fillRect/>
          </a:stretch>
        </p:blipFill>
        <p:spPr>
          <a:xfrm flipH="1">
            <a:off x="14776828" y="3143563"/>
            <a:ext cx="274844" cy="274844"/>
          </a:xfrm>
          <a:prstGeom prst="rect">
            <a:avLst/>
          </a:prstGeom>
        </p:spPr>
      </p:pic>
      <p:pic>
        <p:nvPicPr>
          <p:cNvPr id="23" name="Gráfico 22" descr="Cristais estrutura de tópicos">
            <a:extLst>
              <a:ext uri="{FF2B5EF4-FFF2-40B4-BE49-F238E27FC236}">
                <a16:creationId xmlns:a16="http://schemas.microsoft.com/office/drawing/2014/main" id="{132D3788-0ED4-1DB7-6F66-701745F12987}"/>
              </a:ext>
            </a:extLst>
          </p:cNvPr>
          <p:cNvPicPr>
            <a:picLocks noChangeAspect="1"/>
          </p:cNvPicPr>
          <p:nvPr userDrawn="1"/>
        </p:nvPicPr>
        <p:blipFill>
          <a:blip r:embed="rId69">
            <a:extLst>
              <a:ext uri="{96DAC541-7B7A-43D3-8B79-37D633B846F1}">
                <asvg:svgBlip xmlns:asvg="http://schemas.microsoft.com/office/drawing/2016/SVG/main" r:embed="rId70"/>
              </a:ext>
            </a:extLst>
          </a:blip>
          <a:stretch>
            <a:fillRect/>
          </a:stretch>
        </p:blipFill>
        <p:spPr>
          <a:xfrm>
            <a:off x="13302357" y="4851361"/>
            <a:ext cx="271075" cy="271075"/>
          </a:xfrm>
          <a:prstGeom prst="rect">
            <a:avLst/>
          </a:prstGeom>
        </p:spPr>
      </p:pic>
      <p:pic>
        <p:nvPicPr>
          <p:cNvPr id="24" name="Gráfico 23" descr="Trem de brinquedo estrutura de tópicos">
            <a:extLst>
              <a:ext uri="{FF2B5EF4-FFF2-40B4-BE49-F238E27FC236}">
                <a16:creationId xmlns:a16="http://schemas.microsoft.com/office/drawing/2014/main" id="{4C7606AE-ED0D-B3B7-E088-85E82B0974ED}"/>
              </a:ext>
            </a:extLst>
          </p:cNvPr>
          <p:cNvPicPr>
            <a:picLocks noChangeAspect="1"/>
          </p:cNvPicPr>
          <p:nvPr userDrawn="1"/>
        </p:nvPicPr>
        <p:blipFill>
          <a:blip r:embed="rId71">
            <a:extLst>
              <a:ext uri="{96DAC541-7B7A-43D3-8B79-37D633B846F1}">
                <asvg:svgBlip xmlns:asvg="http://schemas.microsoft.com/office/drawing/2016/SVG/main" r:embed="rId72"/>
              </a:ext>
            </a:extLst>
          </a:blip>
          <a:stretch>
            <a:fillRect/>
          </a:stretch>
        </p:blipFill>
        <p:spPr>
          <a:xfrm>
            <a:off x="14114976" y="701726"/>
            <a:ext cx="211834" cy="211834"/>
          </a:xfrm>
          <a:prstGeom prst="rect">
            <a:avLst/>
          </a:prstGeom>
        </p:spPr>
      </p:pic>
      <p:pic>
        <p:nvPicPr>
          <p:cNvPr id="25" name="Gráfico 24" descr="Carrinho de mão estrutura de tópicos">
            <a:extLst>
              <a:ext uri="{FF2B5EF4-FFF2-40B4-BE49-F238E27FC236}">
                <a16:creationId xmlns:a16="http://schemas.microsoft.com/office/drawing/2014/main" id="{0BDD9D82-3131-3A33-2A53-896A4B663258}"/>
              </a:ext>
            </a:extLst>
          </p:cNvPr>
          <p:cNvPicPr>
            <a:picLocks noChangeAspect="1"/>
          </p:cNvPicPr>
          <p:nvPr userDrawn="1"/>
        </p:nvPicPr>
        <p:blipFill>
          <a:blip r:embed="rId73">
            <a:extLst>
              <a:ext uri="{96DAC541-7B7A-43D3-8B79-37D633B846F1}">
                <asvg:svgBlip xmlns:asvg="http://schemas.microsoft.com/office/drawing/2016/SVG/main" r:embed="rId74"/>
              </a:ext>
            </a:extLst>
          </a:blip>
          <a:stretch>
            <a:fillRect/>
          </a:stretch>
        </p:blipFill>
        <p:spPr>
          <a:xfrm>
            <a:off x="13714980" y="500417"/>
            <a:ext cx="293859" cy="293859"/>
          </a:xfrm>
          <a:prstGeom prst="rect">
            <a:avLst/>
          </a:prstGeom>
        </p:spPr>
      </p:pic>
      <p:pic>
        <p:nvPicPr>
          <p:cNvPr id="26" name="Gráfico 25" descr="Barras de ouro estrutura de tópicos">
            <a:extLst>
              <a:ext uri="{FF2B5EF4-FFF2-40B4-BE49-F238E27FC236}">
                <a16:creationId xmlns:a16="http://schemas.microsoft.com/office/drawing/2014/main" id="{8E3FCE5E-2E30-1A9B-329F-E68142982B59}"/>
              </a:ext>
            </a:extLst>
          </p:cNvPr>
          <p:cNvPicPr>
            <a:picLocks noChangeAspect="1"/>
          </p:cNvPicPr>
          <p:nvPr userDrawn="1"/>
        </p:nvPicPr>
        <p:blipFill>
          <a:blip r:embed="rId75">
            <a:extLst>
              <a:ext uri="{96DAC541-7B7A-43D3-8B79-37D633B846F1}">
                <asvg:svgBlip xmlns:asvg="http://schemas.microsoft.com/office/drawing/2016/SVG/main" r:embed="rId76"/>
              </a:ext>
            </a:extLst>
          </a:blip>
          <a:stretch>
            <a:fillRect/>
          </a:stretch>
        </p:blipFill>
        <p:spPr>
          <a:xfrm>
            <a:off x="14888604" y="2573070"/>
            <a:ext cx="242953" cy="242953"/>
          </a:xfrm>
          <a:prstGeom prst="rect">
            <a:avLst/>
          </a:prstGeom>
        </p:spPr>
      </p:pic>
      <p:pic>
        <p:nvPicPr>
          <p:cNvPr id="28" name="Gráfico 27" descr="Pote de ouro estrutura de tópicos">
            <a:extLst>
              <a:ext uri="{FF2B5EF4-FFF2-40B4-BE49-F238E27FC236}">
                <a16:creationId xmlns:a16="http://schemas.microsoft.com/office/drawing/2014/main" id="{CF9EE902-47A5-5A68-7DA4-26052033AE0B}"/>
              </a:ext>
            </a:extLst>
          </p:cNvPr>
          <p:cNvPicPr>
            <a:picLocks noChangeAspect="1"/>
          </p:cNvPicPr>
          <p:nvPr userDrawn="1"/>
        </p:nvPicPr>
        <p:blipFill>
          <a:blip r:embed="rId77">
            <a:extLst>
              <a:ext uri="{96DAC541-7B7A-43D3-8B79-37D633B846F1}">
                <asvg:svgBlip xmlns:asvg="http://schemas.microsoft.com/office/drawing/2016/SVG/main" r:embed="rId78"/>
              </a:ext>
            </a:extLst>
          </a:blip>
          <a:stretch>
            <a:fillRect/>
          </a:stretch>
        </p:blipFill>
        <p:spPr>
          <a:xfrm>
            <a:off x="13325342" y="821010"/>
            <a:ext cx="255463" cy="255463"/>
          </a:xfrm>
          <a:prstGeom prst="rect">
            <a:avLst/>
          </a:prstGeom>
        </p:spPr>
      </p:pic>
      <p:pic>
        <p:nvPicPr>
          <p:cNvPr id="30" name="Gráfico 29" descr="Mapa do tesouro estrutura de tópicos">
            <a:extLst>
              <a:ext uri="{FF2B5EF4-FFF2-40B4-BE49-F238E27FC236}">
                <a16:creationId xmlns:a16="http://schemas.microsoft.com/office/drawing/2014/main" id="{01F3B905-75F9-0EED-E25B-960161825AA8}"/>
              </a:ext>
            </a:extLst>
          </p:cNvPr>
          <p:cNvPicPr>
            <a:picLocks noChangeAspect="1"/>
          </p:cNvPicPr>
          <p:nvPr userDrawn="1"/>
        </p:nvPicPr>
        <p:blipFill>
          <a:blip r:embed="rId79">
            <a:extLst>
              <a:ext uri="{96DAC541-7B7A-43D3-8B79-37D633B846F1}">
                <asvg:svgBlip xmlns:asvg="http://schemas.microsoft.com/office/drawing/2016/SVG/main" r:embed="rId80"/>
              </a:ext>
            </a:extLst>
          </a:blip>
          <a:stretch>
            <a:fillRect/>
          </a:stretch>
        </p:blipFill>
        <p:spPr>
          <a:xfrm>
            <a:off x="14240517" y="4579957"/>
            <a:ext cx="220966" cy="220966"/>
          </a:xfrm>
          <a:prstGeom prst="rect">
            <a:avLst/>
          </a:prstGeom>
        </p:spPr>
      </p:pic>
      <p:pic>
        <p:nvPicPr>
          <p:cNvPr id="32" name="Gráfico 31" descr="Mapa com alfinete estrutura de tópicos">
            <a:extLst>
              <a:ext uri="{FF2B5EF4-FFF2-40B4-BE49-F238E27FC236}">
                <a16:creationId xmlns:a16="http://schemas.microsoft.com/office/drawing/2014/main" id="{B2220691-CCCA-00DE-BDC0-2065FABC5A49}"/>
              </a:ext>
            </a:extLst>
          </p:cNvPr>
          <p:cNvPicPr>
            <a:picLocks noChangeAspect="1"/>
          </p:cNvPicPr>
          <p:nvPr userDrawn="1"/>
        </p:nvPicPr>
        <p:blipFill>
          <a:blip r:embed="rId81">
            <a:extLst>
              <a:ext uri="{96DAC541-7B7A-43D3-8B79-37D633B846F1}">
                <asvg:svgBlip xmlns:asvg="http://schemas.microsoft.com/office/drawing/2016/SVG/main" r:embed="rId82"/>
              </a:ext>
            </a:extLst>
          </a:blip>
          <a:stretch>
            <a:fillRect/>
          </a:stretch>
        </p:blipFill>
        <p:spPr>
          <a:xfrm>
            <a:off x="14339112" y="4116238"/>
            <a:ext cx="242953" cy="242953"/>
          </a:xfrm>
          <a:prstGeom prst="rect">
            <a:avLst/>
          </a:prstGeom>
        </p:spPr>
      </p:pic>
      <p:pic>
        <p:nvPicPr>
          <p:cNvPr id="33" name="Gráfico 32" descr="Trilhos de trem estrutura de tópicos">
            <a:extLst>
              <a:ext uri="{FF2B5EF4-FFF2-40B4-BE49-F238E27FC236}">
                <a16:creationId xmlns:a16="http://schemas.microsoft.com/office/drawing/2014/main" id="{29AA9D78-A40F-A0D5-94D8-EDF382D77DA7}"/>
              </a:ext>
            </a:extLst>
          </p:cNvPr>
          <p:cNvPicPr>
            <a:picLocks noChangeAspect="1"/>
          </p:cNvPicPr>
          <p:nvPr userDrawn="1"/>
        </p:nvPicPr>
        <p:blipFill>
          <a:blip r:embed="rId83">
            <a:extLst>
              <a:ext uri="{96DAC541-7B7A-43D3-8B79-37D633B846F1}">
                <asvg:svgBlip xmlns:asvg="http://schemas.microsoft.com/office/drawing/2016/SVG/main" r:embed="rId84"/>
              </a:ext>
            </a:extLst>
          </a:blip>
          <a:stretch>
            <a:fillRect/>
          </a:stretch>
        </p:blipFill>
        <p:spPr>
          <a:xfrm>
            <a:off x="14870878" y="2842757"/>
            <a:ext cx="242952" cy="242952"/>
          </a:xfrm>
          <a:prstGeom prst="rect">
            <a:avLst/>
          </a:prstGeom>
        </p:spPr>
      </p:pic>
      <p:pic>
        <p:nvPicPr>
          <p:cNvPr id="34" name="Gráfico 33" descr="Globo estrutura de tópicos">
            <a:extLst>
              <a:ext uri="{FF2B5EF4-FFF2-40B4-BE49-F238E27FC236}">
                <a16:creationId xmlns:a16="http://schemas.microsoft.com/office/drawing/2014/main" id="{D27B2EF7-9895-0618-8B6A-E080254CC6B3}"/>
              </a:ext>
            </a:extLst>
          </p:cNvPr>
          <p:cNvPicPr>
            <a:picLocks noChangeAspect="1"/>
          </p:cNvPicPr>
          <p:nvPr userDrawn="1"/>
        </p:nvPicPr>
        <p:blipFill>
          <a:blip r:embed="rId85">
            <a:extLst>
              <a:ext uri="{96DAC541-7B7A-43D3-8B79-37D633B846F1}">
                <asvg:svgBlip xmlns:asvg="http://schemas.microsoft.com/office/drawing/2016/SVG/main" r:embed="rId86"/>
              </a:ext>
            </a:extLst>
          </a:blip>
          <a:stretch>
            <a:fillRect/>
          </a:stretch>
        </p:blipFill>
        <p:spPr>
          <a:xfrm>
            <a:off x="13577612" y="2422666"/>
            <a:ext cx="242954" cy="242954"/>
          </a:xfrm>
          <a:prstGeom prst="rect">
            <a:avLst/>
          </a:prstGeom>
        </p:spPr>
      </p:pic>
      <p:pic>
        <p:nvPicPr>
          <p:cNvPr id="35" name="Gráfico 34" descr="Mundo estrutura de tópicos">
            <a:extLst>
              <a:ext uri="{FF2B5EF4-FFF2-40B4-BE49-F238E27FC236}">
                <a16:creationId xmlns:a16="http://schemas.microsoft.com/office/drawing/2014/main" id="{6FF17257-CF5D-93EA-7C30-4BA9081BE2E4}"/>
              </a:ext>
            </a:extLst>
          </p:cNvPr>
          <p:cNvPicPr>
            <a:picLocks noChangeAspect="1"/>
          </p:cNvPicPr>
          <p:nvPr userDrawn="1"/>
        </p:nvPicPr>
        <p:blipFill>
          <a:blip r:embed="rId87">
            <a:extLst>
              <a:ext uri="{96DAC541-7B7A-43D3-8B79-37D633B846F1}">
                <asvg:svgBlip xmlns:asvg="http://schemas.microsoft.com/office/drawing/2016/SVG/main" r:embed="rId88"/>
              </a:ext>
            </a:extLst>
          </a:blip>
          <a:stretch>
            <a:fillRect/>
          </a:stretch>
        </p:blipFill>
        <p:spPr>
          <a:xfrm>
            <a:off x="13567259" y="4417045"/>
            <a:ext cx="255462" cy="255462"/>
          </a:xfrm>
          <a:prstGeom prst="rect">
            <a:avLst/>
          </a:prstGeom>
        </p:spPr>
      </p:pic>
      <p:pic>
        <p:nvPicPr>
          <p:cNvPr id="36" name="Gráfico 35" descr="Bússola de mapa estrutura de tópicos">
            <a:extLst>
              <a:ext uri="{FF2B5EF4-FFF2-40B4-BE49-F238E27FC236}">
                <a16:creationId xmlns:a16="http://schemas.microsoft.com/office/drawing/2014/main" id="{5FAEB632-7EE6-0BF8-FAC3-DEE6E4D053FD}"/>
              </a:ext>
            </a:extLst>
          </p:cNvPr>
          <p:cNvPicPr>
            <a:picLocks noChangeAspect="1"/>
          </p:cNvPicPr>
          <p:nvPr userDrawn="1"/>
        </p:nvPicPr>
        <p:blipFill>
          <a:blip r:embed="rId89">
            <a:extLst>
              <a:ext uri="{96DAC541-7B7A-43D3-8B79-37D633B846F1}">
                <asvg:svgBlip xmlns:asvg="http://schemas.microsoft.com/office/drawing/2016/SVG/main" r:embed="rId90"/>
              </a:ext>
            </a:extLst>
          </a:blip>
          <a:stretch>
            <a:fillRect/>
          </a:stretch>
        </p:blipFill>
        <p:spPr>
          <a:xfrm>
            <a:off x="13946312" y="1725431"/>
            <a:ext cx="306686" cy="306686"/>
          </a:xfrm>
          <a:prstGeom prst="rect">
            <a:avLst/>
          </a:prstGeom>
        </p:spPr>
      </p:pic>
      <p:pic>
        <p:nvPicPr>
          <p:cNvPr id="37" name="Gráfico 36" descr="Cena de estrada estrutura de tópicos">
            <a:extLst>
              <a:ext uri="{FF2B5EF4-FFF2-40B4-BE49-F238E27FC236}">
                <a16:creationId xmlns:a16="http://schemas.microsoft.com/office/drawing/2014/main" id="{2355756D-5A01-3BF7-BB12-9B6B57C60F7D}"/>
              </a:ext>
            </a:extLst>
          </p:cNvPr>
          <p:cNvPicPr>
            <a:picLocks noChangeAspect="1"/>
          </p:cNvPicPr>
          <p:nvPr userDrawn="1"/>
        </p:nvPicPr>
        <p:blipFill>
          <a:blip r:embed="rId91">
            <a:extLst>
              <a:ext uri="{96DAC541-7B7A-43D3-8B79-37D633B846F1}">
                <asvg:svgBlip xmlns:asvg="http://schemas.microsoft.com/office/drawing/2016/SVG/main" r:embed="rId92"/>
              </a:ext>
            </a:extLst>
          </a:blip>
          <a:stretch>
            <a:fillRect/>
          </a:stretch>
        </p:blipFill>
        <p:spPr>
          <a:xfrm flipH="1">
            <a:off x="14440317" y="3636568"/>
            <a:ext cx="302532" cy="302532"/>
          </a:xfrm>
          <a:prstGeom prst="rect">
            <a:avLst/>
          </a:prstGeom>
        </p:spPr>
      </p:pic>
      <p:pic>
        <p:nvPicPr>
          <p:cNvPr id="38" name="Gráfico 37" descr="Compasso estrutura de tópicos">
            <a:extLst>
              <a:ext uri="{FF2B5EF4-FFF2-40B4-BE49-F238E27FC236}">
                <a16:creationId xmlns:a16="http://schemas.microsoft.com/office/drawing/2014/main" id="{FB18B9E5-4754-08C4-3E89-2B33637D03C0}"/>
              </a:ext>
            </a:extLst>
          </p:cNvPr>
          <p:cNvPicPr>
            <a:picLocks noChangeAspect="1"/>
          </p:cNvPicPr>
          <p:nvPr userDrawn="1"/>
        </p:nvPicPr>
        <p:blipFill>
          <a:blip r:embed="rId93">
            <a:extLst>
              <a:ext uri="{96DAC541-7B7A-43D3-8B79-37D633B846F1}">
                <asvg:svgBlip xmlns:asvg="http://schemas.microsoft.com/office/drawing/2016/SVG/main" r:embed="rId94"/>
              </a:ext>
            </a:extLst>
          </a:blip>
          <a:stretch>
            <a:fillRect/>
          </a:stretch>
        </p:blipFill>
        <p:spPr>
          <a:xfrm>
            <a:off x="14578550" y="1573212"/>
            <a:ext cx="244769" cy="244769"/>
          </a:xfrm>
          <a:prstGeom prst="rect">
            <a:avLst/>
          </a:prstGeom>
        </p:spPr>
      </p:pic>
      <p:pic>
        <p:nvPicPr>
          <p:cNvPr id="39" name="Gráfico 38" descr="Trilhos de trem estrutura de tópicos">
            <a:extLst>
              <a:ext uri="{FF2B5EF4-FFF2-40B4-BE49-F238E27FC236}">
                <a16:creationId xmlns:a16="http://schemas.microsoft.com/office/drawing/2014/main" id="{C92C70C5-C2A6-A477-EEB8-601B8D205D89}"/>
              </a:ext>
            </a:extLst>
          </p:cNvPr>
          <p:cNvPicPr>
            <a:picLocks noChangeAspect="1"/>
          </p:cNvPicPr>
          <p:nvPr userDrawn="1"/>
        </p:nvPicPr>
        <p:blipFill>
          <a:blip r:embed="rId83">
            <a:extLst>
              <a:ext uri="{96DAC541-7B7A-43D3-8B79-37D633B846F1}">
                <asvg:svgBlip xmlns:asvg="http://schemas.microsoft.com/office/drawing/2016/SVG/main" r:embed="rId84"/>
              </a:ext>
            </a:extLst>
          </a:blip>
          <a:stretch>
            <a:fillRect/>
          </a:stretch>
        </p:blipFill>
        <p:spPr>
          <a:xfrm>
            <a:off x="14044071" y="5174644"/>
            <a:ext cx="242952" cy="242952"/>
          </a:xfrm>
          <a:prstGeom prst="rect">
            <a:avLst/>
          </a:prstGeom>
        </p:spPr>
      </p:pic>
      <p:pic>
        <p:nvPicPr>
          <p:cNvPr id="40" name="Gráfico 39" descr="Matérias primas estrutura de tópicos">
            <a:extLst>
              <a:ext uri="{FF2B5EF4-FFF2-40B4-BE49-F238E27FC236}">
                <a16:creationId xmlns:a16="http://schemas.microsoft.com/office/drawing/2014/main" id="{07B5BB62-52E0-DDBD-5DBB-1E49FF58450E}"/>
              </a:ext>
            </a:extLst>
          </p:cNvPr>
          <p:cNvPicPr>
            <a:picLocks noChangeAspect="1"/>
          </p:cNvPicPr>
          <p:nvPr userDrawn="1"/>
        </p:nvPicPr>
        <p:blipFill>
          <a:blip r:embed="rId51">
            <a:extLst>
              <a:ext uri="{96DAC541-7B7A-43D3-8B79-37D633B846F1}">
                <asvg:svgBlip xmlns:asvg="http://schemas.microsoft.com/office/drawing/2016/SVG/main" r:embed="rId52"/>
              </a:ext>
            </a:extLst>
          </a:blip>
          <a:stretch>
            <a:fillRect/>
          </a:stretch>
        </p:blipFill>
        <p:spPr>
          <a:xfrm>
            <a:off x="14214120" y="1231623"/>
            <a:ext cx="242954" cy="242954"/>
          </a:xfrm>
          <a:prstGeom prst="rect">
            <a:avLst/>
          </a:prstGeom>
        </p:spPr>
      </p:pic>
      <p:pic>
        <p:nvPicPr>
          <p:cNvPr id="41" name="Gráfico 40" descr="Globo estrutura de tópicos">
            <a:extLst>
              <a:ext uri="{FF2B5EF4-FFF2-40B4-BE49-F238E27FC236}">
                <a16:creationId xmlns:a16="http://schemas.microsoft.com/office/drawing/2014/main" id="{9209910A-2692-51DA-CF5A-6C3BF9E6D977}"/>
              </a:ext>
            </a:extLst>
          </p:cNvPr>
          <p:cNvPicPr>
            <a:picLocks noChangeAspect="1"/>
          </p:cNvPicPr>
          <p:nvPr userDrawn="1"/>
        </p:nvPicPr>
        <p:blipFill>
          <a:blip r:embed="rId85">
            <a:extLst>
              <a:ext uri="{96DAC541-7B7A-43D3-8B79-37D633B846F1}">
                <asvg:svgBlip xmlns:asvg="http://schemas.microsoft.com/office/drawing/2016/SVG/main" r:embed="rId86"/>
              </a:ext>
            </a:extLst>
          </a:blip>
          <a:stretch>
            <a:fillRect/>
          </a:stretch>
        </p:blipFill>
        <p:spPr>
          <a:xfrm>
            <a:off x="14141174" y="3846550"/>
            <a:ext cx="242954" cy="242954"/>
          </a:xfrm>
          <a:prstGeom prst="rect">
            <a:avLst/>
          </a:prstGeom>
        </p:spPr>
      </p:pic>
      <p:pic>
        <p:nvPicPr>
          <p:cNvPr id="42" name="Gráfico 41" descr="Trem de brinquedo estrutura de tópicos">
            <a:extLst>
              <a:ext uri="{FF2B5EF4-FFF2-40B4-BE49-F238E27FC236}">
                <a16:creationId xmlns:a16="http://schemas.microsoft.com/office/drawing/2014/main" id="{6AF85600-9BD1-3F8C-3267-7560B2177531}"/>
              </a:ext>
            </a:extLst>
          </p:cNvPr>
          <p:cNvPicPr>
            <a:picLocks noChangeAspect="1"/>
          </p:cNvPicPr>
          <p:nvPr userDrawn="1"/>
        </p:nvPicPr>
        <p:blipFill>
          <a:blip r:embed="rId71">
            <a:extLst>
              <a:ext uri="{96DAC541-7B7A-43D3-8B79-37D633B846F1}">
                <asvg:svgBlip xmlns:asvg="http://schemas.microsoft.com/office/drawing/2016/SVG/main" r:embed="rId72"/>
              </a:ext>
            </a:extLst>
          </a:blip>
          <a:stretch>
            <a:fillRect/>
          </a:stretch>
        </p:blipFill>
        <p:spPr>
          <a:xfrm>
            <a:off x="14265256" y="2723473"/>
            <a:ext cx="211834" cy="211834"/>
          </a:xfrm>
          <a:prstGeom prst="rect">
            <a:avLst/>
          </a:prstGeom>
        </p:spPr>
      </p:pic>
      <p:pic>
        <p:nvPicPr>
          <p:cNvPr id="43" name="Gráfico 42" descr="Matérias primas estrutura de tópicos">
            <a:extLst>
              <a:ext uri="{FF2B5EF4-FFF2-40B4-BE49-F238E27FC236}">
                <a16:creationId xmlns:a16="http://schemas.microsoft.com/office/drawing/2014/main" id="{8D8078A1-4EA2-7541-BFE3-B74B7BF001D7}"/>
              </a:ext>
            </a:extLst>
          </p:cNvPr>
          <p:cNvPicPr>
            <a:picLocks noChangeAspect="1"/>
          </p:cNvPicPr>
          <p:nvPr userDrawn="1"/>
        </p:nvPicPr>
        <p:blipFill>
          <a:blip r:embed="rId51">
            <a:extLst>
              <a:ext uri="{96DAC541-7B7A-43D3-8B79-37D633B846F1}">
                <asvg:svgBlip xmlns:asvg="http://schemas.microsoft.com/office/drawing/2016/SVG/main" r:embed="rId52"/>
              </a:ext>
            </a:extLst>
          </a:blip>
          <a:stretch>
            <a:fillRect/>
          </a:stretch>
        </p:blipFill>
        <p:spPr>
          <a:xfrm>
            <a:off x="13244075" y="5566050"/>
            <a:ext cx="242954" cy="242954"/>
          </a:xfrm>
          <a:prstGeom prst="rect">
            <a:avLst/>
          </a:prstGeom>
        </p:spPr>
      </p:pic>
      <p:pic>
        <p:nvPicPr>
          <p:cNvPr id="44" name="Gráfico 43" descr="Mapa do tesouro estrutura de tópicos">
            <a:extLst>
              <a:ext uri="{FF2B5EF4-FFF2-40B4-BE49-F238E27FC236}">
                <a16:creationId xmlns:a16="http://schemas.microsoft.com/office/drawing/2014/main" id="{7B951DF5-D3BC-6A46-7754-CF43BB05E3C3}"/>
              </a:ext>
            </a:extLst>
          </p:cNvPr>
          <p:cNvPicPr>
            <a:picLocks noChangeAspect="1"/>
          </p:cNvPicPr>
          <p:nvPr userDrawn="1"/>
        </p:nvPicPr>
        <p:blipFill>
          <a:blip r:embed="rId79">
            <a:extLst>
              <a:ext uri="{96DAC541-7B7A-43D3-8B79-37D633B846F1}">
                <asvg:svgBlip xmlns:asvg="http://schemas.microsoft.com/office/drawing/2016/SVG/main" r:embed="rId80"/>
              </a:ext>
            </a:extLst>
          </a:blip>
          <a:stretch>
            <a:fillRect/>
          </a:stretch>
        </p:blipFill>
        <p:spPr>
          <a:xfrm>
            <a:off x="13816433" y="983923"/>
            <a:ext cx="220966" cy="220966"/>
          </a:xfrm>
          <a:prstGeom prst="rect">
            <a:avLst/>
          </a:prstGeom>
        </p:spPr>
      </p:pic>
      <p:pic>
        <p:nvPicPr>
          <p:cNvPr id="45" name="Gráfico 44" descr="Área de Transferência Marcada estrutura de tópicos">
            <a:extLst>
              <a:ext uri="{FF2B5EF4-FFF2-40B4-BE49-F238E27FC236}">
                <a16:creationId xmlns:a16="http://schemas.microsoft.com/office/drawing/2014/main" id="{922D4BC0-55E5-940D-FBC9-7553451F6D0F}"/>
              </a:ext>
            </a:extLst>
          </p:cNvPr>
          <p:cNvPicPr>
            <a:picLocks noChangeAspect="1"/>
          </p:cNvPicPr>
          <p:nvPr userDrawn="1"/>
        </p:nvPicPr>
        <p:blipFill>
          <a:blip r:embed="rId65">
            <a:extLst>
              <a:ext uri="{96DAC541-7B7A-43D3-8B79-37D633B846F1}">
                <asvg:svgBlip xmlns:asvg="http://schemas.microsoft.com/office/drawing/2016/SVG/main" r:embed="rId66"/>
              </a:ext>
            </a:extLst>
          </a:blip>
          <a:stretch>
            <a:fillRect/>
          </a:stretch>
        </p:blipFill>
        <p:spPr>
          <a:xfrm>
            <a:off x="14386567" y="1939567"/>
            <a:ext cx="274845" cy="274845"/>
          </a:xfrm>
          <a:prstGeom prst="rect">
            <a:avLst/>
          </a:prstGeom>
        </p:spPr>
      </p:pic>
      <p:pic>
        <p:nvPicPr>
          <p:cNvPr id="46" name="Gráfico 45" descr="Trem de brinquedo estrutura de tópicos">
            <a:extLst>
              <a:ext uri="{FF2B5EF4-FFF2-40B4-BE49-F238E27FC236}">
                <a16:creationId xmlns:a16="http://schemas.microsoft.com/office/drawing/2014/main" id="{4E44D481-2ED6-C84D-2C21-2412913B5CC3}"/>
              </a:ext>
            </a:extLst>
          </p:cNvPr>
          <p:cNvPicPr>
            <a:picLocks noChangeAspect="1"/>
          </p:cNvPicPr>
          <p:nvPr userDrawn="1"/>
        </p:nvPicPr>
        <p:blipFill>
          <a:blip r:embed="rId71">
            <a:extLst>
              <a:ext uri="{96DAC541-7B7A-43D3-8B79-37D633B846F1}">
                <asvg:svgBlip xmlns:asvg="http://schemas.microsoft.com/office/drawing/2016/SVG/main" r:embed="rId72"/>
              </a:ext>
            </a:extLst>
          </a:blip>
          <a:stretch>
            <a:fillRect/>
          </a:stretch>
        </p:blipFill>
        <p:spPr>
          <a:xfrm>
            <a:off x="14776828" y="3996954"/>
            <a:ext cx="211834" cy="211834"/>
          </a:xfrm>
          <a:prstGeom prst="rect">
            <a:avLst/>
          </a:prstGeom>
        </p:spPr>
      </p:pic>
      <p:pic>
        <p:nvPicPr>
          <p:cNvPr id="47" name="Gráfico 46" descr="Matérias primas estrutura de tópicos">
            <a:extLst>
              <a:ext uri="{FF2B5EF4-FFF2-40B4-BE49-F238E27FC236}">
                <a16:creationId xmlns:a16="http://schemas.microsoft.com/office/drawing/2014/main" id="{F41F90FD-58E5-06C9-88E1-02EE7679A3DE}"/>
              </a:ext>
            </a:extLst>
          </p:cNvPr>
          <p:cNvPicPr>
            <a:picLocks noChangeAspect="1"/>
          </p:cNvPicPr>
          <p:nvPr userDrawn="1"/>
        </p:nvPicPr>
        <p:blipFill>
          <a:blip r:embed="rId51">
            <a:extLst>
              <a:ext uri="{96DAC541-7B7A-43D3-8B79-37D633B846F1}">
                <asvg:svgBlip xmlns:asvg="http://schemas.microsoft.com/office/drawing/2016/SVG/main" r:embed="rId52"/>
              </a:ext>
            </a:extLst>
          </a:blip>
          <a:stretch>
            <a:fillRect/>
          </a:stretch>
        </p:blipFill>
        <p:spPr>
          <a:xfrm>
            <a:off x="14477092" y="4266641"/>
            <a:ext cx="242954" cy="242954"/>
          </a:xfrm>
          <a:prstGeom prst="rect">
            <a:avLst/>
          </a:prstGeom>
        </p:spPr>
      </p:pic>
      <p:pic>
        <p:nvPicPr>
          <p:cNvPr id="48" name="Gráfico 47" descr="Mapa do tesouro estrutura de tópicos">
            <a:extLst>
              <a:ext uri="{FF2B5EF4-FFF2-40B4-BE49-F238E27FC236}">
                <a16:creationId xmlns:a16="http://schemas.microsoft.com/office/drawing/2014/main" id="{5A0884C7-11F4-27ED-CAA5-AC6B68E4326D}"/>
              </a:ext>
            </a:extLst>
          </p:cNvPr>
          <p:cNvPicPr>
            <a:picLocks noChangeAspect="1"/>
          </p:cNvPicPr>
          <p:nvPr userDrawn="1"/>
        </p:nvPicPr>
        <p:blipFill>
          <a:blip r:embed="rId79">
            <a:extLst>
              <a:ext uri="{96DAC541-7B7A-43D3-8B79-37D633B846F1}">
                <asvg:svgBlip xmlns:asvg="http://schemas.microsoft.com/office/drawing/2016/SVG/main" r:embed="rId80"/>
              </a:ext>
            </a:extLst>
          </a:blip>
          <a:stretch>
            <a:fillRect/>
          </a:stretch>
        </p:blipFill>
        <p:spPr>
          <a:xfrm>
            <a:off x="14274679" y="3325857"/>
            <a:ext cx="220966" cy="220966"/>
          </a:xfrm>
          <a:prstGeom prst="rect">
            <a:avLst/>
          </a:prstGeom>
        </p:spPr>
      </p:pic>
      <p:pic>
        <p:nvPicPr>
          <p:cNvPr id="49" name="Gráfico 48" descr="Caminhão de lixo estrutura de tópicos">
            <a:extLst>
              <a:ext uri="{FF2B5EF4-FFF2-40B4-BE49-F238E27FC236}">
                <a16:creationId xmlns:a16="http://schemas.microsoft.com/office/drawing/2014/main" id="{B7AC7C5D-6CC1-8DCD-FFB2-D4571509E893}"/>
              </a:ext>
            </a:extLst>
          </p:cNvPr>
          <p:cNvPicPr>
            <a:picLocks noChangeAspect="1"/>
          </p:cNvPicPr>
          <p:nvPr userDrawn="1"/>
        </p:nvPicPr>
        <p:blipFill>
          <a:blip r:embed="rId61">
            <a:extLst>
              <a:ext uri="{96DAC541-7B7A-43D3-8B79-37D633B846F1}">
                <asvg:svgBlip xmlns:asvg="http://schemas.microsoft.com/office/drawing/2016/SVG/main" r:embed="rId62"/>
              </a:ext>
            </a:extLst>
          </a:blip>
          <a:stretch>
            <a:fillRect/>
          </a:stretch>
        </p:blipFill>
        <p:spPr>
          <a:xfrm>
            <a:off x="13037167" y="5446766"/>
            <a:ext cx="211834" cy="211834"/>
          </a:xfrm>
          <a:prstGeom prst="rect">
            <a:avLst/>
          </a:prstGeom>
        </p:spPr>
      </p:pic>
      <p:pic>
        <p:nvPicPr>
          <p:cNvPr id="50" name="Gráfico 49" descr="Bússola estrutura de tópicos">
            <a:extLst>
              <a:ext uri="{FF2B5EF4-FFF2-40B4-BE49-F238E27FC236}">
                <a16:creationId xmlns:a16="http://schemas.microsoft.com/office/drawing/2014/main" id="{828359E1-7125-2FE0-F0C7-5314016A4551}"/>
              </a:ext>
            </a:extLst>
          </p:cNvPr>
          <p:cNvPicPr>
            <a:picLocks noChangeAspect="1"/>
          </p:cNvPicPr>
          <p:nvPr userDrawn="1"/>
        </p:nvPicPr>
        <p:blipFill>
          <a:blip r:embed="rId67">
            <a:extLst>
              <a:ext uri="{96DAC541-7B7A-43D3-8B79-37D633B846F1}">
                <asvg:svgBlip xmlns:asvg="http://schemas.microsoft.com/office/drawing/2016/SVG/main" r:embed="rId68"/>
              </a:ext>
            </a:extLst>
          </a:blip>
          <a:stretch>
            <a:fillRect/>
          </a:stretch>
        </p:blipFill>
        <p:spPr>
          <a:xfrm flipH="1">
            <a:off x="13021777" y="5029886"/>
            <a:ext cx="237308" cy="237308"/>
          </a:xfrm>
          <a:prstGeom prst="rect">
            <a:avLst/>
          </a:prstGeom>
        </p:spPr>
      </p:pic>
      <p:pic>
        <p:nvPicPr>
          <p:cNvPr id="51" name="Gráfico 50" descr="Globo estrutura de tópicos">
            <a:extLst>
              <a:ext uri="{FF2B5EF4-FFF2-40B4-BE49-F238E27FC236}">
                <a16:creationId xmlns:a16="http://schemas.microsoft.com/office/drawing/2014/main" id="{C99849C7-4D12-C2B0-FFA0-90637BCC0E34}"/>
              </a:ext>
            </a:extLst>
          </p:cNvPr>
          <p:cNvPicPr>
            <a:picLocks noChangeAspect="1"/>
          </p:cNvPicPr>
          <p:nvPr userDrawn="1"/>
        </p:nvPicPr>
        <p:blipFill>
          <a:blip r:embed="rId85">
            <a:extLst>
              <a:ext uri="{96DAC541-7B7A-43D3-8B79-37D633B846F1}">
                <asvg:svgBlip xmlns:asvg="http://schemas.microsoft.com/office/drawing/2016/SVG/main" r:embed="rId86"/>
              </a:ext>
            </a:extLst>
          </a:blip>
          <a:stretch>
            <a:fillRect/>
          </a:stretch>
        </p:blipFill>
        <p:spPr>
          <a:xfrm>
            <a:off x="13959598" y="4708373"/>
            <a:ext cx="235538" cy="2355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61613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704" r:id="rId2"/>
    <p:sldLayoutId id="2147483705" r:id="rId3"/>
    <p:sldLayoutId id="2147483710" r:id="rId4"/>
    <p:sldLayoutId id="2147483713" r:id="rId5"/>
    <p:sldLayoutId id="2147483714" r:id="rId6"/>
    <p:sldLayoutId id="2147483715" r:id="rId7"/>
    <p:sldLayoutId id="2147483695" r:id="rId8"/>
    <p:sldLayoutId id="2147483703" r:id="rId9"/>
    <p:sldLayoutId id="2147483708" r:id="rId10"/>
    <p:sldLayoutId id="2147483683" r:id="rId11"/>
    <p:sldLayoutId id="2147483702" r:id="rId12"/>
    <p:sldLayoutId id="2147483701" r:id="rId13"/>
    <p:sldLayoutId id="2147483711" r:id="rId14"/>
    <p:sldLayoutId id="2147483696" r:id="rId15"/>
    <p:sldLayoutId id="2147483697" r:id="rId16"/>
    <p:sldLayoutId id="2147483699" r:id="rId17"/>
    <p:sldLayoutId id="2147483684" r:id="rId18"/>
    <p:sldLayoutId id="2147483716" r:id="rId19"/>
    <p:sldLayoutId id="2147483688" r:id="rId20"/>
    <p:sldLayoutId id="2147483685" r:id="rId21"/>
    <p:sldLayoutId id="2147483677" r:id="rId22"/>
    <p:sldLayoutId id="2147483678" r:id="rId23"/>
    <p:sldLayoutId id="2147483712" r:id="rId24"/>
    <p:sldLayoutId id="2147483717" r:id="rId25"/>
    <p:sldLayoutId id="2147483718" r:id="rId26"/>
    <p:sldLayoutId id="2147483676" r:id="rId27"/>
    <p:sldLayoutId id="2147483895" r:id="rId28"/>
    <p:sldLayoutId id="2147483933" r:id="rId29"/>
    <p:sldLayoutId id="2147483934" r:id="rId30"/>
    <p:sldLayoutId id="2147483935" r:id="rId31"/>
    <p:sldLayoutId id="2147483936" r:id="rId32"/>
    <p:sldLayoutId id="2147483938" r:id="rId33"/>
    <p:sldLayoutId id="2147483939" r:id="rId34"/>
    <p:sldLayoutId id="2147483940" r:id="rId35"/>
    <p:sldLayoutId id="2147483941" r:id="rId36"/>
    <p:sldLayoutId id="2147483942" r:id="rId37"/>
    <p:sldLayoutId id="2147484082" r:id="rId38"/>
    <p:sldLayoutId id="2147484083" r:id="rId39"/>
    <p:sldLayoutId id="2147484084" r:id="rId40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000" b="1" kern="1200" spc="-40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2000"/>
        </a:spcBef>
        <a:spcAft>
          <a:spcPts val="500"/>
        </a:spcAft>
        <a:buFont typeface="Arial" panose="020B0604020202020204" pitchFamily="34" charset="0"/>
        <a:buNone/>
        <a:defRPr sz="1700" b="1" kern="1200">
          <a:solidFill>
            <a:schemeClr val="accent2"/>
          </a:solidFill>
          <a:latin typeface="+mn-lt"/>
          <a:ea typeface="+mn-ea"/>
          <a:cs typeface="+mn-cs"/>
        </a:defRPr>
      </a:lvl1pPr>
      <a:lvl2pPr marL="285750" indent="-285750" algn="l" defTabSz="914400" rtl="0" eaLnBrk="1" latinLnBrk="0" hangingPunct="1">
        <a:lnSpc>
          <a:spcPct val="110000"/>
        </a:lnSpc>
        <a:spcBef>
          <a:spcPts val="0"/>
        </a:spcBef>
        <a:spcAft>
          <a:spcPts val="500"/>
        </a:spcAft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936000" indent="288000" algn="l" defTabSz="914400" rtl="0" eaLnBrk="1" latinLnBrk="0" hangingPunct="1">
        <a:lnSpc>
          <a:spcPct val="110000"/>
        </a:lnSpc>
        <a:spcBef>
          <a:spcPts val="0"/>
        </a:spcBef>
        <a:spcAft>
          <a:spcPts val="500"/>
        </a:spcAft>
        <a:buFont typeface="Arial" panose="020B0604020202020204" pitchFamily="34" charset="0"/>
        <a:buChar char="•"/>
        <a:defRPr lang="pt-BR" sz="1600" kern="1200" dirty="0">
          <a:solidFill>
            <a:schemeClr val="tx2"/>
          </a:solidFill>
          <a:latin typeface="+mn-lt"/>
          <a:ea typeface="+mn-ea"/>
          <a:cs typeface="+mn-cs"/>
        </a:defRPr>
      </a:lvl3pPr>
      <a:lvl4pPr marL="1657350" indent="-28575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114550" indent="-28575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userDrawn="1">
          <p15:clr>
            <a:srgbClr val="F26B43"/>
          </p15:clr>
        </p15:guide>
        <p15:guide id="2" pos="7680" userDrawn="1">
          <p15:clr>
            <a:srgbClr val="F26B43"/>
          </p15:clr>
        </p15:guide>
        <p15:guide id="3" pos="576" userDrawn="1">
          <p15:clr>
            <a:srgbClr val="F26B43"/>
          </p15:clr>
        </p15:guide>
        <p15:guide id="4" pos="988" userDrawn="1">
          <p15:clr>
            <a:srgbClr val="F26B43"/>
          </p15:clr>
        </p15:guide>
        <p15:guide id="5" pos="1141" userDrawn="1">
          <p15:clr>
            <a:srgbClr val="F26B43"/>
          </p15:clr>
        </p15:guide>
        <p15:guide id="6" pos="1544" userDrawn="1">
          <p15:clr>
            <a:srgbClr val="F26B43"/>
          </p15:clr>
        </p15:guide>
        <p15:guide id="7" pos="1688" userDrawn="1">
          <p15:clr>
            <a:srgbClr val="F26B43"/>
          </p15:clr>
        </p15:guide>
        <p15:guide id="8" pos="2100" userDrawn="1">
          <p15:clr>
            <a:srgbClr val="F26B43"/>
          </p15:clr>
        </p15:guide>
        <p15:guide id="9" pos="2244" userDrawn="1">
          <p15:clr>
            <a:srgbClr val="F26B43"/>
          </p15:clr>
        </p15:guide>
        <p15:guide id="10" pos="2656" userDrawn="1">
          <p15:clr>
            <a:srgbClr val="F26B43"/>
          </p15:clr>
        </p15:guide>
        <p15:guide id="11" pos="2800" userDrawn="1">
          <p15:clr>
            <a:srgbClr val="F26B43"/>
          </p15:clr>
        </p15:guide>
        <p15:guide id="12" pos="3212" userDrawn="1">
          <p15:clr>
            <a:srgbClr val="F26B43"/>
          </p15:clr>
        </p15:guide>
        <p15:guide id="13" pos="3356" userDrawn="1">
          <p15:clr>
            <a:srgbClr val="F26B43"/>
          </p15:clr>
        </p15:guide>
        <p15:guide id="14" pos="3768" userDrawn="1">
          <p15:clr>
            <a:srgbClr val="F26B43"/>
          </p15:clr>
        </p15:guide>
        <p15:guide id="15" pos="3912" userDrawn="1">
          <p15:clr>
            <a:srgbClr val="F26B43"/>
          </p15:clr>
        </p15:guide>
        <p15:guide id="16" pos="4324" userDrawn="1">
          <p15:clr>
            <a:srgbClr val="F26B43"/>
          </p15:clr>
        </p15:guide>
        <p15:guide id="17" pos="4468" userDrawn="1">
          <p15:clr>
            <a:srgbClr val="F26B43"/>
          </p15:clr>
        </p15:guide>
        <p15:guide id="18" pos="4880" userDrawn="1">
          <p15:clr>
            <a:srgbClr val="F26B43"/>
          </p15:clr>
        </p15:guide>
        <p15:guide id="19" pos="5024" userDrawn="1">
          <p15:clr>
            <a:srgbClr val="F26B43"/>
          </p15:clr>
        </p15:guide>
        <p15:guide id="20" pos="5436" userDrawn="1">
          <p15:clr>
            <a:srgbClr val="F26B43"/>
          </p15:clr>
        </p15:guide>
        <p15:guide id="21" pos="5580" userDrawn="1">
          <p15:clr>
            <a:srgbClr val="F26B43"/>
          </p15:clr>
        </p15:guide>
        <p15:guide id="22" pos="5992" userDrawn="1">
          <p15:clr>
            <a:srgbClr val="F26B43"/>
          </p15:clr>
        </p15:guide>
        <p15:guide id="23" pos="6136" userDrawn="1">
          <p15:clr>
            <a:srgbClr val="F26B43"/>
          </p15:clr>
        </p15:guide>
        <p15:guide id="24" pos="6548" userDrawn="1">
          <p15:clr>
            <a:srgbClr val="F26B43"/>
          </p15:clr>
        </p15:guide>
        <p15:guide id="25" pos="6692" userDrawn="1">
          <p15:clr>
            <a:srgbClr val="F26B43"/>
          </p15:clr>
        </p15:guide>
        <p15:guide id="26" pos="7104" userDrawn="1">
          <p15:clr>
            <a:srgbClr val="F26B43"/>
          </p15:clr>
        </p15:guide>
        <p15:guide id="27" orient="horz" userDrawn="1">
          <p15:clr>
            <a:srgbClr val="F26B43"/>
          </p15:clr>
        </p15:guide>
        <p15:guide id="28" orient="horz" pos="4320" userDrawn="1">
          <p15:clr>
            <a:srgbClr val="F26B43"/>
          </p15:clr>
        </p15:guide>
        <p15:guide id="29" orient="horz" pos="403" userDrawn="1">
          <p15:clr>
            <a:srgbClr val="F26B43"/>
          </p15:clr>
        </p15:guide>
        <p15:guide id="30" orient="horz" pos="716" userDrawn="1">
          <p15:clr>
            <a:srgbClr val="F26B43"/>
          </p15:clr>
        </p15:guide>
        <p15:guide id="31" orient="horz" pos="860" userDrawn="1">
          <p15:clr>
            <a:srgbClr val="F26B43"/>
          </p15:clr>
        </p15:guide>
        <p15:guide id="32" orient="horz" pos="1173" userDrawn="1">
          <p15:clr>
            <a:srgbClr val="F26B43"/>
          </p15:clr>
        </p15:guide>
        <p15:guide id="33" orient="horz" pos="1317" userDrawn="1">
          <p15:clr>
            <a:srgbClr val="F26B43"/>
          </p15:clr>
        </p15:guide>
        <p15:guide id="34" orient="horz" pos="1630" userDrawn="1">
          <p15:clr>
            <a:srgbClr val="F26B43"/>
          </p15:clr>
        </p15:guide>
        <p15:guide id="35" orient="horz" pos="1774" userDrawn="1">
          <p15:clr>
            <a:srgbClr val="F26B43"/>
          </p15:clr>
        </p15:guide>
        <p15:guide id="36" orient="horz" pos="2088" userDrawn="1">
          <p15:clr>
            <a:srgbClr val="F26B43"/>
          </p15:clr>
        </p15:guide>
        <p15:guide id="37" orient="horz" pos="2232" userDrawn="1">
          <p15:clr>
            <a:srgbClr val="F26B43"/>
          </p15:clr>
        </p15:guide>
        <p15:guide id="38" orient="horz" pos="2545" userDrawn="1">
          <p15:clr>
            <a:srgbClr val="F26B43"/>
          </p15:clr>
        </p15:guide>
        <p15:guide id="39" orient="horz" pos="2689" userDrawn="1">
          <p15:clr>
            <a:srgbClr val="F26B43"/>
          </p15:clr>
        </p15:guide>
        <p15:guide id="40" orient="horz" pos="3002" userDrawn="1">
          <p15:clr>
            <a:srgbClr val="F26B43"/>
          </p15:clr>
        </p15:guide>
        <p15:guide id="41" orient="horz" pos="3146" userDrawn="1">
          <p15:clr>
            <a:srgbClr val="F26B43"/>
          </p15:clr>
        </p15:guide>
        <p15:guide id="42" orient="horz" pos="3459" userDrawn="1">
          <p15:clr>
            <a:srgbClr val="F26B43"/>
          </p15:clr>
        </p15:guide>
        <p15:guide id="43" orient="horz" pos="3603" userDrawn="1">
          <p15:clr>
            <a:srgbClr val="F26B43"/>
          </p15:clr>
        </p15:guide>
        <p15:guide id="44" orient="horz" pos="3916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blackGray">
      <p:bgPr>
        <a:solidFill>
          <a:srgbClr val="F3F5F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7935B6F9-052D-01EC-95D7-2A59F7A5C41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0"/>
            </p:custDataLst>
            <p:extLst>
              <p:ext uri="{D42A27DB-BD31-4B8C-83A1-F6EECF244321}">
                <p14:modId xmlns:p14="http://schemas.microsoft.com/office/powerpoint/2010/main" val="3312980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31" imgW="425" imgH="424" progId="TCLayout.ActiveDocument.1">
                  <p:embed/>
                </p:oleObj>
              </mc:Choice>
              <mc:Fallback>
                <p:oleObj name="Slide do think-cell" r:id="rId31" imgW="425" imgH="42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935B6F9-052D-01EC-95D7-2A59F7A5C4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ço Reservado para Título 1">
            <a:extLst>
              <a:ext uri="{FF2B5EF4-FFF2-40B4-BE49-F238E27FC236}">
                <a16:creationId xmlns:a16="http://schemas.microsoft.com/office/drawing/2014/main" id="{41375562-E38E-3A5D-DD5E-76EE13574F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4400" y="681037"/>
            <a:ext cx="10363200" cy="128111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C9C89F05-6560-FB4B-012E-55287B7FDE6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914400" y="2090738"/>
            <a:ext cx="10363200" cy="408622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/>
              <a:t>Clique para editar os estilos de texto Mestres</a:t>
            </a:r>
          </a:p>
          <a:p>
            <a:pPr marL="0" marR="0" lvl="1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BR"/>
              <a:t>Segundo nível</a:t>
            </a:r>
          </a:p>
          <a:p>
            <a:pPr marL="792000" marR="0" lvl="2" indent="-288000" algn="l" defTabSz="914400" rtl="0" eaLnBrk="1" fontAlgn="auto" latinLnBrk="0" hangingPunct="1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Blip>
                <a:blip r:embed="rId33">
                  <a:extLst>
                    <a:ext uri="{96DAC541-7B7A-43D3-8B79-37D633B846F1}">
                      <asvg:svgBlip xmlns:asvg="http://schemas.microsoft.com/office/drawing/2016/SVG/main" r:embed="rId34"/>
                    </a:ext>
                  </a:extLst>
                </a:blip>
              </a:buBlip>
              <a:tabLst/>
              <a:defRPr/>
            </a:pPr>
            <a:endParaRPr lang="pt-BR"/>
          </a:p>
        </p:txBody>
      </p:sp>
      <p:sp>
        <p:nvSpPr>
          <p:cNvPr id="7" name="Rectangle 7">
            <a:extLst>
              <a:ext uri="{FF2B5EF4-FFF2-40B4-BE49-F238E27FC236}">
                <a16:creationId xmlns:a16="http://schemas.microsoft.com/office/drawing/2014/main" id="{BF552152-09DD-4754-E8EA-28C8CDC581EB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-806451" y="1"/>
            <a:ext cx="711200" cy="54292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 algn="r"/>
            <a:r>
              <a:rPr lang="en-US" sz="900" b="1">
                <a:solidFill>
                  <a:schemeClr val="bg1"/>
                </a:solidFill>
              </a:rPr>
              <a:t> R 45</a:t>
            </a:r>
          </a:p>
          <a:p>
            <a:pPr lvl="0" algn="r"/>
            <a:r>
              <a:rPr lang="en-US" sz="900" b="1">
                <a:solidFill>
                  <a:schemeClr val="bg1"/>
                </a:solidFill>
              </a:rPr>
              <a:t> G 61</a:t>
            </a:r>
          </a:p>
          <a:p>
            <a:pPr lvl="0" algn="r"/>
            <a:r>
              <a:rPr lang="en-US" sz="900" b="1">
                <a:solidFill>
                  <a:schemeClr val="bg1"/>
                </a:solidFill>
              </a:rPr>
              <a:t>B 112</a:t>
            </a:r>
          </a:p>
        </p:txBody>
      </p:sp>
      <p:sp>
        <p:nvSpPr>
          <p:cNvPr id="8" name="Rectangle 8">
            <a:extLst>
              <a:ext uri="{FF2B5EF4-FFF2-40B4-BE49-F238E27FC236}">
                <a16:creationId xmlns:a16="http://schemas.microsoft.com/office/drawing/2014/main" id="{745BB3BD-7CE9-F565-F21C-426C7596E71B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-806451" y="621506"/>
            <a:ext cx="711200" cy="5334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 algn="r"/>
            <a:r>
              <a:rPr lang="en-US" sz="900" b="1">
                <a:solidFill>
                  <a:schemeClr val="bg1"/>
                </a:solidFill>
              </a:rPr>
              <a:t> R 244</a:t>
            </a:r>
          </a:p>
          <a:p>
            <a:pPr lvl="0" algn="r"/>
            <a:r>
              <a:rPr lang="en-US" sz="900" b="1">
                <a:solidFill>
                  <a:schemeClr val="bg1"/>
                </a:solidFill>
              </a:rPr>
              <a:t> G 97</a:t>
            </a:r>
          </a:p>
          <a:p>
            <a:pPr lvl="0" algn="r"/>
            <a:r>
              <a:rPr lang="en-US" sz="900" b="1">
                <a:solidFill>
                  <a:schemeClr val="bg1"/>
                </a:solidFill>
              </a:rPr>
              <a:t>B 77</a:t>
            </a:r>
          </a:p>
        </p:txBody>
      </p:sp>
      <p:sp>
        <p:nvSpPr>
          <p:cNvPr id="9" name="Rectangle 9">
            <a:extLst>
              <a:ext uri="{FF2B5EF4-FFF2-40B4-BE49-F238E27FC236}">
                <a16:creationId xmlns:a16="http://schemas.microsoft.com/office/drawing/2014/main" id="{F7F9F265-89D1-78AC-55E6-238CE5D4A1E4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-806451" y="1233488"/>
            <a:ext cx="711200" cy="54292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r"/>
            <a:r>
              <a:rPr lang="en-US" sz="900" b="1">
                <a:solidFill>
                  <a:schemeClr val="bg1"/>
                </a:solidFill>
              </a:rPr>
              <a:t>R 176</a:t>
            </a:r>
          </a:p>
          <a:p>
            <a:pPr algn="r"/>
            <a:r>
              <a:rPr lang="en-US" sz="900" b="1">
                <a:solidFill>
                  <a:schemeClr val="bg1"/>
                </a:solidFill>
              </a:rPr>
              <a:t>G 183</a:t>
            </a:r>
          </a:p>
          <a:p>
            <a:pPr algn="r"/>
            <a:r>
              <a:rPr lang="en-US" sz="900" b="1">
                <a:solidFill>
                  <a:schemeClr val="bg1"/>
                </a:solidFill>
              </a:rPr>
              <a:t>B 193</a:t>
            </a:r>
          </a:p>
        </p:txBody>
      </p:sp>
      <p:pic>
        <p:nvPicPr>
          <p:cNvPr id="27" name="Gráfico 26">
            <a:extLst>
              <a:ext uri="{FF2B5EF4-FFF2-40B4-BE49-F238E27FC236}">
                <a16:creationId xmlns:a16="http://schemas.microsoft.com/office/drawing/2014/main" id="{31F32912-5504-1525-E4B7-761D37AF19E9}"/>
              </a:ext>
            </a:extLst>
          </p:cNvPr>
          <p:cNvPicPr>
            <a:picLocks noChangeAspect="1"/>
          </p:cNvPicPr>
          <p:nvPr userDrawn="1"/>
        </p:nvPicPr>
        <p:blipFill>
          <a:blip r:embed="rId35">
            <a:extLst>
              <a:ext uri="{96DAC541-7B7A-43D3-8B79-37D633B846F1}">
                <asvg:svgBlip xmlns:asvg="http://schemas.microsoft.com/office/drawing/2016/SVG/main" r:embed="rId36"/>
              </a:ext>
            </a:extLst>
          </a:blip>
          <a:stretch>
            <a:fillRect/>
          </a:stretch>
        </p:blipFill>
        <p:spPr>
          <a:xfrm>
            <a:off x="-806451" y="2343150"/>
            <a:ext cx="711200" cy="417743"/>
          </a:xfrm>
          <a:prstGeom prst="rect">
            <a:avLst/>
          </a:prstGeom>
        </p:spPr>
      </p:pic>
      <p:pic>
        <p:nvPicPr>
          <p:cNvPr id="29" name="Gráfico 28">
            <a:extLst>
              <a:ext uri="{FF2B5EF4-FFF2-40B4-BE49-F238E27FC236}">
                <a16:creationId xmlns:a16="http://schemas.microsoft.com/office/drawing/2014/main" id="{6CA5DEA4-EEAB-3449-C3DD-83C8AC448769}"/>
              </a:ext>
            </a:extLst>
          </p:cNvPr>
          <p:cNvPicPr>
            <a:picLocks noChangeAspect="1"/>
          </p:cNvPicPr>
          <p:nvPr userDrawn="1"/>
        </p:nvPicPr>
        <p:blipFill>
          <a:blip r:embed="rId37">
            <a:extLst>
              <a:ext uri="{96DAC541-7B7A-43D3-8B79-37D633B846F1}">
                <asvg:svgBlip xmlns:asvg="http://schemas.microsoft.com/office/drawing/2016/SVG/main" r:embed="rId38"/>
              </a:ext>
            </a:extLst>
          </a:blip>
          <a:stretch>
            <a:fillRect/>
          </a:stretch>
        </p:blipFill>
        <p:spPr>
          <a:xfrm>
            <a:off x="-806451" y="2760893"/>
            <a:ext cx="711200" cy="334885"/>
          </a:xfrm>
          <a:prstGeom prst="rect">
            <a:avLst/>
          </a:prstGeom>
        </p:spPr>
      </p:pic>
      <p:pic>
        <p:nvPicPr>
          <p:cNvPr id="31" name="Gráfico 30">
            <a:extLst>
              <a:ext uri="{FF2B5EF4-FFF2-40B4-BE49-F238E27FC236}">
                <a16:creationId xmlns:a16="http://schemas.microsoft.com/office/drawing/2014/main" id="{B90C53BE-8249-C3B9-7787-556D2CC13226}"/>
              </a:ext>
            </a:extLst>
          </p:cNvPr>
          <p:cNvPicPr>
            <a:picLocks noChangeAspect="1"/>
          </p:cNvPicPr>
          <p:nvPr userDrawn="1"/>
        </p:nvPicPr>
        <p:blipFill>
          <a:blip r:embed="rId33">
            <a:extLst>
              <a:ext uri="{96DAC541-7B7A-43D3-8B79-37D633B846F1}">
                <asvg:svgBlip xmlns:asvg="http://schemas.microsoft.com/office/drawing/2016/SVG/main" r:embed="rId34"/>
              </a:ext>
            </a:extLst>
          </a:blip>
          <a:stretch>
            <a:fillRect/>
          </a:stretch>
        </p:blipFill>
        <p:spPr>
          <a:xfrm>
            <a:off x="-233348" y="3254590"/>
            <a:ext cx="138097" cy="162264"/>
          </a:xfrm>
          <a:prstGeom prst="rect">
            <a:avLst/>
          </a:prstGeom>
        </p:spPr>
      </p:pic>
      <p:pic>
        <p:nvPicPr>
          <p:cNvPr id="14" name="Gráfico 13" descr="Matérias primas estrutura de tópicos">
            <a:extLst>
              <a:ext uri="{FF2B5EF4-FFF2-40B4-BE49-F238E27FC236}">
                <a16:creationId xmlns:a16="http://schemas.microsoft.com/office/drawing/2014/main" id="{8AD833E9-22C0-601A-0AE3-555FB8C37570}"/>
              </a:ext>
            </a:extLst>
          </p:cNvPr>
          <p:cNvPicPr>
            <a:picLocks noChangeAspect="1"/>
          </p:cNvPicPr>
          <p:nvPr userDrawn="1"/>
        </p:nvPicPr>
        <p:blipFill>
          <a:blip r:embed="rId39">
            <a:extLst>
              <a:ext uri="{96DAC541-7B7A-43D3-8B79-37D633B846F1}">
                <asvg:svgBlip xmlns:asvg="http://schemas.microsoft.com/office/drawing/2016/SVG/main" r:embed="rId40"/>
              </a:ext>
            </a:extLst>
          </a:blip>
          <a:stretch>
            <a:fillRect/>
          </a:stretch>
        </p:blipFill>
        <p:spPr>
          <a:xfrm>
            <a:off x="14457074" y="2993159"/>
            <a:ext cx="242954" cy="242954"/>
          </a:xfrm>
          <a:prstGeom prst="rect">
            <a:avLst/>
          </a:prstGeom>
        </p:spPr>
      </p:pic>
      <p:pic>
        <p:nvPicPr>
          <p:cNvPr id="15" name="Gráfico 14" descr="Ferramentas de mineração estrutura de tópicos">
            <a:extLst>
              <a:ext uri="{FF2B5EF4-FFF2-40B4-BE49-F238E27FC236}">
                <a16:creationId xmlns:a16="http://schemas.microsoft.com/office/drawing/2014/main" id="{CCA2FCD9-F510-D80C-4745-0BF4C8EDB219}"/>
              </a:ext>
            </a:extLst>
          </p:cNvPr>
          <p:cNvPicPr>
            <a:picLocks noChangeAspect="1"/>
          </p:cNvPicPr>
          <p:nvPr userDrawn="1"/>
        </p:nvPicPr>
        <p:blipFill>
          <a:blip r:embed="rId41">
            <a:extLst>
              <a:ext uri="{96DAC541-7B7A-43D3-8B79-37D633B846F1}">
                <asvg:svgBlip xmlns:asvg="http://schemas.microsoft.com/office/drawing/2016/SVG/main" r:embed="rId42"/>
              </a:ext>
            </a:extLst>
          </a:blip>
          <a:stretch>
            <a:fillRect/>
          </a:stretch>
        </p:blipFill>
        <p:spPr>
          <a:xfrm>
            <a:off x="14742849" y="2121862"/>
            <a:ext cx="242952" cy="242952"/>
          </a:xfrm>
          <a:prstGeom prst="rect">
            <a:avLst/>
          </a:prstGeom>
        </p:spPr>
      </p:pic>
      <p:pic>
        <p:nvPicPr>
          <p:cNvPr id="16" name="Gráfico 15" descr="Giroteodolito estrutura de tópicos">
            <a:extLst>
              <a:ext uri="{FF2B5EF4-FFF2-40B4-BE49-F238E27FC236}">
                <a16:creationId xmlns:a16="http://schemas.microsoft.com/office/drawing/2014/main" id="{F0FBC73D-E02E-FE83-D5BA-3DC8280E3019}"/>
              </a:ext>
            </a:extLst>
          </p:cNvPr>
          <p:cNvPicPr>
            <a:picLocks noChangeAspect="1"/>
          </p:cNvPicPr>
          <p:nvPr userDrawn="1"/>
        </p:nvPicPr>
        <p:blipFill>
          <a:blip r:embed="rId43">
            <a:extLst>
              <a:ext uri="{96DAC541-7B7A-43D3-8B79-37D633B846F1}">
                <asvg:svgBlip xmlns:asvg="http://schemas.microsoft.com/office/drawing/2016/SVG/main" r:embed="rId44"/>
              </a:ext>
            </a:extLst>
          </a:blip>
          <a:stretch>
            <a:fillRect/>
          </a:stretch>
        </p:blipFill>
        <p:spPr>
          <a:xfrm>
            <a:off x="13805097" y="1382027"/>
            <a:ext cx="283735" cy="283735"/>
          </a:xfrm>
          <a:prstGeom prst="rect">
            <a:avLst/>
          </a:prstGeom>
        </p:spPr>
      </p:pic>
      <p:pic>
        <p:nvPicPr>
          <p:cNvPr id="17" name="Gráfico 16" descr="Trabalho estrutura de tópicos">
            <a:extLst>
              <a:ext uri="{FF2B5EF4-FFF2-40B4-BE49-F238E27FC236}">
                <a16:creationId xmlns:a16="http://schemas.microsoft.com/office/drawing/2014/main" id="{32532361-509B-7A46-B1D7-55CBC5498FC0}"/>
              </a:ext>
            </a:extLst>
          </p:cNvPr>
          <p:cNvPicPr>
            <a:picLocks noChangeAspect="1"/>
          </p:cNvPicPr>
          <p:nvPr userDrawn="1"/>
        </p:nvPicPr>
        <p:blipFill>
          <a:blip r:embed="rId45">
            <a:extLst>
              <a:ext uri="{96DAC541-7B7A-43D3-8B79-37D633B846F1}">
                <asvg:svgBlip xmlns:asvg="http://schemas.microsoft.com/office/drawing/2016/SVG/main" r:embed="rId46"/>
              </a:ext>
            </a:extLst>
          </a:blip>
          <a:stretch>
            <a:fillRect/>
          </a:stretch>
        </p:blipFill>
        <p:spPr>
          <a:xfrm>
            <a:off x="13459014" y="2272264"/>
            <a:ext cx="242952" cy="242952"/>
          </a:xfrm>
          <a:prstGeom prst="rect">
            <a:avLst/>
          </a:prstGeom>
        </p:spPr>
      </p:pic>
      <p:pic>
        <p:nvPicPr>
          <p:cNvPr id="18" name="Gráfico 17" descr="Mapa da topografia estrutura de tópicos">
            <a:extLst>
              <a:ext uri="{FF2B5EF4-FFF2-40B4-BE49-F238E27FC236}">
                <a16:creationId xmlns:a16="http://schemas.microsoft.com/office/drawing/2014/main" id="{1BDC512B-4ED3-961D-76C0-58A033B4863F}"/>
              </a:ext>
            </a:extLst>
          </p:cNvPr>
          <p:cNvPicPr>
            <a:picLocks noChangeAspect="1"/>
          </p:cNvPicPr>
          <p:nvPr userDrawn="1"/>
        </p:nvPicPr>
        <p:blipFill>
          <a:blip r:embed="rId47">
            <a:extLst>
              <a:ext uri="{96DAC541-7B7A-43D3-8B79-37D633B846F1}">
                <asvg:svgBlip xmlns:asvg="http://schemas.microsoft.com/office/drawing/2016/SVG/main" r:embed="rId48"/>
              </a:ext>
            </a:extLst>
          </a:blip>
          <a:stretch>
            <a:fillRect/>
          </a:stretch>
        </p:blipFill>
        <p:spPr>
          <a:xfrm>
            <a:off x="13383978" y="5325046"/>
            <a:ext cx="214270" cy="214270"/>
          </a:xfrm>
          <a:prstGeom prst="rect">
            <a:avLst/>
          </a:prstGeom>
        </p:spPr>
      </p:pic>
      <p:pic>
        <p:nvPicPr>
          <p:cNvPr id="19" name="Gráfico 18" descr="Caminhão de lixo estrutura de tópicos">
            <a:extLst>
              <a:ext uri="{FF2B5EF4-FFF2-40B4-BE49-F238E27FC236}">
                <a16:creationId xmlns:a16="http://schemas.microsoft.com/office/drawing/2014/main" id="{71A9711F-F456-49EE-5BF2-E847298745B0}"/>
              </a:ext>
            </a:extLst>
          </p:cNvPr>
          <p:cNvPicPr>
            <a:picLocks noChangeAspect="1"/>
          </p:cNvPicPr>
          <p:nvPr userDrawn="1"/>
        </p:nvPicPr>
        <p:blipFill>
          <a:blip r:embed="rId49">
            <a:extLst>
              <a:ext uri="{96DAC541-7B7A-43D3-8B79-37D633B846F1}">
                <asvg:svgBlip xmlns:asvg="http://schemas.microsoft.com/office/drawing/2016/SVG/main" r:embed="rId50"/>
              </a:ext>
            </a:extLst>
          </a:blip>
          <a:stretch>
            <a:fillRect/>
          </a:stretch>
        </p:blipFill>
        <p:spPr>
          <a:xfrm>
            <a:off x="13596049" y="1112339"/>
            <a:ext cx="211834" cy="211834"/>
          </a:xfrm>
          <a:prstGeom prst="rect">
            <a:avLst/>
          </a:prstGeom>
        </p:spPr>
      </p:pic>
      <p:pic>
        <p:nvPicPr>
          <p:cNvPr id="20" name="Gráfico 19" descr="Área de Transferência estrutura de tópicos">
            <a:extLst>
              <a:ext uri="{FF2B5EF4-FFF2-40B4-BE49-F238E27FC236}">
                <a16:creationId xmlns:a16="http://schemas.microsoft.com/office/drawing/2014/main" id="{0B7D5D2B-E920-5228-5D71-03FA4EC24AB7}"/>
              </a:ext>
            </a:extLst>
          </p:cNvPr>
          <p:cNvPicPr>
            <a:picLocks noChangeAspect="1"/>
          </p:cNvPicPr>
          <p:nvPr userDrawn="1"/>
        </p:nvPicPr>
        <p:blipFill>
          <a:blip r:embed="rId51">
            <a:extLst>
              <a:ext uri="{96DAC541-7B7A-43D3-8B79-37D633B846F1}">
                <asvg:svgBlip xmlns:asvg="http://schemas.microsoft.com/office/drawing/2016/SVG/main" r:embed="rId52"/>
              </a:ext>
            </a:extLst>
          </a:blip>
          <a:stretch>
            <a:fillRect/>
          </a:stretch>
        </p:blipFill>
        <p:spPr>
          <a:xfrm>
            <a:off x="12940699" y="5716455"/>
            <a:ext cx="199733" cy="199733"/>
          </a:xfrm>
          <a:prstGeom prst="rect">
            <a:avLst/>
          </a:prstGeom>
        </p:spPr>
      </p:pic>
      <p:pic>
        <p:nvPicPr>
          <p:cNvPr id="21" name="Gráfico 20" descr="Área de Transferência Marcada estrutura de tópicos">
            <a:extLst>
              <a:ext uri="{FF2B5EF4-FFF2-40B4-BE49-F238E27FC236}">
                <a16:creationId xmlns:a16="http://schemas.microsoft.com/office/drawing/2014/main" id="{F1D20945-8D16-40DE-2D51-2B7423C50A81}"/>
              </a:ext>
            </a:extLst>
          </p:cNvPr>
          <p:cNvPicPr>
            <a:picLocks noChangeAspect="1"/>
          </p:cNvPicPr>
          <p:nvPr userDrawn="1"/>
        </p:nvPicPr>
        <p:blipFill>
          <a:blip r:embed="rId53">
            <a:extLst>
              <a:ext uri="{96DAC541-7B7A-43D3-8B79-37D633B846F1}">
                <asvg:svgBlip xmlns:asvg="http://schemas.microsoft.com/office/drawing/2016/SVG/main" r:embed="rId54"/>
              </a:ext>
            </a:extLst>
          </a:blip>
          <a:stretch>
            <a:fillRect/>
          </a:stretch>
        </p:blipFill>
        <p:spPr>
          <a:xfrm>
            <a:off x="14804579" y="3454273"/>
            <a:ext cx="274845" cy="274845"/>
          </a:xfrm>
          <a:prstGeom prst="rect">
            <a:avLst/>
          </a:prstGeom>
        </p:spPr>
      </p:pic>
      <p:pic>
        <p:nvPicPr>
          <p:cNvPr id="22" name="Gráfico 21" descr="Bússola estrutura de tópicos">
            <a:extLst>
              <a:ext uri="{FF2B5EF4-FFF2-40B4-BE49-F238E27FC236}">
                <a16:creationId xmlns:a16="http://schemas.microsoft.com/office/drawing/2014/main" id="{6C420177-92AA-84B7-F0A4-24F84B8716C5}"/>
              </a:ext>
            </a:extLst>
          </p:cNvPr>
          <p:cNvPicPr>
            <a:picLocks noChangeAspect="1"/>
          </p:cNvPicPr>
          <p:nvPr userDrawn="1"/>
        </p:nvPicPr>
        <p:blipFill>
          <a:blip r:embed="rId55">
            <a:extLst>
              <a:ext uri="{96DAC541-7B7A-43D3-8B79-37D633B846F1}">
                <asvg:svgBlip xmlns:asvg="http://schemas.microsoft.com/office/drawing/2016/SVG/main" r:embed="rId56"/>
              </a:ext>
            </a:extLst>
          </a:blip>
          <a:stretch>
            <a:fillRect/>
          </a:stretch>
        </p:blipFill>
        <p:spPr>
          <a:xfrm flipH="1">
            <a:off x="14776828" y="3143563"/>
            <a:ext cx="274844" cy="274844"/>
          </a:xfrm>
          <a:prstGeom prst="rect">
            <a:avLst/>
          </a:prstGeom>
        </p:spPr>
      </p:pic>
      <p:pic>
        <p:nvPicPr>
          <p:cNvPr id="23" name="Gráfico 22" descr="Cristais estrutura de tópicos">
            <a:extLst>
              <a:ext uri="{FF2B5EF4-FFF2-40B4-BE49-F238E27FC236}">
                <a16:creationId xmlns:a16="http://schemas.microsoft.com/office/drawing/2014/main" id="{132D3788-0ED4-1DB7-6F66-701745F12987}"/>
              </a:ext>
            </a:extLst>
          </p:cNvPr>
          <p:cNvPicPr>
            <a:picLocks noChangeAspect="1"/>
          </p:cNvPicPr>
          <p:nvPr userDrawn="1"/>
        </p:nvPicPr>
        <p:blipFill>
          <a:blip r:embed="rId57">
            <a:extLst>
              <a:ext uri="{96DAC541-7B7A-43D3-8B79-37D633B846F1}">
                <asvg:svgBlip xmlns:asvg="http://schemas.microsoft.com/office/drawing/2016/SVG/main" r:embed="rId58"/>
              </a:ext>
            </a:extLst>
          </a:blip>
          <a:stretch>
            <a:fillRect/>
          </a:stretch>
        </p:blipFill>
        <p:spPr>
          <a:xfrm>
            <a:off x="13302357" y="4851361"/>
            <a:ext cx="271075" cy="271075"/>
          </a:xfrm>
          <a:prstGeom prst="rect">
            <a:avLst/>
          </a:prstGeom>
        </p:spPr>
      </p:pic>
      <p:pic>
        <p:nvPicPr>
          <p:cNvPr id="24" name="Gráfico 23" descr="Trem de brinquedo estrutura de tópicos">
            <a:extLst>
              <a:ext uri="{FF2B5EF4-FFF2-40B4-BE49-F238E27FC236}">
                <a16:creationId xmlns:a16="http://schemas.microsoft.com/office/drawing/2014/main" id="{4C7606AE-ED0D-B3B7-E088-85E82B0974ED}"/>
              </a:ext>
            </a:extLst>
          </p:cNvPr>
          <p:cNvPicPr>
            <a:picLocks noChangeAspect="1"/>
          </p:cNvPicPr>
          <p:nvPr userDrawn="1"/>
        </p:nvPicPr>
        <p:blipFill>
          <a:blip r:embed="rId59">
            <a:extLst>
              <a:ext uri="{96DAC541-7B7A-43D3-8B79-37D633B846F1}">
                <asvg:svgBlip xmlns:asvg="http://schemas.microsoft.com/office/drawing/2016/SVG/main" r:embed="rId60"/>
              </a:ext>
            </a:extLst>
          </a:blip>
          <a:stretch>
            <a:fillRect/>
          </a:stretch>
        </p:blipFill>
        <p:spPr>
          <a:xfrm>
            <a:off x="14114976" y="701726"/>
            <a:ext cx="211834" cy="211834"/>
          </a:xfrm>
          <a:prstGeom prst="rect">
            <a:avLst/>
          </a:prstGeom>
        </p:spPr>
      </p:pic>
      <p:pic>
        <p:nvPicPr>
          <p:cNvPr id="25" name="Gráfico 24" descr="Carrinho de mão estrutura de tópicos">
            <a:extLst>
              <a:ext uri="{FF2B5EF4-FFF2-40B4-BE49-F238E27FC236}">
                <a16:creationId xmlns:a16="http://schemas.microsoft.com/office/drawing/2014/main" id="{0BDD9D82-3131-3A33-2A53-896A4B663258}"/>
              </a:ext>
            </a:extLst>
          </p:cNvPr>
          <p:cNvPicPr>
            <a:picLocks noChangeAspect="1"/>
          </p:cNvPicPr>
          <p:nvPr userDrawn="1"/>
        </p:nvPicPr>
        <p:blipFill>
          <a:blip r:embed="rId61">
            <a:extLst>
              <a:ext uri="{96DAC541-7B7A-43D3-8B79-37D633B846F1}">
                <asvg:svgBlip xmlns:asvg="http://schemas.microsoft.com/office/drawing/2016/SVG/main" r:embed="rId62"/>
              </a:ext>
            </a:extLst>
          </a:blip>
          <a:stretch>
            <a:fillRect/>
          </a:stretch>
        </p:blipFill>
        <p:spPr>
          <a:xfrm>
            <a:off x="13714980" y="500417"/>
            <a:ext cx="293859" cy="293859"/>
          </a:xfrm>
          <a:prstGeom prst="rect">
            <a:avLst/>
          </a:prstGeom>
        </p:spPr>
      </p:pic>
      <p:pic>
        <p:nvPicPr>
          <p:cNvPr id="26" name="Gráfico 25" descr="Barras de ouro estrutura de tópicos">
            <a:extLst>
              <a:ext uri="{FF2B5EF4-FFF2-40B4-BE49-F238E27FC236}">
                <a16:creationId xmlns:a16="http://schemas.microsoft.com/office/drawing/2014/main" id="{8E3FCE5E-2E30-1A9B-329F-E68142982B59}"/>
              </a:ext>
            </a:extLst>
          </p:cNvPr>
          <p:cNvPicPr>
            <a:picLocks noChangeAspect="1"/>
          </p:cNvPicPr>
          <p:nvPr userDrawn="1"/>
        </p:nvPicPr>
        <p:blipFill>
          <a:blip r:embed="rId63">
            <a:extLst>
              <a:ext uri="{96DAC541-7B7A-43D3-8B79-37D633B846F1}">
                <asvg:svgBlip xmlns:asvg="http://schemas.microsoft.com/office/drawing/2016/SVG/main" r:embed="rId64"/>
              </a:ext>
            </a:extLst>
          </a:blip>
          <a:stretch>
            <a:fillRect/>
          </a:stretch>
        </p:blipFill>
        <p:spPr>
          <a:xfrm>
            <a:off x="14888604" y="2573070"/>
            <a:ext cx="242953" cy="242953"/>
          </a:xfrm>
          <a:prstGeom prst="rect">
            <a:avLst/>
          </a:prstGeom>
        </p:spPr>
      </p:pic>
      <p:pic>
        <p:nvPicPr>
          <p:cNvPr id="28" name="Gráfico 27" descr="Pote de ouro estrutura de tópicos">
            <a:extLst>
              <a:ext uri="{FF2B5EF4-FFF2-40B4-BE49-F238E27FC236}">
                <a16:creationId xmlns:a16="http://schemas.microsoft.com/office/drawing/2014/main" id="{CF9EE902-47A5-5A68-7DA4-26052033AE0B}"/>
              </a:ext>
            </a:extLst>
          </p:cNvPr>
          <p:cNvPicPr>
            <a:picLocks noChangeAspect="1"/>
          </p:cNvPicPr>
          <p:nvPr userDrawn="1"/>
        </p:nvPicPr>
        <p:blipFill>
          <a:blip r:embed="rId65">
            <a:extLst>
              <a:ext uri="{96DAC541-7B7A-43D3-8B79-37D633B846F1}">
                <asvg:svgBlip xmlns:asvg="http://schemas.microsoft.com/office/drawing/2016/SVG/main" r:embed="rId66"/>
              </a:ext>
            </a:extLst>
          </a:blip>
          <a:stretch>
            <a:fillRect/>
          </a:stretch>
        </p:blipFill>
        <p:spPr>
          <a:xfrm>
            <a:off x="13325342" y="821010"/>
            <a:ext cx="255463" cy="255463"/>
          </a:xfrm>
          <a:prstGeom prst="rect">
            <a:avLst/>
          </a:prstGeom>
        </p:spPr>
      </p:pic>
      <p:pic>
        <p:nvPicPr>
          <p:cNvPr id="30" name="Gráfico 29" descr="Mapa do tesouro estrutura de tópicos">
            <a:extLst>
              <a:ext uri="{FF2B5EF4-FFF2-40B4-BE49-F238E27FC236}">
                <a16:creationId xmlns:a16="http://schemas.microsoft.com/office/drawing/2014/main" id="{01F3B905-75F9-0EED-E25B-960161825AA8}"/>
              </a:ext>
            </a:extLst>
          </p:cNvPr>
          <p:cNvPicPr>
            <a:picLocks noChangeAspect="1"/>
          </p:cNvPicPr>
          <p:nvPr userDrawn="1"/>
        </p:nvPicPr>
        <p:blipFill>
          <a:blip r:embed="rId67">
            <a:extLst>
              <a:ext uri="{96DAC541-7B7A-43D3-8B79-37D633B846F1}">
                <asvg:svgBlip xmlns:asvg="http://schemas.microsoft.com/office/drawing/2016/SVG/main" r:embed="rId68"/>
              </a:ext>
            </a:extLst>
          </a:blip>
          <a:stretch>
            <a:fillRect/>
          </a:stretch>
        </p:blipFill>
        <p:spPr>
          <a:xfrm>
            <a:off x="14240517" y="4579957"/>
            <a:ext cx="220966" cy="220966"/>
          </a:xfrm>
          <a:prstGeom prst="rect">
            <a:avLst/>
          </a:prstGeom>
        </p:spPr>
      </p:pic>
      <p:pic>
        <p:nvPicPr>
          <p:cNvPr id="32" name="Gráfico 31" descr="Mapa com alfinete estrutura de tópicos">
            <a:extLst>
              <a:ext uri="{FF2B5EF4-FFF2-40B4-BE49-F238E27FC236}">
                <a16:creationId xmlns:a16="http://schemas.microsoft.com/office/drawing/2014/main" id="{B2220691-CCCA-00DE-BDC0-2065FABC5A49}"/>
              </a:ext>
            </a:extLst>
          </p:cNvPr>
          <p:cNvPicPr>
            <a:picLocks noChangeAspect="1"/>
          </p:cNvPicPr>
          <p:nvPr userDrawn="1"/>
        </p:nvPicPr>
        <p:blipFill>
          <a:blip r:embed="rId69">
            <a:extLst>
              <a:ext uri="{96DAC541-7B7A-43D3-8B79-37D633B846F1}">
                <asvg:svgBlip xmlns:asvg="http://schemas.microsoft.com/office/drawing/2016/SVG/main" r:embed="rId70"/>
              </a:ext>
            </a:extLst>
          </a:blip>
          <a:stretch>
            <a:fillRect/>
          </a:stretch>
        </p:blipFill>
        <p:spPr>
          <a:xfrm>
            <a:off x="14339112" y="4116238"/>
            <a:ext cx="242953" cy="242953"/>
          </a:xfrm>
          <a:prstGeom prst="rect">
            <a:avLst/>
          </a:prstGeom>
        </p:spPr>
      </p:pic>
      <p:pic>
        <p:nvPicPr>
          <p:cNvPr id="33" name="Gráfico 32" descr="Trilhos de trem estrutura de tópicos">
            <a:extLst>
              <a:ext uri="{FF2B5EF4-FFF2-40B4-BE49-F238E27FC236}">
                <a16:creationId xmlns:a16="http://schemas.microsoft.com/office/drawing/2014/main" id="{29AA9D78-A40F-A0D5-94D8-EDF382D77DA7}"/>
              </a:ext>
            </a:extLst>
          </p:cNvPr>
          <p:cNvPicPr>
            <a:picLocks noChangeAspect="1"/>
          </p:cNvPicPr>
          <p:nvPr userDrawn="1"/>
        </p:nvPicPr>
        <p:blipFill>
          <a:blip r:embed="rId71">
            <a:extLst>
              <a:ext uri="{96DAC541-7B7A-43D3-8B79-37D633B846F1}">
                <asvg:svgBlip xmlns:asvg="http://schemas.microsoft.com/office/drawing/2016/SVG/main" r:embed="rId72"/>
              </a:ext>
            </a:extLst>
          </a:blip>
          <a:stretch>
            <a:fillRect/>
          </a:stretch>
        </p:blipFill>
        <p:spPr>
          <a:xfrm>
            <a:off x="14870878" y="2842757"/>
            <a:ext cx="242952" cy="242952"/>
          </a:xfrm>
          <a:prstGeom prst="rect">
            <a:avLst/>
          </a:prstGeom>
        </p:spPr>
      </p:pic>
      <p:pic>
        <p:nvPicPr>
          <p:cNvPr id="34" name="Gráfico 33" descr="Globo estrutura de tópicos">
            <a:extLst>
              <a:ext uri="{FF2B5EF4-FFF2-40B4-BE49-F238E27FC236}">
                <a16:creationId xmlns:a16="http://schemas.microsoft.com/office/drawing/2014/main" id="{D27B2EF7-9895-0618-8B6A-E080254CC6B3}"/>
              </a:ext>
            </a:extLst>
          </p:cNvPr>
          <p:cNvPicPr>
            <a:picLocks noChangeAspect="1"/>
          </p:cNvPicPr>
          <p:nvPr userDrawn="1"/>
        </p:nvPicPr>
        <p:blipFill>
          <a:blip r:embed="rId73">
            <a:extLst>
              <a:ext uri="{96DAC541-7B7A-43D3-8B79-37D633B846F1}">
                <asvg:svgBlip xmlns:asvg="http://schemas.microsoft.com/office/drawing/2016/SVG/main" r:embed="rId74"/>
              </a:ext>
            </a:extLst>
          </a:blip>
          <a:stretch>
            <a:fillRect/>
          </a:stretch>
        </p:blipFill>
        <p:spPr>
          <a:xfrm>
            <a:off x="13577612" y="2422666"/>
            <a:ext cx="242954" cy="242954"/>
          </a:xfrm>
          <a:prstGeom prst="rect">
            <a:avLst/>
          </a:prstGeom>
        </p:spPr>
      </p:pic>
      <p:pic>
        <p:nvPicPr>
          <p:cNvPr id="35" name="Gráfico 34" descr="Mundo estrutura de tópicos">
            <a:extLst>
              <a:ext uri="{FF2B5EF4-FFF2-40B4-BE49-F238E27FC236}">
                <a16:creationId xmlns:a16="http://schemas.microsoft.com/office/drawing/2014/main" id="{6FF17257-CF5D-93EA-7C30-4BA9081BE2E4}"/>
              </a:ext>
            </a:extLst>
          </p:cNvPr>
          <p:cNvPicPr>
            <a:picLocks noChangeAspect="1"/>
          </p:cNvPicPr>
          <p:nvPr userDrawn="1"/>
        </p:nvPicPr>
        <p:blipFill>
          <a:blip r:embed="rId75">
            <a:extLst>
              <a:ext uri="{96DAC541-7B7A-43D3-8B79-37D633B846F1}">
                <asvg:svgBlip xmlns:asvg="http://schemas.microsoft.com/office/drawing/2016/SVG/main" r:embed="rId76"/>
              </a:ext>
            </a:extLst>
          </a:blip>
          <a:stretch>
            <a:fillRect/>
          </a:stretch>
        </p:blipFill>
        <p:spPr>
          <a:xfrm>
            <a:off x="13567259" y="4417045"/>
            <a:ext cx="255462" cy="255462"/>
          </a:xfrm>
          <a:prstGeom prst="rect">
            <a:avLst/>
          </a:prstGeom>
        </p:spPr>
      </p:pic>
      <p:pic>
        <p:nvPicPr>
          <p:cNvPr id="36" name="Gráfico 35" descr="Bússola de mapa estrutura de tópicos">
            <a:extLst>
              <a:ext uri="{FF2B5EF4-FFF2-40B4-BE49-F238E27FC236}">
                <a16:creationId xmlns:a16="http://schemas.microsoft.com/office/drawing/2014/main" id="{5FAEB632-7EE6-0BF8-FAC3-DEE6E4D053FD}"/>
              </a:ext>
            </a:extLst>
          </p:cNvPr>
          <p:cNvPicPr>
            <a:picLocks noChangeAspect="1"/>
          </p:cNvPicPr>
          <p:nvPr userDrawn="1"/>
        </p:nvPicPr>
        <p:blipFill>
          <a:blip r:embed="rId77">
            <a:extLst>
              <a:ext uri="{96DAC541-7B7A-43D3-8B79-37D633B846F1}">
                <asvg:svgBlip xmlns:asvg="http://schemas.microsoft.com/office/drawing/2016/SVG/main" r:embed="rId78"/>
              </a:ext>
            </a:extLst>
          </a:blip>
          <a:stretch>
            <a:fillRect/>
          </a:stretch>
        </p:blipFill>
        <p:spPr>
          <a:xfrm>
            <a:off x="13946312" y="1725431"/>
            <a:ext cx="306686" cy="306686"/>
          </a:xfrm>
          <a:prstGeom prst="rect">
            <a:avLst/>
          </a:prstGeom>
        </p:spPr>
      </p:pic>
      <p:pic>
        <p:nvPicPr>
          <p:cNvPr id="37" name="Gráfico 36" descr="Cena de estrada estrutura de tópicos">
            <a:extLst>
              <a:ext uri="{FF2B5EF4-FFF2-40B4-BE49-F238E27FC236}">
                <a16:creationId xmlns:a16="http://schemas.microsoft.com/office/drawing/2014/main" id="{2355756D-5A01-3BF7-BB12-9B6B57C60F7D}"/>
              </a:ext>
            </a:extLst>
          </p:cNvPr>
          <p:cNvPicPr>
            <a:picLocks noChangeAspect="1"/>
          </p:cNvPicPr>
          <p:nvPr userDrawn="1"/>
        </p:nvPicPr>
        <p:blipFill>
          <a:blip r:embed="rId79">
            <a:extLst>
              <a:ext uri="{96DAC541-7B7A-43D3-8B79-37D633B846F1}">
                <asvg:svgBlip xmlns:asvg="http://schemas.microsoft.com/office/drawing/2016/SVG/main" r:embed="rId80"/>
              </a:ext>
            </a:extLst>
          </a:blip>
          <a:stretch>
            <a:fillRect/>
          </a:stretch>
        </p:blipFill>
        <p:spPr>
          <a:xfrm flipH="1">
            <a:off x="14440317" y="3636568"/>
            <a:ext cx="302532" cy="302532"/>
          </a:xfrm>
          <a:prstGeom prst="rect">
            <a:avLst/>
          </a:prstGeom>
        </p:spPr>
      </p:pic>
      <p:pic>
        <p:nvPicPr>
          <p:cNvPr id="38" name="Gráfico 37" descr="Compasso estrutura de tópicos">
            <a:extLst>
              <a:ext uri="{FF2B5EF4-FFF2-40B4-BE49-F238E27FC236}">
                <a16:creationId xmlns:a16="http://schemas.microsoft.com/office/drawing/2014/main" id="{FB18B9E5-4754-08C4-3E89-2B33637D03C0}"/>
              </a:ext>
            </a:extLst>
          </p:cNvPr>
          <p:cNvPicPr>
            <a:picLocks noChangeAspect="1"/>
          </p:cNvPicPr>
          <p:nvPr userDrawn="1"/>
        </p:nvPicPr>
        <p:blipFill>
          <a:blip r:embed="rId81">
            <a:extLst>
              <a:ext uri="{96DAC541-7B7A-43D3-8B79-37D633B846F1}">
                <asvg:svgBlip xmlns:asvg="http://schemas.microsoft.com/office/drawing/2016/SVG/main" r:embed="rId82"/>
              </a:ext>
            </a:extLst>
          </a:blip>
          <a:stretch>
            <a:fillRect/>
          </a:stretch>
        </p:blipFill>
        <p:spPr>
          <a:xfrm>
            <a:off x="14578550" y="1573212"/>
            <a:ext cx="244769" cy="244769"/>
          </a:xfrm>
          <a:prstGeom prst="rect">
            <a:avLst/>
          </a:prstGeom>
        </p:spPr>
      </p:pic>
      <p:pic>
        <p:nvPicPr>
          <p:cNvPr id="39" name="Gráfico 38" descr="Trilhos de trem estrutura de tópicos">
            <a:extLst>
              <a:ext uri="{FF2B5EF4-FFF2-40B4-BE49-F238E27FC236}">
                <a16:creationId xmlns:a16="http://schemas.microsoft.com/office/drawing/2014/main" id="{C92C70C5-C2A6-A477-EEB8-601B8D205D89}"/>
              </a:ext>
            </a:extLst>
          </p:cNvPr>
          <p:cNvPicPr>
            <a:picLocks noChangeAspect="1"/>
          </p:cNvPicPr>
          <p:nvPr userDrawn="1"/>
        </p:nvPicPr>
        <p:blipFill>
          <a:blip r:embed="rId71">
            <a:extLst>
              <a:ext uri="{96DAC541-7B7A-43D3-8B79-37D633B846F1}">
                <asvg:svgBlip xmlns:asvg="http://schemas.microsoft.com/office/drawing/2016/SVG/main" r:embed="rId72"/>
              </a:ext>
            </a:extLst>
          </a:blip>
          <a:stretch>
            <a:fillRect/>
          </a:stretch>
        </p:blipFill>
        <p:spPr>
          <a:xfrm>
            <a:off x="14044071" y="5174644"/>
            <a:ext cx="242952" cy="242952"/>
          </a:xfrm>
          <a:prstGeom prst="rect">
            <a:avLst/>
          </a:prstGeom>
        </p:spPr>
      </p:pic>
      <p:pic>
        <p:nvPicPr>
          <p:cNvPr id="40" name="Gráfico 39" descr="Matérias primas estrutura de tópicos">
            <a:extLst>
              <a:ext uri="{FF2B5EF4-FFF2-40B4-BE49-F238E27FC236}">
                <a16:creationId xmlns:a16="http://schemas.microsoft.com/office/drawing/2014/main" id="{07B5BB62-52E0-DDBD-5DBB-1E49FF58450E}"/>
              </a:ext>
            </a:extLst>
          </p:cNvPr>
          <p:cNvPicPr>
            <a:picLocks noChangeAspect="1"/>
          </p:cNvPicPr>
          <p:nvPr userDrawn="1"/>
        </p:nvPicPr>
        <p:blipFill>
          <a:blip r:embed="rId39">
            <a:extLst>
              <a:ext uri="{96DAC541-7B7A-43D3-8B79-37D633B846F1}">
                <asvg:svgBlip xmlns:asvg="http://schemas.microsoft.com/office/drawing/2016/SVG/main" r:embed="rId40"/>
              </a:ext>
            </a:extLst>
          </a:blip>
          <a:stretch>
            <a:fillRect/>
          </a:stretch>
        </p:blipFill>
        <p:spPr>
          <a:xfrm>
            <a:off x="14214120" y="1231623"/>
            <a:ext cx="242954" cy="242954"/>
          </a:xfrm>
          <a:prstGeom prst="rect">
            <a:avLst/>
          </a:prstGeom>
        </p:spPr>
      </p:pic>
      <p:pic>
        <p:nvPicPr>
          <p:cNvPr id="41" name="Gráfico 40" descr="Globo estrutura de tópicos">
            <a:extLst>
              <a:ext uri="{FF2B5EF4-FFF2-40B4-BE49-F238E27FC236}">
                <a16:creationId xmlns:a16="http://schemas.microsoft.com/office/drawing/2014/main" id="{9209910A-2692-51DA-CF5A-6C3BF9E6D977}"/>
              </a:ext>
            </a:extLst>
          </p:cNvPr>
          <p:cNvPicPr>
            <a:picLocks noChangeAspect="1"/>
          </p:cNvPicPr>
          <p:nvPr userDrawn="1"/>
        </p:nvPicPr>
        <p:blipFill>
          <a:blip r:embed="rId73">
            <a:extLst>
              <a:ext uri="{96DAC541-7B7A-43D3-8B79-37D633B846F1}">
                <asvg:svgBlip xmlns:asvg="http://schemas.microsoft.com/office/drawing/2016/SVG/main" r:embed="rId74"/>
              </a:ext>
            </a:extLst>
          </a:blip>
          <a:stretch>
            <a:fillRect/>
          </a:stretch>
        </p:blipFill>
        <p:spPr>
          <a:xfrm>
            <a:off x="14141174" y="3846550"/>
            <a:ext cx="242954" cy="242954"/>
          </a:xfrm>
          <a:prstGeom prst="rect">
            <a:avLst/>
          </a:prstGeom>
        </p:spPr>
      </p:pic>
      <p:pic>
        <p:nvPicPr>
          <p:cNvPr id="42" name="Gráfico 41" descr="Trem de brinquedo estrutura de tópicos">
            <a:extLst>
              <a:ext uri="{FF2B5EF4-FFF2-40B4-BE49-F238E27FC236}">
                <a16:creationId xmlns:a16="http://schemas.microsoft.com/office/drawing/2014/main" id="{6AF85600-9BD1-3F8C-3267-7560B2177531}"/>
              </a:ext>
            </a:extLst>
          </p:cNvPr>
          <p:cNvPicPr>
            <a:picLocks noChangeAspect="1"/>
          </p:cNvPicPr>
          <p:nvPr userDrawn="1"/>
        </p:nvPicPr>
        <p:blipFill>
          <a:blip r:embed="rId59">
            <a:extLst>
              <a:ext uri="{96DAC541-7B7A-43D3-8B79-37D633B846F1}">
                <asvg:svgBlip xmlns:asvg="http://schemas.microsoft.com/office/drawing/2016/SVG/main" r:embed="rId60"/>
              </a:ext>
            </a:extLst>
          </a:blip>
          <a:stretch>
            <a:fillRect/>
          </a:stretch>
        </p:blipFill>
        <p:spPr>
          <a:xfrm>
            <a:off x="14265256" y="2723473"/>
            <a:ext cx="211834" cy="211834"/>
          </a:xfrm>
          <a:prstGeom prst="rect">
            <a:avLst/>
          </a:prstGeom>
        </p:spPr>
      </p:pic>
      <p:pic>
        <p:nvPicPr>
          <p:cNvPr id="43" name="Gráfico 42" descr="Matérias primas estrutura de tópicos">
            <a:extLst>
              <a:ext uri="{FF2B5EF4-FFF2-40B4-BE49-F238E27FC236}">
                <a16:creationId xmlns:a16="http://schemas.microsoft.com/office/drawing/2014/main" id="{8D8078A1-4EA2-7541-BFE3-B74B7BF001D7}"/>
              </a:ext>
            </a:extLst>
          </p:cNvPr>
          <p:cNvPicPr>
            <a:picLocks noChangeAspect="1"/>
          </p:cNvPicPr>
          <p:nvPr userDrawn="1"/>
        </p:nvPicPr>
        <p:blipFill>
          <a:blip r:embed="rId39">
            <a:extLst>
              <a:ext uri="{96DAC541-7B7A-43D3-8B79-37D633B846F1}">
                <asvg:svgBlip xmlns:asvg="http://schemas.microsoft.com/office/drawing/2016/SVG/main" r:embed="rId40"/>
              </a:ext>
            </a:extLst>
          </a:blip>
          <a:stretch>
            <a:fillRect/>
          </a:stretch>
        </p:blipFill>
        <p:spPr>
          <a:xfrm>
            <a:off x="13244075" y="5566050"/>
            <a:ext cx="242954" cy="242954"/>
          </a:xfrm>
          <a:prstGeom prst="rect">
            <a:avLst/>
          </a:prstGeom>
        </p:spPr>
      </p:pic>
      <p:pic>
        <p:nvPicPr>
          <p:cNvPr id="44" name="Gráfico 43" descr="Mapa do tesouro estrutura de tópicos">
            <a:extLst>
              <a:ext uri="{FF2B5EF4-FFF2-40B4-BE49-F238E27FC236}">
                <a16:creationId xmlns:a16="http://schemas.microsoft.com/office/drawing/2014/main" id="{7B951DF5-D3BC-6A46-7754-CF43BB05E3C3}"/>
              </a:ext>
            </a:extLst>
          </p:cNvPr>
          <p:cNvPicPr>
            <a:picLocks noChangeAspect="1"/>
          </p:cNvPicPr>
          <p:nvPr userDrawn="1"/>
        </p:nvPicPr>
        <p:blipFill>
          <a:blip r:embed="rId67">
            <a:extLst>
              <a:ext uri="{96DAC541-7B7A-43D3-8B79-37D633B846F1}">
                <asvg:svgBlip xmlns:asvg="http://schemas.microsoft.com/office/drawing/2016/SVG/main" r:embed="rId68"/>
              </a:ext>
            </a:extLst>
          </a:blip>
          <a:stretch>
            <a:fillRect/>
          </a:stretch>
        </p:blipFill>
        <p:spPr>
          <a:xfrm>
            <a:off x="13816433" y="983923"/>
            <a:ext cx="220966" cy="220966"/>
          </a:xfrm>
          <a:prstGeom prst="rect">
            <a:avLst/>
          </a:prstGeom>
        </p:spPr>
      </p:pic>
      <p:pic>
        <p:nvPicPr>
          <p:cNvPr id="45" name="Gráfico 44" descr="Área de Transferência Marcada estrutura de tópicos">
            <a:extLst>
              <a:ext uri="{FF2B5EF4-FFF2-40B4-BE49-F238E27FC236}">
                <a16:creationId xmlns:a16="http://schemas.microsoft.com/office/drawing/2014/main" id="{922D4BC0-55E5-940D-FBC9-7553451F6D0F}"/>
              </a:ext>
            </a:extLst>
          </p:cNvPr>
          <p:cNvPicPr>
            <a:picLocks noChangeAspect="1"/>
          </p:cNvPicPr>
          <p:nvPr userDrawn="1"/>
        </p:nvPicPr>
        <p:blipFill>
          <a:blip r:embed="rId53">
            <a:extLst>
              <a:ext uri="{96DAC541-7B7A-43D3-8B79-37D633B846F1}">
                <asvg:svgBlip xmlns:asvg="http://schemas.microsoft.com/office/drawing/2016/SVG/main" r:embed="rId54"/>
              </a:ext>
            </a:extLst>
          </a:blip>
          <a:stretch>
            <a:fillRect/>
          </a:stretch>
        </p:blipFill>
        <p:spPr>
          <a:xfrm>
            <a:off x="14386567" y="1939567"/>
            <a:ext cx="274845" cy="274845"/>
          </a:xfrm>
          <a:prstGeom prst="rect">
            <a:avLst/>
          </a:prstGeom>
        </p:spPr>
      </p:pic>
      <p:pic>
        <p:nvPicPr>
          <p:cNvPr id="46" name="Gráfico 45" descr="Trem de brinquedo estrutura de tópicos">
            <a:extLst>
              <a:ext uri="{FF2B5EF4-FFF2-40B4-BE49-F238E27FC236}">
                <a16:creationId xmlns:a16="http://schemas.microsoft.com/office/drawing/2014/main" id="{4E44D481-2ED6-C84D-2C21-2412913B5CC3}"/>
              </a:ext>
            </a:extLst>
          </p:cNvPr>
          <p:cNvPicPr>
            <a:picLocks noChangeAspect="1"/>
          </p:cNvPicPr>
          <p:nvPr userDrawn="1"/>
        </p:nvPicPr>
        <p:blipFill>
          <a:blip r:embed="rId59">
            <a:extLst>
              <a:ext uri="{96DAC541-7B7A-43D3-8B79-37D633B846F1}">
                <asvg:svgBlip xmlns:asvg="http://schemas.microsoft.com/office/drawing/2016/SVG/main" r:embed="rId60"/>
              </a:ext>
            </a:extLst>
          </a:blip>
          <a:stretch>
            <a:fillRect/>
          </a:stretch>
        </p:blipFill>
        <p:spPr>
          <a:xfrm>
            <a:off x="14776828" y="3996954"/>
            <a:ext cx="211834" cy="211834"/>
          </a:xfrm>
          <a:prstGeom prst="rect">
            <a:avLst/>
          </a:prstGeom>
        </p:spPr>
      </p:pic>
      <p:pic>
        <p:nvPicPr>
          <p:cNvPr id="47" name="Gráfico 46" descr="Matérias primas estrutura de tópicos">
            <a:extLst>
              <a:ext uri="{FF2B5EF4-FFF2-40B4-BE49-F238E27FC236}">
                <a16:creationId xmlns:a16="http://schemas.microsoft.com/office/drawing/2014/main" id="{F41F90FD-58E5-06C9-88E1-02EE7679A3DE}"/>
              </a:ext>
            </a:extLst>
          </p:cNvPr>
          <p:cNvPicPr>
            <a:picLocks noChangeAspect="1"/>
          </p:cNvPicPr>
          <p:nvPr userDrawn="1"/>
        </p:nvPicPr>
        <p:blipFill>
          <a:blip r:embed="rId39">
            <a:extLst>
              <a:ext uri="{96DAC541-7B7A-43D3-8B79-37D633B846F1}">
                <asvg:svgBlip xmlns:asvg="http://schemas.microsoft.com/office/drawing/2016/SVG/main" r:embed="rId40"/>
              </a:ext>
            </a:extLst>
          </a:blip>
          <a:stretch>
            <a:fillRect/>
          </a:stretch>
        </p:blipFill>
        <p:spPr>
          <a:xfrm>
            <a:off x="14477092" y="4266641"/>
            <a:ext cx="242954" cy="242954"/>
          </a:xfrm>
          <a:prstGeom prst="rect">
            <a:avLst/>
          </a:prstGeom>
        </p:spPr>
      </p:pic>
      <p:pic>
        <p:nvPicPr>
          <p:cNvPr id="48" name="Gráfico 47" descr="Mapa do tesouro estrutura de tópicos">
            <a:extLst>
              <a:ext uri="{FF2B5EF4-FFF2-40B4-BE49-F238E27FC236}">
                <a16:creationId xmlns:a16="http://schemas.microsoft.com/office/drawing/2014/main" id="{5A0884C7-11F4-27ED-CAA5-AC6B68E4326D}"/>
              </a:ext>
            </a:extLst>
          </p:cNvPr>
          <p:cNvPicPr>
            <a:picLocks noChangeAspect="1"/>
          </p:cNvPicPr>
          <p:nvPr userDrawn="1"/>
        </p:nvPicPr>
        <p:blipFill>
          <a:blip r:embed="rId67">
            <a:extLst>
              <a:ext uri="{96DAC541-7B7A-43D3-8B79-37D633B846F1}">
                <asvg:svgBlip xmlns:asvg="http://schemas.microsoft.com/office/drawing/2016/SVG/main" r:embed="rId68"/>
              </a:ext>
            </a:extLst>
          </a:blip>
          <a:stretch>
            <a:fillRect/>
          </a:stretch>
        </p:blipFill>
        <p:spPr>
          <a:xfrm>
            <a:off x="14274679" y="3325857"/>
            <a:ext cx="220966" cy="220966"/>
          </a:xfrm>
          <a:prstGeom prst="rect">
            <a:avLst/>
          </a:prstGeom>
        </p:spPr>
      </p:pic>
      <p:pic>
        <p:nvPicPr>
          <p:cNvPr id="49" name="Gráfico 48" descr="Caminhão de lixo estrutura de tópicos">
            <a:extLst>
              <a:ext uri="{FF2B5EF4-FFF2-40B4-BE49-F238E27FC236}">
                <a16:creationId xmlns:a16="http://schemas.microsoft.com/office/drawing/2014/main" id="{B7AC7C5D-6CC1-8DCD-FFB2-D4571509E893}"/>
              </a:ext>
            </a:extLst>
          </p:cNvPr>
          <p:cNvPicPr>
            <a:picLocks noChangeAspect="1"/>
          </p:cNvPicPr>
          <p:nvPr userDrawn="1"/>
        </p:nvPicPr>
        <p:blipFill>
          <a:blip r:embed="rId49">
            <a:extLst>
              <a:ext uri="{96DAC541-7B7A-43D3-8B79-37D633B846F1}">
                <asvg:svgBlip xmlns:asvg="http://schemas.microsoft.com/office/drawing/2016/SVG/main" r:embed="rId50"/>
              </a:ext>
            </a:extLst>
          </a:blip>
          <a:stretch>
            <a:fillRect/>
          </a:stretch>
        </p:blipFill>
        <p:spPr>
          <a:xfrm>
            <a:off x="13037167" y="5446766"/>
            <a:ext cx="211834" cy="211834"/>
          </a:xfrm>
          <a:prstGeom prst="rect">
            <a:avLst/>
          </a:prstGeom>
        </p:spPr>
      </p:pic>
      <p:pic>
        <p:nvPicPr>
          <p:cNvPr id="50" name="Gráfico 49" descr="Bússola estrutura de tópicos">
            <a:extLst>
              <a:ext uri="{FF2B5EF4-FFF2-40B4-BE49-F238E27FC236}">
                <a16:creationId xmlns:a16="http://schemas.microsoft.com/office/drawing/2014/main" id="{828359E1-7125-2FE0-F0C7-5314016A4551}"/>
              </a:ext>
            </a:extLst>
          </p:cNvPr>
          <p:cNvPicPr>
            <a:picLocks noChangeAspect="1"/>
          </p:cNvPicPr>
          <p:nvPr userDrawn="1"/>
        </p:nvPicPr>
        <p:blipFill>
          <a:blip r:embed="rId55">
            <a:extLst>
              <a:ext uri="{96DAC541-7B7A-43D3-8B79-37D633B846F1}">
                <asvg:svgBlip xmlns:asvg="http://schemas.microsoft.com/office/drawing/2016/SVG/main" r:embed="rId56"/>
              </a:ext>
            </a:extLst>
          </a:blip>
          <a:stretch>
            <a:fillRect/>
          </a:stretch>
        </p:blipFill>
        <p:spPr>
          <a:xfrm flipH="1">
            <a:off x="13021777" y="5029886"/>
            <a:ext cx="237308" cy="237308"/>
          </a:xfrm>
          <a:prstGeom prst="rect">
            <a:avLst/>
          </a:prstGeom>
        </p:spPr>
      </p:pic>
      <p:pic>
        <p:nvPicPr>
          <p:cNvPr id="51" name="Gráfico 50" descr="Globo estrutura de tópicos">
            <a:extLst>
              <a:ext uri="{FF2B5EF4-FFF2-40B4-BE49-F238E27FC236}">
                <a16:creationId xmlns:a16="http://schemas.microsoft.com/office/drawing/2014/main" id="{C99849C7-4D12-C2B0-FFA0-90637BCC0E34}"/>
              </a:ext>
            </a:extLst>
          </p:cNvPr>
          <p:cNvPicPr>
            <a:picLocks noChangeAspect="1"/>
          </p:cNvPicPr>
          <p:nvPr userDrawn="1"/>
        </p:nvPicPr>
        <p:blipFill>
          <a:blip r:embed="rId73">
            <a:extLst>
              <a:ext uri="{96DAC541-7B7A-43D3-8B79-37D633B846F1}">
                <asvg:svgBlip xmlns:asvg="http://schemas.microsoft.com/office/drawing/2016/SVG/main" r:embed="rId74"/>
              </a:ext>
            </a:extLst>
          </a:blip>
          <a:stretch>
            <a:fillRect/>
          </a:stretch>
        </p:blipFill>
        <p:spPr>
          <a:xfrm>
            <a:off x="13959598" y="4708373"/>
            <a:ext cx="235538" cy="2355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32225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9" r:id="rId1"/>
    <p:sldLayoutId id="2147483980" r:id="rId2"/>
    <p:sldLayoutId id="2147483981" r:id="rId3"/>
    <p:sldLayoutId id="2147483982" r:id="rId4"/>
    <p:sldLayoutId id="2147483983" r:id="rId5"/>
    <p:sldLayoutId id="2147483984" r:id="rId6"/>
    <p:sldLayoutId id="2147483985" r:id="rId7"/>
    <p:sldLayoutId id="2147483986" r:id="rId8"/>
    <p:sldLayoutId id="2147483987" r:id="rId9"/>
    <p:sldLayoutId id="2147483988" r:id="rId10"/>
    <p:sldLayoutId id="2147483989" r:id="rId11"/>
    <p:sldLayoutId id="2147483990" r:id="rId12"/>
    <p:sldLayoutId id="2147483991" r:id="rId13"/>
    <p:sldLayoutId id="2147483992" r:id="rId14"/>
    <p:sldLayoutId id="2147483993" r:id="rId15"/>
    <p:sldLayoutId id="2147483994" r:id="rId16"/>
    <p:sldLayoutId id="2147483995" r:id="rId17"/>
    <p:sldLayoutId id="2147483996" r:id="rId18"/>
    <p:sldLayoutId id="2147483997" r:id="rId19"/>
    <p:sldLayoutId id="2147483998" r:id="rId20"/>
    <p:sldLayoutId id="2147483999" r:id="rId21"/>
    <p:sldLayoutId id="2147484000" r:id="rId22"/>
    <p:sldLayoutId id="2147484001" r:id="rId23"/>
    <p:sldLayoutId id="2147484002" r:id="rId24"/>
    <p:sldLayoutId id="2147484003" r:id="rId25"/>
    <p:sldLayoutId id="2147484004" r:id="rId26"/>
    <p:sldLayoutId id="2147484005" r:id="rId27"/>
    <p:sldLayoutId id="2147484006" r:id="rId28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000" b="1" kern="1200" spc="-40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2000"/>
        </a:spcBef>
        <a:spcAft>
          <a:spcPts val="500"/>
        </a:spcAft>
        <a:buFont typeface="Arial" panose="020B0604020202020204" pitchFamily="34" charset="0"/>
        <a:buNone/>
        <a:defRPr sz="1700" b="1" kern="1200">
          <a:solidFill>
            <a:schemeClr val="accent2"/>
          </a:solidFill>
          <a:latin typeface="+mn-lt"/>
          <a:ea typeface="+mn-ea"/>
          <a:cs typeface="+mn-cs"/>
        </a:defRPr>
      </a:lvl1pPr>
      <a:lvl2pPr marL="285750" indent="-285750" algn="l" defTabSz="914400" rtl="0" eaLnBrk="1" latinLnBrk="0" hangingPunct="1">
        <a:lnSpc>
          <a:spcPct val="110000"/>
        </a:lnSpc>
        <a:spcBef>
          <a:spcPts val="0"/>
        </a:spcBef>
        <a:spcAft>
          <a:spcPts val="500"/>
        </a:spcAft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936000" indent="288000" algn="l" defTabSz="914400" rtl="0" eaLnBrk="1" latinLnBrk="0" hangingPunct="1">
        <a:lnSpc>
          <a:spcPct val="110000"/>
        </a:lnSpc>
        <a:spcBef>
          <a:spcPts val="0"/>
        </a:spcBef>
        <a:spcAft>
          <a:spcPts val="500"/>
        </a:spcAft>
        <a:buFont typeface="Arial" panose="020B0604020202020204" pitchFamily="34" charset="0"/>
        <a:buChar char="•"/>
        <a:defRPr lang="pt-BR" sz="1600" kern="1200" dirty="0">
          <a:solidFill>
            <a:schemeClr val="tx2"/>
          </a:solidFill>
          <a:latin typeface="+mn-lt"/>
          <a:ea typeface="+mn-ea"/>
          <a:cs typeface="+mn-cs"/>
        </a:defRPr>
      </a:lvl3pPr>
      <a:lvl4pPr marL="1657350" indent="-28575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114550" indent="-28575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>
          <p15:clr>
            <a:srgbClr val="F26B43"/>
          </p15:clr>
        </p15:guide>
        <p15:guide id="2" pos="7680">
          <p15:clr>
            <a:srgbClr val="F26B43"/>
          </p15:clr>
        </p15:guide>
        <p15:guide id="3" pos="576">
          <p15:clr>
            <a:srgbClr val="F26B43"/>
          </p15:clr>
        </p15:guide>
        <p15:guide id="4" pos="988">
          <p15:clr>
            <a:srgbClr val="F26B43"/>
          </p15:clr>
        </p15:guide>
        <p15:guide id="5" pos="1141">
          <p15:clr>
            <a:srgbClr val="F26B43"/>
          </p15:clr>
        </p15:guide>
        <p15:guide id="6" pos="1544">
          <p15:clr>
            <a:srgbClr val="F26B43"/>
          </p15:clr>
        </p15:guide>
        <p15:guide id="7" pos="1688">
          <p15:clr>
            <a:srgbClr val="F26B43"/>
          </p15:clr>
        </p15:guide>
        <p15:guide id="8" pos="2100">
          <p15:clr>
            <a:srgbClr val="F26B43"/>
          </p15:clr>
        </p15:guide>
        <p15:guide id="9" pos="2244">
          <p15:clr>
            <a:srgbClr val="F26B43"/>
          </p15:clr>
        </p15:guide>
        <p15:guide id="10" pos="2656">
          <p15:clr>
            <a:srgbClr val="F26B43"/>
          </p15:clr>
        </p15:guide>
        <p15:guide id="11" pos="2800">
          <p15:clr>
            <a:srgbClr val="F26B43"/>
          </p15:clr>
        </p15:guide>
        <p15:guide id="12" pos="3212">
          <p15:clr>
            <a:srgbClr val="F26B43"/>
          </p15:clr>
        </p15:guide>
        <p15:guide id="13" pos="3356">
          <p15:clr>
            <a:srgbClr val="F26B43"/>
          </p15:clr>
        </p15:guide>
        <p15:guide id="14" pos="3768">
          <p15:clr>
            <a:srgbClr val="F26B43"/>
          </p15:clr>
        </p15:guide>
        <p15:guide id="15" pos="3912">
          <p15:clr>
            <a:srgbClr val="F26B43"/>
          </p15:clr>
        </p15:guide>
        <p15:guide id="16" pos="4324">
          <p15:clr>
            <a:srgbClr val="F26B43"/>
          </p15:clr>
        </p15:guide>
        <p15:guide id="17" pos="4468">
          <p15:clr>
            <a:srgbClr val="F26B43"/>
          </p15:clr>
        </p15:guide>
        <p15:guide id="18" pos="4880">
          <p15:clr>
            <a:srgbClr val="F26B43"/>
          </p15:clr>
        </p15:guide>
        <p15:guide id="19" pos="5024">
          <p15:clr>
            <a:srgbClr val="F26B43"/>
          </p15:clr>
        </p15:guide>
        <p15:guide id="20" pos="5436">
          <p15:clr>
            <a:srgbClr val="F26B43"/>
          </p15:clr>
        </p15:guide>
        <p15:guide id="21" pos="5580">
          <p15:clr>
            <a:srgbClr val="F26B43"/>
          </p15:clr>
        </p15:guide>
        <p15:guide id="22" pos="5992">
          <p15:clr>
            <a:srgbClr val="F26B43"/>
          </p15:clr>
        </p15:guide>
        <p15:guide id="23" pos="6136">
          <p15:clr>
            <a:srgbClr val="F26B43"/>
          </p15:clr>
        </p15:guide>
        <p15:guide id="24" pos="6548">
          <p15:clr>
            <a:srgbClr val="F26B43"/>
          </p15:clr>
        </p15:guide>
        <p15:guide id="25" pos="6692">
          <p15:clr>
            <a:srgbClr val="F26B43"/>
          </p15:clr>
        </p15:guide>
        <p15:guide id="26" pos="7104">
          <p15:clr>
            <a:srgbClr val="F26B43"/>
          </p15:clr>
        </p15:guide>
        <p15:guide id="27" orient="horz">
          <p15:clr>
            <a:srgbClr val="F26B43"/>
          </p15:clr>
        </p15:guide>
        <p15:guide id="28" orient="horz" pos="4320">
          <p15:clr>
            <a:srgbClr val="F26B43"/>
          </p15:clr>
        </p15:guide>
        <p15:guide id="29" orient="horz" pos="403">
          <p15:clr>
            <a:srgbClr val="F26B43"/>
          </p15:clr>
        </p15:guide>
        <p15:guide id="30" orient="horz" pos="716">
          <p15:clr>
            <a:srgbClr val="F26B43"/>
          </p15:clr>
        </p15:guide>
        <p15:guide id="31" orient="horz" pos="860">
          <p15:clr>
            <a:srgbClr val="F26B43"/>
          </p15:clr>
        </p15:guide>
        <p15:guide id="32" orient="horz" pos="1173">
          <p15:clr>
            <a:srgbClr val="F26B43"/>
          </p15:clr>
        </p15:guide>
        <p15:guide id="33" orient="horz" pos="1317">
          <p15:clr>
            <a:srgbClr val="F26B43"/>
          </p15:clr>
        </p15:guide>
        <p15:guide id="34" orient="horz" pos="1630">
          <p15:clr>
            <a:srgbClr val="F26B43"/>
          </p15:clr>
        </p15:guide>
        <p15:guide id="35" orient="horz" pos="1774">
          <p15:clr>
            <a:srgbClr val="F26B43"/>
          </p15:clr>
        </p15:guide>
        <p15:guide id="36" orient="horz" pos="2088">
          <p15:clr>
            <a:srgbClr val="F26B43"/>
          </p15:clr>
        </p15:guide>
        <p15:guide id="37" orient="horz" pos="2232">
          <p15:clr>
            <a:srgbClr val="F26B43"/>
          </p15:clr>
        </p15:guide>
        <p15:guide id="38" orient="horz" pos="2545">
          <p15:clr>
            <a:srgbClr val="F26B43"/>
          </p15:clr>
        </p15:guide>
        <p15:guide id="39" orient="horz" pos="2689">
          <p15:clr>
            <a:srgbClr val="F26B43"/>
          </p15:clr>
        </p15:guide>
        <p15:guide id="40" orient="horz" pos="3002">
          <p15:clr>
            <a:srgbClr val="F26B43"/>
          </p15:clr>
        </p15:guide>
        <p15:guide id="41" orient="horz" pos="3146">
          <p15:clr>
            <a:srgbClr val="F26B43"/>
          </p15:clr>
        </p15:guide>
        <p15:guide id="42" orient="horz" pos="3459">
          <p15:clr>
            <a:srgbClr val="F26B43"/>
          </p15:clr>
        </p15:guide>
        <p15:guide id="43" orient="horz" pos="3603">
          <p15:clr>
            <a:srgbClr val="F26B43"/>
          </p15:clr>
        </p15:guide>
        <p15:guide id="44" orient="horz" pos="3916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blackGray">
      <p:bgPr>
        <a:solidFill>
          <a:srgbClr val="F3F5F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7935B6F9-052D-01EC-95D7-2A59F7A5C41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0"/>
            </p:custDataLst>
            <p:extLst>
              <p:ext uri="{D42A27DB-BD31-4B8C-83A1-F6EECF244321}">
                <p14:modId xmlns:p14="http://schemas.microsoft.com/office/powerpoint/2010/main" val="14000866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31" imgW="425" imgH="424" progId="TCLayout.ActiveDocument.1">
                  <p:embed/>
                </p:oleObj>
              </mc:Choice>
              <mc:Fallback>
                <p:oleObj name="Slide do think-cell" r:id="rId31" imgW="425" imgH="42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935B6F9-052D-01EC-95D7-2A59F7A5C4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ço Reservado para Título 1">
            <a:extLst>
              <a:ext uri="{FF2B5EF4-FFF2-40B4-BE49-F238E27FC236}">
                <a16:creationId xmlns:a16="http://schemas.microsoft.com/office/drawing/2014/main" id="{41375562-E38E-3A5D-DD5E-76EE13574F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4400" y="681037"/>
            <a:ext cx="10363200" cy="128111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C9C89F05-6560-FB4B-012E-55287B7FDE6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914400" y="2090738"/>
            <a:ext cx="10363200" cy="408622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/>
              <a:t>Clique para editar os estilos de texto Mestres</a:t>
            </a:r>
          </a:p>
          <a:p>
            <a:pPr marL="0" marR="0" lvl="1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BR"/>
              <a:t>Segundo nível</a:t>
            </a:r>
          </a:p>
          <a:p>
            <a:pPr marL="792000" marR="0" lvl="2" indent="-288000" algn="l" defTabSz="914400" rtl="0" eaLnBrk="1" fontAlgn="auto" latinLnBrk="0" hangingPunct="1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Blip>
                <a:blip r:embed="rId33">
                  <a:extLst>
                    <a:ext uri="{96DAC541-7B7A-43D3-8B79-37D633B846F1}">
                      <asvg:svgBlip xmlns:asvg="http://schemas.microsoft.com/office/drawing/2016/SVG/main" r:embed="rId34"/>
                    </a:ext>
                  </a:extLst>
                </a:blip>
              </a:buBlip>
              <a:tabLst/>
              <a:defRPr/>
            </a:pPr>
            <a:endParaRPr lang="pt-BR"/>
          </a:p>
        </p:txBody>
      </p:sp>
      <p:sp>
        <p:nvSpPr>
          <p:cNvPr id="7" name="Rectangle 7">
            <a:extLst>
              <a:ext uri="{FF2B5EF4-FFF2-40B4-BE49-F238E27FC236}">
                <a16:creationId xmlns:a16="http://schemas.microsoft.com/office/drawing/2014/main" id="{BF552152-09DD-4754-E8EA-28C8CDC581EB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-806451" y="1"/>
            <a:ext cx="711200" cy="54292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 algn="r"/>
            <a:r>
              <a:rPr lang="en-US" sz="900" b="1">
                <a:solidFill>
                  <a:schemeClr val="bg1"/>
                </a:solidFill>
              </a:rPr>
              <a:t> R 45</a:t>
            </a:r>
          </a:p>
          <a:p>
            <a:pPr lvl="0" algn="r"/>
            <a:r>
              <a:rPr lang="en-US" sz="900" b="1">
                <a:solidFill>
                  <a:schemeClr val="bg1"/>
                </a:solidFill>
              </a:rPr>
              <a:t> G 61</a:t>
            </a:r>
          </a:p>
          <a:p>
            <a:pPr lvl="0" algn="r"/>
            <a:r>
              <a:rPr lang="en-US" sz="900" b="1">
                <a:solidFill>
                  <a:schemeClr val="bg1"/>
                </a:solidFill>
              </a:rPr>
              <a:t>B 112</a:t>
            </a:r>
          </a:p>
        </p:txBody>
      </p:sp>
      <p:sp>
        <p:nvSpPr>
          <p:cNvPr id="8" name="Rectangle 8">
            <a:extLst>
              <a:ext uri="{FF2B5EF4-FFF2-40B4-BE49-F238E27FC236}">
                <a16:creationId xmlns:a16="http://schemas.microsoft.com/office/drawing/2014/main" id="{745BB3BD-7CE9-F565-F21C-426C7596E71B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-806451" y="621506"/>
            <a:ext cx="711200" cy="5334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 algn="r"/>
            <a:r>
              <a:rPr lang="en-US" sz="900" b="1">
                <a:solidFill>
                  <a:schemeClr val="bg1"/>
                </a:solidFill>
              </a:rPr>
              <a:t> R 244</a:t>
            </a:r>
          </a:p>
          <a:p>
            <a:pPr lvl="0" algn="r"/>
            <a:r>
              <a:rPr lang="en-US" sz="900" b="1">
                <a:solidFill>
                  <a:schemeClr val="bg1"/>
                </a:solidFill>
              </a:rPr>
              <a:t> G 97</a:t>
            </a:r>
          </a:p>
          <a:p>
            <a:pPr lvl="0" algn="r"/>
            <a:r>
              <a:rPr lang="en-US" sz="900" b="1">
                <a:solidFill>
                  <a:schemeClr val="bg1"/>
                </a:solidFill>
              </a:rPr>
              <a:t>B 77</a:t>
            </a:r>
          </a:p>
        </p:txBody>
      </p:sp>
      <p:sp>
        <p:nvSpPr>
          <p:cNvPr id="9" name="Rectangle 9">
            <a:extLst>
              <a:ext uri="{FF2B5EF4-FFF2-40B4-BE49-F238E27FC236}">
                <a16:creationId xmlns:a16="http://schemas.microsoft.com/office/drawing/2014/main" id="{F7F9F265-89D1-78AC-55E6-238CE5D4A1E4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-806451" y="1233488"/>
            <a:ext cx="711200" cy="54292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r"/>
            <a:r>
              <a:rPr lang="en-US" sz="900" b="1">
                <a:solidFill>
                  <a:schemeClr val="bg1"/>
                </a:solidFill>
              </a:rPr>
              <a:t>R 176</a:t>
            </a:r>
          </a:p>
          <a:p>
            <a:pPr algn="r"/>
            <a:r>
              <a:rPr lang="en-US" sz="900" b="1">
                <a:solidFill>
                  <a:schemeClr val="bg1"/>
                </a:solidFill>
              </a:rPr>
              <a:t>G 183</a:t>
            </a:r>
          </a:p>
          <a:p>
            <a:pPr algn="r"/>
            <a:r>
              <a:rPr lang="en-US" sz="900" b="1">
                <a:solidFill>
                  <a:schemeClr val="bg1"/>
                </a:solidFill>
              </a:rPr>
              <a:t>B 193</a:t>
            </a:r>
          </a:p>
        </p:txBody>
      </p:sp>
      <p:pic>
        <p:nvPicPr>
          <p:cNvPr id="27" name="Gráfico 26">
            <a:extLst>
              <a:ext uri="{FF2B5EF4-FFF2-40B4-BE49-F238E27FC236}">
                <a16:creationId xmlns:a16="http://schemas.microsoft.com/office/drawing/2014/main" id="{31F32912-5504-1525-E4B7-761D37AF19E9}"/>
              </a:ext>
            </a:extLst>
          </p:cNvPr>
          <p:cNvPicPr>
            <a:picLocks noChangeAspect="1"/>
          </p:cNvPicPr>
          <p:nvPr userDrawn="1"/>
        </p:nvPicPr>
        <p:blipFill>
          <a:blip r:embed="rId35">
            <a:extLst>
              <a:ext uri="{96DAC541-7B7A-43D3-8B79-37D633B846F1}">
                <asvg:svgBlip xmlns:asvg="http://schemas.microsoft.com/office/drawing/2016/SVG/main" r:embed="rId36"/>
              </a:ext>
            </a:extLst>
          </a:blip>
          <a:stretch>
            <a:fillRect/>
          </a:stretch>
        </p:blipFill>
        <p:spPr>
          <a:xfrm>
            <a:off x="-806451" y="2343150"/>
            <a:ext cx="711200" cy="417743"/>
          </a:xfrm>
          <a:prstGeom prst="rect">
            <a:avLst/>
          </a:prstGeom>
        </p:spPr>
      </p:pic>
      <p:pic>
        <p:nvPicPr>
          <p:cNvPr id="29" name="Gráfico 28">
            <a:extLst>
              <a:ext uri="{FF2B5EF4-FFF2-40B4-BE49-F238E27FC236}">
                <a16:creationId xmlns:a16="http://schemas.microsoft.com/office/drawing/2014/main" id="{6CA5DEA4-EEAB-3449-C3DD-83C8AC448769}"/>
              </a:ext>
            </a:extLst>
          </p:cNvPr>
          <p:cNvPicPr>
            <a:picLocks noChangeAspect="1"/>
          </p:cNvPicPr>
          <p:nvPr userDrawn="1"/>
        </p:nvPicPr>
        <p:blipFill>
          <a:blip r:embed="rId37">
            <a:extLst>
              <a:ext uri="{96DAC541-7B7A-43D3-8B79-37D633B846F1}">
                <asvg:svgBlip xmlns:asvg="http://schemas.microsoft.com/office/drawing/2016/SVG/main" r:embed="rId38"/>
              </a:ext>
            </a:extLst>
          </a:blip>
          <a:stretch>
            <a:fillRect/>
          </a:stretch>
        </p:blipFill>
        <p:spPr>
          <a:xfrm>
            <a:off x="-806451" y="2760893"/>
            <a:ext cx="711200" cy="334885"/>
          </a:xfrm>
          <a:prstGeom prst="rect">
            <a:avLst/>
          </a:prstGeom>
        </p:spPr>
      </p:pic>
      <p:pic>
        <p:nvPicPr>
          <p:cNvPr id="31" name="Gráfico 30">
            <a:extLst>
              <a:ext uri="{FF2B5EF4-FFF2-40B4-BE49-F238E27FC236}">
                <a16:creationId xmlns:a16="http://schemas.microsoft.com/office/drawing/2014/main" id="{B90C53BE-8249-C3B9-7787-556D2CC13226}"/>
              </a:ext>
            </a:extLst>
          </p:cNvPr>
          <p:cNvPicPr>
            <a:picLocks noChangeAspect="1"/>
          </p:cNvPicPr>
          <p:nvPr userDrawn="1"/>
        </p:nvPicPr>
        <p:blipFill>
          <a:blip r:embed="rId33">
            <a:extLst>
              <a:ext uri="{96DAC541-7B7A-43D3-8B79-37D633B846F1}">
                <asvg:svgBlip xmlns:asvg="http://schemas.microsoft.com/office/drawing/2016/SVG/main" r:embed="rId34"/>
              </a:ext>
            </a:extLst>
          </a:blip>
          <a:stretch>
            <a:fillRect/>
          </a:stretch>
        </p:blipFill>
        <p:spPr>
          <a:xfrm>
            <a:off x="-233348" y="3254590"/>
            <a:ext cx="138097" cy="162264"/>
          </a:xfrm>
          <a:prstGeom prst="rect">
            <a:avLst/>
          </a:prstGeom>
        </p:spPr>
      </p:pic>
      <p:pic>
        <p:nvPicPr>
          <p:cNvPr id="14" name="Gráfico 13" descr="Matérias primas estrutura de tópicos">
            <a:extLst>
              <a:ext uri="{FF2B5EF4-FFF2-40B4-BE49-F238E27FC236}">
                <a16:creationId xmlns:a16="http://schemas.microsoft.com/office/drawing/2014/main" id="{8AD833E9-22C0-601A-0AE3-555FB8C37570}"/>
              </a:ext>
            </a:extLst>
          </p:cNvPr>
          <p:cNvPicPr>
            <a:picLocks noChangeAspect="1"/>
          </p:cNvPicPr>
          <p:nvPr userDrawn="1"/>
        </p:nvPicPr>
        <p:blipFill>
          <a:blip r:embed="rId39">
            <a:extLst>
              <a:ext uri="{96DAC541-7B7A-43D3-8B79-37D633B846F1}">
                <asvg:svgBlip xmlns:asvg="http://schemas.microsoft.com/office/drawing/2016/SVG/main" r:embed="rId40"/>
              </a:ext>
            </a:extLst>
          </a:blip>
          <a:stretch>
            <a:fillRect/>
          </a:stretch>
        </p:blipFill>
        <p:spPr>
          <a:xfrm>
            <a:off x="14457074" y="2993159"/>
            <a:ext cx="242954" cy="242954"/>
          </a:xfrm>
          <a:prstGeom prst="rect">
            <a:avLst/>
          </a:prstGeom>
        </p:spPr>
      </p:pic>
      <p:pic>
        <p:nvPicPr>
          <p:cNvPr id="15" name="Gráfico 14" descr="Ferramentas de mineração estrutura de tópicos">
            <a:extLst>
              <a:ext uri="{FF2B5EF4-FFF2-40B4-BE49-F238E27FC236}">
                <a16:creationId xmlns:a16="http://schemas.microsoft.com/office/drawing/2014/main" id="{CCA2FCD9-F510-D80C-4745-0BF4C8EDB219}"/>
              </a:ext>
            </a:extLst>
          </p:cNvPr>
          <p:cNvPicPr>
            <a:picLocks noChangeAspect="1"/>
          </p:cNvPicPr>
          <p:nvPr userDrawn="1"/>
        </p:nvPicPr>
        <p:blipFill>
          <a:blip r:embed="rId41">
            <a:extLst>
              <a:ext uri="{96DAC541-7B7A-43D3-8B79-37D633B846F1}">
                <asvg:svgBlip xmlns:asvg="http://schemas.microsoft.com/office/drawing/2016/SVG/main" r:embed="rId42"/>
              </a:ext>
            </a:extLst>
          </a:blip>
          <a:stretch>
            <a:fillRect/>
          </a:stretch>
        </p:blipFill>
        <p:spPr>
          <a:xfrm>
            <a:off x="14742849" y="2121862"/>
            <a:ext cx="242952" cy="242952"/>
          </a:xfrm>
          <a:prstGeom prst="rect">
            <a:avLst/>
          </a:prstGeom>
        </p:spPr>
      </p:pic>
      <p:pic>
        <p:nvPicPr>
          <p:cNvPr id="16" name="Gráfico 15" descr="Giroteodolito estrutura de tópicos">
            <a:extLst>
              <a:ext uri="{FF2B5EF4-FFF2-40B4-BE49-F238E27FC236}">
                <a16:creationId xmlns:a16="http://schemas.microsoft.com/office/drawing/2014/main" id="{F0FBC73D-E02E-FE83-D5BA-3DC8280E3019}"/>
              </a:ext>
            </a:extLst>
          </p:cNvPr>
          <p:cNvPicPr>
            <a:picLocks noChangeAspect="1"/>
          </p:cNvPicPr>
          <p:nvPr userDrawn="1"/>
        </p:nvPicPr>
        <p:blipFill>
          <a:blip r:embed="rId43">
            <a:extLst>
              <a:ext uri="{96DAC541-7B7A-43D3-8B79-37D633B846F1}">
                <asvg:svgBlip xmlns:asvg="http://schemas.microsoft.com/office/drawing/2016/SVG/main" r:embed="rId44"/>
              </a:ext>
            </a:extLst>
          </a:blip>
          <a:stretch>
            <a:fillRect/>
          </a:stretch>
        </p:blipFill>
        <p:spPr>
          <a:xfrm>
            <a:off x="13805097" y="1382027"/>
            <a:ext cx="283735" cy="283735"/>
          </a:xfrm>
          <a:prstGeom prst="rect">
            <a:avLst/>
          </a:prstGeom>
        </p:spPr>
      </p:pic>
      <p:pic>
        <p:nvPicPr>
          <p:cNvPr id="17" name="Gráfico 16" descr="Trabalho estrutura de tópicos">
            <a:extLst>
              <a:ext uri="{FF2B5EF4-FFF2-40B4-BE49-F238E27FC236}">
                <a16:creationId xmlns:a16="http://schemas.microsoft.com/office/drawing/2014/main" id="{32532361-509B-7A46-B1D7-55CBC5498FC0}"/>
              </a:ext>
            </a:extLst>
          </p:cNvPr>
          <p:cNvPicPr>
            <a:picLocks noChangeAspect="1"/>
          </p:cNvPicPr>
          <p:nvPr userDrawn="1"/>
        </p:nvPicPr>
        <p:blipFill>
          <a:blip r:embed="rId45">
            <a:extLst>
              <a:ext uri="{96DAC541-7B7A-43D3-8B79-37D633B846F1}">
                <asvg:svgBlip xmlns:asvg="http://schemas.microsoft.com/office/drawing/2016/SVG/main" r:embed="rId46"/>
              </a:ext>
            </a:extLst>
          </a:blip>
          <a:stretch>
            <a:fillRect/>
          </a:stretch>
        </p:blipFill>
        <p:spPr>
          <a:xfrm>
            <a:off x="13459014" y="2272264"/>
            <a:ext cx="242952" cy="242952"/>
          </a:xfrm>
          <a:prstGeom prst="rect">
            <a:avLst/>
          </a:prstGeom>
        </p:spPr>
      </p:pic>
      <p:pic>
        <p:nvPicPr>
          <p:cNvPr id="18" name="Gráfico 17" descr="Mapa da topografia estrutura de tópicos">
            <a:extLst>
              <a:ext uri="{FF2B5EF4-FFF2-40B4-BE49-F238E27FC236}">
                <a16:creationId xmlns:a16="http://schemas.microsoft.com/office/drawing/2014/main" id="{1BDC512B-4ED3-961D-76C0-58A033B4863F}"/>
              </a:ext>
            </a:extLst>
          </p:cNvPr>
          <p:cNvPicPr>
            <a:picLocks noChangeAspect="1"/>
          </p:cNvPicPr>
          <p:nvPr userDrawn="1"/>
        </p:nvPicPr>
        <p:blipFill>
          <a:blip r:embed="rId47">
            <a:extLst>
              <a:ext uri="{96DAC541-7B7A-43D3-8B79-37D633B846F1}">
                <asvg:svgBlip xmlns:asvg="http://schemas.microsoft.com/office/drawing/2016/SVG/main" r:embed="rId48"/>
              </a:ext>
            </a:extLst>
          </a:blip>
          <a:stretch>
            <a:fillRect/>
          </a:stretch>
        </p:blipFill>
        <p:spPr>
          <a:xfrm>
            <a:off x="13383978" y="5325046"/>
            <a:ext cx="214270" cy="214270"/>
          </a:xfrm>
          <a:prstGeom prst="rect">
            <a:avLst/>
          </a:prstGeom>
        </p:spPr>
      </p:pic>
      <p:pic>
        <p:nvPicPr>
          <p:cNvPr id="19" name="Gráfico 18" descr="Caminhão de lixo estrutura de tópicos">
            <a:extLst>
              <a:ext uri="{FF2B5EF4-FFF2-40B4-BE49-F238E27FC236}">
                <a16:creationId xmlns:a16="http://schemas.microsoft.com/office/drawing/2014/main" id="{71A9711F-F456-49EE-5BF2-E847298745B0}"/>
              </a:ext>
            </a:extLst>
          </p:cNvPr>
          <p:cNvPicPr>
            <a:picLocks noChangeAspect="1"/>
          </p:cNvPicPr>
          <p:nvPr userDrawn="1"/>
        </p:nvPicPr>
        <p:blipFill>
          <a:blip r:embed="rId49">
            <a:extLst>
              <a:ext uri="{96DAC541-7B7A-43D3-8B79-37D633B846F1}">
                <asvg:svgBlip xmlns:asvg="http://schemas.microsoft.com/office/drawing/2016/SVG/main" r:embed="rId50"/>
              </a:ext>
            </a:extLst>
          </a:blip>
          <a:stretch>
            <a:fillRect/>
          </a:stretch>
        </p:blipFill>
        <p:spPr>
          <a:xfrm>
            <a:off x="13596049" y="1112339"/>
            <a:ext cx="211834" cy="211834"/>
          </a:xfrm>
          <a:prstGeom prst="rect">
            <a:avLst/>
          </a:prstGeom>
        </p:spPr>
      </p:pic>
      <p:pic>
        <p:nvPicPr>
          <p:cNvPr id="20" name="Gráfico 19" descr="Área de Transferência estrutura de tópicos">
            <a:extLst>
              <a:ext uri="{FF2B5EF4-FFF2-40B4-BE49-F238E27FC236}">
                <a16:creationId xmlns:a16="http://schemas.microsoft.com/office/drawing/2014/main" id="{0B7D5D2B-E920-5228-5D71-03FA4EC24AB7}"/>
              </a:ext>
            </a:extLst>
          </p:cNvPr>
          <p:cNvPicPr>
            <a:picLocks noChangeAspect="1"/>
          </p:cNvPicPr>
          <p:nvPr userDrawn="1"/>
        </p:nvPicPr>
        <p:blipFill>
          <a:blip r:embed="rId51">
            <a:extLst>
              <a:ext uri="{96DAC541-7B7A-43D3-8B79-37D633B846F1}">
                <asvg:svgBlip xmlns:asvg="http://schemas.microsoft.com/office/drawing/2016/SVG/main" r:embed="rId52"/>
              </a:ext>
            </a:extLst>
          </a:blip>
          <a:stretch>
            <a:fillRect/>
          </a:stretch>
        </p:blipFill>
        <p:spPr>
          <a:xfrm>
            <a:off x="12940699" y="5716455"/>
            <a:ext cx="199733" cy="199733"/>
          </a:xfrm>
          <a:prstGeom prst="rect">
            <a:avLst/>
          </a:prstGeom>
        </p:spPr>
      </p:pic>
      <p:pic>
        <p:nvPicPr>
          <p:cNvPr id="21" name="Gráfico 20" descr="Área de Transferência Marcada estrutura de tópicos">
            <a:extLst>
              <a:ext uri="{FF2B5EF4-FFF2-40B4-BE49-F238E27FC236}">
                <a16:creationId xmlns:a16="http://schemas.microsoft.com/office/drawing/2014/main" id="{F1D20945-8D16-40DE-2D51-2B7423C50A81}"/>
              </a:ext>
            </a:extLst>
          </p:cNvPr>
          <p:cNvPicPr>
            <a:picLocks noChangeAspect="1"/>
          </p:cNvPicPr>
          <p:nvPr userDrawn="1"/>
        </p:nvPicPr>
        <p:blipFill>
          <a:blip r:embed="rId53">
            <a:extLst>
              <a:ext uri="{96DAC541-7B7A-43D3-8B79-37D633B846F1}">
                <asvg:svgBlip xmlns:asvg="http://schemas.microsoft.com/office/drawing/2016/SVG/main" r:embed="rId54"/>
              </a:ext>
            </a:extLst>
          </a:blip>
          <a:stretch>
            <a:fillRect/>
          </a:stretch>
        </p:blipFill>
        <p:spPr>
          <a:xfrm>
            <a:off x="14804579" y="3454273"/>
            <a:ext cx="274845" cy="274845"/>
          </a:xfrm>
          <a:prstGeom prst="rect">
            <a:avLst/>
          </a:prstGeom>
        </p:spPr>
      </p:pic>
      <p:pic>
        <p:nvPicPr>
          <p:cNvPr id="22" name="Gráfico 21" descr="Bússola estrutura de tópicos">
            <a:extLst>
              <a:ext uri="{FF2B5EF4-FFF2-40B4-BE49-F238E27FC236}">
                <a16:creationId xmlns:a16="http://schemas.microsoft.com/office/drawing/2014/main" id="{6C420177-92AA-84B7-F0A4-24F84B8716C5}"/>
              </a:ext>
            </a:extLst>
          </p:cNvPr>
          <p:cNvPicPr>
            <a:picLocks noChangeAspect="1"/>
          </p:cNvPicPr>
          <p:nvPr userDrawn="1"/>
        </p:nvPicPr>
        <p:blipFill>
          <a:blip r:embed="rId55">
            <a:extLst>
              <a:ext uri="{96DAC541-7B7A-43D3-8B79-37D633B846F1}">
                <asvg:svgBlip xmlns:asvg="http://schemas.microsoft.com/office/drawing/2016/SVG/main" r:embed="rId56"/>
              </a:ext>
            </a:extLst>
          </a:blip>
          <a:stretch>
            <a:fillRect/>
          </a:stretch>
        </p:blipFill>
        <p:spPr>
          <a:xfrm flipH="1">
            <a:off x="14776828" y="3143563"/>
            <a:ext cx="274844" cy="274844"/>
          </a:xfrm>
          <a:prstGeom prst="rect">
            <a:avLst/>
          </a:prstGeom>
        </p:spPr>
      </p:pic>
      <p:pic>
        <p:nvPicPr>
          <p:cNvPr id="23" name="Gráfico 22" descr="Cristais estrutura de tópicos">
            <a:extLst>
              <a:ext uri="{FF2B5EF4-FFF2-40B4-BE49-F238E27FC236}">
                <a16:creationId xmlns:a16="http://schemas.microsoft.com/office/drawing/2014/main" id="{132D3788-0ED4-1DB7-6F66-701745F12987}"/>
              </a:ext>
            </a:extLst>
          </p:cNvPr>
          <p:cNvPicPr>
            <a:picLocks noChangeAspect="1"/>
          </p:cNvPicPr>
          <p:nvPr userDrawn="1"/>
        </p:nvPicPr>
        <p:blipFill>
          <a:blip r:embed="rId57">
            <a:extLst>
              <a:ext uri="{96DAC541-7B7A-43D3-8B79-37D633B846F1}">
                <asvg:svgBlip xmlns:asvg="http://schemas.microsoft.com/office/drawing/2016/SVG/main" r:embed="rId58"/>
              </a:ext>
            </a:extLst>
          </a:blip>
          <a:stretch>
            <a:fillRect/>
          </a:stretch>
        </p:blipFill>
        <p:spPr>
          <a:xfrm>
            <a:off x="13302357" y="4851361"/>
            <a:ext cx="271075" cy="271075"/>
          </a:xfrm>
          <a:prstGeom prst="rect">
            <a:avLst/>
          </a:prstGeom>
        </p:spPr>
      </p:pic>
      <p:pic>
        <p:nvPicPr>
          <p:cNvPr id="24" name="Gráfico 23" descr="Trem de brinquedo estrutura de tópicos">
            <a:extLst>
              <a:ext uri="{FF2B5EF4-FFF2-40B4-BE49-F238E27FC236}">
                <a16:creationId xmlns:a16="http://schemas.microsoft.com/office/drawing/2014/main" id="{4C7606AE-ED0D-B3B7-E088-85E82B0974ED}"/>
              </a:ext>
            </a:extLst>
          </p:cNvPr>
          <p:cNvPicPr>
            <a:picLocks noChangeAspect="1"/>
          </p:cNvPicPr>
          <p:nvPr userDrawn="1"/>
        </p:nvPicPr>
        <p:blipFill>
          <a:blip r:embed="rId59">
            <a:extLst>
              <a:ext uri="{96DAC541-7B7A-43D3-8B79-37D633B846F1}">
                <asvg:svgBlip xmlns:asvg="http://schemas.microsoft.com/office/drawing/2016/SVG/main" r:embed="rId60"/>
              </a:ext>
            </a:extLst>
          </a:blip>
          <a:stretch>
            <a:fillRect/>
          </a:stretch>
        </p:blipFill>
        <p:spPr>
          <a:xfrm>
            <a:off x="14114976" y="701726"/>
            <a:ext cx="211834" cy="211834"/>
          </a:xfrm>
          <a:prstGeom prst="rect">
            <a:avLst/>
          </a:prstGeom>
        </p:spPr>
      </p:pic>
      <p:pic>
        <p:nvPicPr>
          <p:cNvPr id="25" name="Gráfico 24" descr="Carrinho de mão estrutura de tópicos">
            <a:extLst>
              <a:ext uri="{FF2B5EF4-FFF2-40B4-BE49-F238E27FC236}">
                <a16:creationId xmlns:a16="http://schemas.microsoft.com/office/drawing/2014/main" id="{0BDD9D82-3131-3A33-2A53-896A4B663258}"/>
              </a:ext>
            </a:extLst>
          </p:cNvPr>
          <p:cNvPicPr>
            <a:picLocks noChangeAspect="1"/>
          </p:cNvPicPr>
          <p:nvPr userDrawn="1"/>
        </p:nvPicPr>
        <p:blipFill>
          <a:blip r:embed="rId61">
            <a:extLst>
              <a:ext uri="{96DAC541-7B7A-43D3-8B79-37D633B846F1}">
                <asvg:svgBlip xmlns:asvg="http://schemas.microsoft.com/office/drawing/2016/SVG/main" r:embed="rId62"/>
              </a:ext>
            </a:extLst>
          </a:blip>
          <a:stretch>
            <a:fillRect/>
          </a:stretch>
        </p:blipFill>
        <p:spPr>
          <a:xfrm>
            <a:off x="13714980" y="500417"/>
            <a:ext cx="293859" cy="293859"/>
          </a:xfrm>
          <a:prstGeom prst="rect">
            <a:avLst/>
          </a:prstGeom>
        </p:spPr>
      </p:pic>
      <p:pic>
        <p:nvPicPr>
          <p:cNvPr id="26" name="Gráfico 25" descr="Barras de ouro estrutura de tópicos">
            <a:extLst>
              <a:ext uri="{FF2B5EF4-FFF2-40B4-BE49-F238E27FC236}">
                <a16:creationId xmlns:a16="http://schemas.microsoft.com/office/drawing/2014/main" id="{8E3FCE5E-2E30-1A9B-329F-E68142982B59}"/>
              </a:ext>
            </a:extLst>
          </p:cNvPr>
          <p:cNvPicPr>
            <a:picLocks noChangeAspect="1"/>
          </p:cNvPicPr>
          <p:nvPr userDrawn="1"/>
        </p:nvPicPr>
        <p:blipFill>
          <a:blip r:embed="rId63">
            <a:extLst>
              <a:ext uri="{96DAC541-7B7A-43D3-8B79-37D633B846F1}">
                <asvg:svgBlip xmlns:asvg="http://schemas.microsoft.com/office/drawing/2016/SVG/main" r:embed="rId64"/>
              </a:ext>
            </a:extLst>
          </a:blip>
          <a:stretch>
            <a:fillRect/>
          </a:stretch>
        </p:blipFill>
        <p:spPr>
          <a:xfrm>
            <a:off x="14888604" y="2573070"/>
            <a:ext cx="242953" cy="242953"/>
          </a:xfrm>
          <a:prstGeom prst="rect">
            <a:avLst/>
          </a:prstGeom>
        </p:spPr>
      </p:pic>
      <p:pic>
        <p:nvPicPr>
          <p:cNvPr id="28" name="Gráfico 27" descr="Pote de ouro estrutura de tópicos">
            <a:extLst>
              <a:ext uri="{FF2B5EF4-FFF2-40B4-BE49-F238E27FC236}">
                <a16:creationId xmlns:a16="http://schemas.microsoft.com/office/drawing/2014/main" id="{CF9EE902-47A5-5A68-7DA4-26052033AE0B}"/>
              </a:ext>
            </a:extLst>
          </p:cNvPr>
          <p:cNvPicPr>
            <a:picLocks noChangeAspect="1"/>
          </p:cNvPicPr>
          <p:nvPr userDrawn="1"/>
        </p:nvPicPr>
        <p:blipFill>
          <a:blip r:embed="rId65">
            <a:extLst>
              <a:ext uri="{96DAC541-7B7A-43D3-8B79-37D633B846F1}">
                <asvg:svgBlip xmlns:asvg="http://schemas.microsoft.com/office/drawing/2016/SVG/main" r:embed="rId66"/>
              </a:ext>
            </a:extLst>
          </a:blip>
          <a:stretch>
            <a:fillRect/>
          </a:stretch>
        </p:blipFill>
        <p:spPr>
          <a:xfrm>
            <a:off x="13325342" y="821010"/>
            <a:ext cx="255463" cy="255463"/>
          </a:xfrm>
          <a:prstGeom prst="rect">
            <a:avLst/>
          </a:prstGeom>
        </p:spPr>
      </p:pic>
      <p:pic>
        <p:nvPicPr>
          <p:cNvPr id="30" name="Gráfico 29" descr="Mapa do tesouro estrutura de tópicos">
            <a:extLst>
              <a:ext uri="{FF2B5EF4-FFF2-40B4-BE49-F238E27FC236}">
                <a16:creationId xmlns:a16="http://schemas.microsoft.com/office/drawing/2014/main" id="{01F3B905-75F9-0EED-E25B-960161825AA8}"/>
              </a:ext>
            </a:extLst>
          </p:cNvPr>
          <p:cNvPicPr>
            <a:picLocks noChangeAspect="1"/>
          </p:cNvPicPr>
          <p:nvPr userDrawn="1"/>
        </p:nvPicPr>
        <p:blipFill>
          <a:blip r:embed="rId67">
            <a:extLst>
              <a:ext uri="{96DAC541-7B7A-43D3-8B79-37D633B846F1}">
                <asvg:svgBlip xmlns:asvg="http://schemas.microsoft.com/office/drawing/2016/SVG/main" r:embed="rId68"/>
              </a:ext>
            </a:extLst>
          </a:blip>
          <a:stretch>
            <a:fillRect/>
          </a:stretch>
        </p:blipFill>
        <p:spPr>
          <a:xfrm>
            <a:off x="14240517" y="4579957"/>
            <a:ext cx="220966" cy="220966"/>
          </a:xfrm>
          <a:prstGeom prst="rect">
            <a:avLst/>
          </a:prstGeom>
        </p:spPr>
      </p:pic>
      <p:pic>
        <p:nvPicPr>
          <p:cNvPr id="32" name="Gráfico 31" descr="Mapa com alfinete estrutura de tópicos">
            <a:extLst>
              <a:ext uri="{FF2B5EF4-FFF2-40B4-BE49-F238E27FC236}">
                <a16:creationId xmlns:a16="http://schemas.microsoft.com/office/drawing/2014/main" id="{B2220691-CCCA-00DE-BDC0-2065FABC5A49}"/>
              </a:ext>
            </a:extLst>
          </p:cNvPr>
          <p:cNvPicPr>
            <a:picLocks noChangeAspect="1"/>
          </p:cNvPicPr>
          <p:nvPr userDrawn="1"/>
        </p:nvPicPr>
        <p:blipFill>
          <a:blip r:embed="rId69">
            <a:extLst>
              <a:ext uri="{96DAC541-7B7A-43D3-8B79-37D633B846F1}">
                <asvg:svgBlip xmlns:asvg="http://schemas.microsoft.com/office/drawing/2016/SVG/main" r:embed="rId70"/>
              </a:ext>
            </a:extLst>
          </a:blip>
          <a:stretch>
            <a:fillRect/>
          </a:stretch>
        </p:blipFill>
        <p:spPr>
          <a:xfrm>
            <a:off x="14339112" y="4116238"/>
            <a:ext cx="242953" cy="242953"/>
          </a:xfrm>
          <a:prstGeom prst="rect">
            <a:avLst/>
          </a:prstGeom>
        </p:spPr>
      </p:pic>
      <p:pic>
        <p:nvPicPr>
          <p:cNvPr id="33" name="Gráfico 32" descr="Trilhos de trem estrutura de tópicos">
            <a:extLst>
              <a:ext uri="{FF2B5EF4-FFF2-40B4-BE49-F238E27FC236}">
                <a16:creationId xmlns:a16="http://schemas.microsoft.com/office/drawing/2014/main" id="{29AA9D78-A40F-A0D5-94D8-EDF382D77DA7}"/>
              </a:ext>
            </a:extLst>
          </p:cNvPr>
          <p:cNvPicPr>
            <a:picLocks noChangeAspect="1"/>
          </p:cNvPicPr>
          <p:nvPr userDrawn="1"/>
        </p:nvPicPr>
        <p:blipFill>
          <a:blip r:embed="rId71">
            <a:extLst>
              <a:ext uri="{96DAC541-7B7A-43D3-8B79-37D633B846F1}">
                <asvg:svgBlip xmlns:asvg="http://schemas.microsoft.com/office/drawing/2016/SVG/main" r:embed="rId72"/>
              </a:ext>
            </a:extLst>
          </a:blip>
          <a:stretch>
            <a:fillRect/>
          </a:stretch>
        </p:blipFill>
        <p:spPr>
          <a:xfrm>
            <a:off x="14870878" y="2842757"/>
            <a:ext cx="242952" cy="242952"/>
          </a:xfrm>
          <a:prstGeom prst="rect">
            <a:avLst/>
          </a:prstGeom>
        </p:spPr>
      </p:pic>
      <p:pic>
        <p:nvPicPr>
          <p:cNvPr id="34" name="Gráfico 33" descr="Globo estrutura de tópicos">
            <a:extLst>
              <a:ext uri="{FF2B5EF4-FFF2-40B4-BE49-F238E27FC236}">
                <a16:creationId xmlns:a16="http://schemas.microsoft.com/office/drawing/2014/main" id="{D27B2EF7-9895-0618-8B6A-E080254CC6B3}"/>
              </a:ext>
            </a:extLst>
          </p:cNvPr>
          <p:cNvPicPr>
            <a:picLocks noChangeAspect="1"/>
          </p:cNvPicPr>
          <p:nvPr userDrawn="1"/>
        </p:nvPicPr>
        <p:blipFill>
          <a:blip r:embed="rId73">
            <a:extLst>
              <a:ext uri="{96DAC541-7B7A-43D3-8B79-37D633B846F1}">
                <asvg:svgBlip xmlns:asvg="http://schemas.microsoft.com/office/drawing/2016/SVG/main" r:embed="rId74"/>
              </a:ext>
            </a:extLst>
          </a:blip>
          <a:stretch>
            <a:fillRect/>
          </a:stretch>
        </p:blipFill>
        <p:spPr>
          <a:xfrm>
            <a:off x="13577612" y="2422666"/>
            <a:ext cx="242954" cy="242954"/>
          </a:xfrm>
          <a:prstGeom prst="rect">
            <a:avLst/>
          </a:prstGeom>
        </p:spPr>
      </p:pic>
      <p:pic>
        <p:nvPicPr>
          <p:cNvPr id="35" name="Gráfico 34" descr="Mundo estrutura de tópicos">
            <a:extLst>
              <a:ext uri="{FF2B5EF4-FFF2-40B4-BE49-F238E27FC236}">
                <a16:creationId xmlns:a16="http://schemas.microsoft.com/office/drawing/2014/main" id="{6FF17257-CF5D-93EA-7C30-4BA9081BE2E4}"/>
              </a:ext>
            </a:extLst>
          </p:cNvPr>
          <p:cNvPicPr>
            <a:picLocks noChangeAspect="1"/>
          </p:cNvPicPr>
          <p:nvPr userDrawn="1"/>
        </p:nvPicPr>
        <p:blipFill>
          <a:blip r:embed="rId75">
            <a:extLst>
              <a:ext uri="{96DAC541-7B7A-43D3-8B79-37D633B846F1}">
                <asvg:svgBlip xmlns:asvg="http://schemas.microsoft.com/office/drawing/2016/SVG/main" r:embed="rId76"/>
              </a:ext>
            </a:extLst>
          </a:blip>
          <a:stretch>
            <a:fillRect/>
          </a:stretch>
        </p:blipFill>
        <p:spPr>
          <a:xfrm>
            <a:off x="13567259" y="4417045"/>
            <a:ext cx="255462" cy="255462"/>
          </a:xfrm>
          <a:prstGeom prst="rect">
            <a:avLst/>
          </a:prstGeom>
        </p:spPr>
      </p:pic>
      <p:pic>
        <p:nvPicPr>
          <p:cNvPr id="36" name="Gráfico 35" descr="Bússola de mapa estrutura de tópicos">
            <a:extLst>
              <a:ext uri="{FF2B5EF4-FFF2-40B4-BE49-F238E27FC236}">
                <a16:creationId xmlns:a16="http://schemas.microsoft.com/office/drawing/2014/main" id="{5FAEB632-7EE6-0BF8-FAC3-DEE6E4D053FD}"/>
              </a:ext>
            </a:extLst>
          </p:cNvPr>
          <p:cNvPicPr>
            <a:picLocks noChangeAspect="1"/>
          </p:cNvPicPr>
          <p:nvPr userDrawn="1"/>
        </p:nvPicPr>
        <p:blipFill>
          <a:blip r:embed="rId77">
            <a:extLst>
              <a:ext uri="{96DAC541-7B7A-43D3-8B79-37D633B846F1}">
                <asvg:svgBlip xmlns:asvg="http://schemas.microsoft.com/office/drawing/2016/SVG/main" r:embed="rId78"/>
              </a:ext>
            </a:extLst>
          </a:blip>
          <a:stretch>
            <a:fillRect/>
          </a:stretch>
        </p:blipFill>
        <p:spPr>
          <a:xfrm>
            <a:off x="13946312" y="1725431"/>
            <a:ext cx="306686" cy="306686"/>
          </a:xfrm>
          <a:prstGeom prst="rect">
            <a:avLst/>
          </a:prstGeom>
        </p:spPr>
      </p:pic>
      <p:pic>
        <p:nvPicPr>
          <p:cNvPr id="37" name="Gráfico 36" descr="Cena de estrada estrutura de tópicos">
            <a:extLst>
              <a:ext uri="{FF2B5EF4-FFF2-40B4-BE49-F238E27FC236}">
                <a16:creationId xmlns:a16="http://schemas.microsoft.com/office/drawing/2014/main" id="{2355756D-5A01-3BF7-BB12-9B6B57C60F7D}"/>
              </a:ext>
            </a:extLst>
          </p:cNvPr>
          <p:cNvPicPr>
            <a:picLocks noChangeAspect="1"/>
          </p:cNvPicPr>
          <p:nvPr userDrawn="1"/>
        </p:nvPicPr>
        <p:blipFill>
          <a:blip r:embed="rId79">
            <a:extLst>
              <a:ext uri="{96DAC541-7B7A-43D3-8B79-37D633B846F1}">
                <asvg:svgBlip xmlns:asvg="http://schemas.microsoft.com/office/drawing/2016/SVG/main" r:embed="rId80"/>
              </a:ext>
            </a:extLst>
          </a:blip>
          <a:stretch>
            <a:fillRect/>
          </a:stretch>
        </p:blipFill>
        <p:spPr>
          <a:xfrm flipH="1">
            <a:off x="14440317" y="3636568"/>
            <a:ext cx="302532" cy="302532"/>
          </a:xfrm>
          <a:prstGeom prst="rect">
            <a:avLst/>
          </a:prstGeom>
        </p:spPr>
      </p:pic>
      <p:pic>
        <p:nvPicPr>
          <p:cNvPr id="38" name="Gráfico 37" descr="Compasso estrutura de tópicos">
            <a:extLst>
              <a:ext uri="{FF2B5EF4-FFF2-40B4-BE49-F238E27FC236}">
                <a16:creationId xmlns:a16="http://schemas.microsoft.com/office/drawing/2014/main" id="{FB18B9E5-4754-08C4-3E89-2B33637D03C0}"/>
              </a:ext>
            </a:extLst>
          </p:cNvPr>
          <p:cNvPicPr>
            <a:picLocks noChangeAspect="1"/>
          </p:cNvPicPr>
          <p:nvPr userDrawn="1"/>
        </p:nvPicPr>
        <p:blipFill>
          <a:blip r:embed="rId81">
            <a:extLst>
              <a:ext uri="{96DAC541-7B7A-43D3-8B79-37D633B846F1}">
                <asvg:svgBlip xmlns:asvg="http://schemas.microsoft.com/office/drawing/2016/SVG/main" r:embed="rId82"/>
              </a:ext>
            </a:extLst>
          </a:blip>
          <a:stretch>
            <a:fillRect/>
          </a:stretch>
        </p:blipFill>
        <p:spPr>
          <a:xfrm>
            <a:off x="14578550" y="1573212"/>
            <a:ext cx="244769" cy="244769"/>
          </a:xfrm>
          <a:prstGeom prst="rect">
            <a:avLst/>
          </a:prstGeom>
        </p:spPr>
      </p:pic>
      <p:pic>
        <p:nvPicPr>
          <p:cNvPr id="39" name="Gráfico 38" descr="Trilhos de trem estrutura de tópicos">
            <a:extLst>
              <a:ext uri="{FF2B5EF4-FFF2-40B4-BE49-F238E27FC236}">
                <a16:creationId xmlns:a16="http://schemas.microsoft.com/office/drawing/2014/main" id="{C92C70C5-C2A6-A477-EEB8-601B8D205D89}"/>
              </a:ext>
            </a:extLst>
          </p:cNvPr>
          <p:cNvPicPr>
            <a:picLocks noChangeAspect="1"/>
          </p:cNvPicPr>
          <p:nvPr userDrawn="1"/>
        </p:nvPicPr>
        <p:blipFill>
          <a:blip r:embed="rId71">
            <a:extLst>
              <a:ext uri="{96DAC541-7B7A-43D3-8B79-37D633B846F1}">
                <asvg:svgBlip xmlns:asvg="http://schemas.microsoft.com/office/drawing/2016/SVG/main" r:embed="rId72"/>
              </a:ext>
            </a:extLst>
          </a:blip>
          <a:stretch>
            <a:fillRect/>
          </a:stretch>
        </p:blipFill>
        <p:spPr>
          <a:xfrm>
            <a:off x="14044071" y="5174644"/>
            <a:ext cx="242952" cy="242952"/>
          </a:xfrm>
          <a:prstGeom prst="rect">
            <a:avLst/>
          </a:prstGeom>
        </p:spPr>
      </p:pic>
      <p:pic>
        <p:nvPicPr>
          <p:cNvPr id="40" name="Gráfico 39" descr="Matérias primas estrutura de tópicos">
            <a:extLst>
              <a:ext uri="{FF2B5EF4-FFF2-40B4-BE49-F238E27FC236}">
                <a16:creationId xmlns:a16="http://schemas.microsoft.com/office/drawing/2014/main" id="{07B5BB62-52E0-DDBD-5DBB-1E49FF58450E}"/>
              </a:ext>
            </a:extLst>
          </p:cNvPr>
          <p:cNvPicPr>
            <a:picLocks noChangeAspect="1"/>
          </p:cNvPicPr>
          <p:nvPr userDrawn="1"/>
        </p:nvPicPr>
        <p:blipFill>
          <a:blip r:embed="rId39">
            <a:extLst>
              <a:ext uri="{96DAC541-7B7A-43D3-8B79-37D633B846F1}">
                <asvg:svgBlip xmlns:asvg="http://schemas.microsoft.com/office/drawing/2016/SVG/main" r:embed="rId40"/>
              </a:ext>
            </a:extLst>
          </a:blip>
          <a:stretch>
            <a:fillRect/>
          </a:stretch>
        </p:blipFill>
        <p:spPr>
          <a:xfrm>
            <a:off x="14214120" y="1231623"/>
            <a:ext cx="242954" cy="242954"/>
          </a:xfrm>
          <a:prstGeom prst="rect">
            <a:avLst/>
          </a:prstGeom>
        </p:spPr>
      </p:pic>
      <p:pic>
        <p:nvPicPr>
          <p:cNvPr id="41" name="Gráfico 40" descr="Globo estrutura de tópicos">
            <a:extLst>
              <a:ext uri="{FF2B5EF4-FFF2-40B4-BE49-F238E27FC236}">
                <a16:creationId xmlns:a16="http://schemas.microsoft.com/office/drawing/2014/main" id="{9209910A-2692-51DA-CF5A-6C3BF9E6D977}"/>
              </a:ext>
            </a:extLst>
          </p:cNvPr>
          <p:cNvPicPr>
            <a:picLocks noChangeAspect="1"/>
          </p:cNvPicPr>
          <p:nvPr userDrawn="1"/>
        </p:nvPicPr>
        <p:blipFill>
          <a:blip r:embed="rId73">
            <a:extLst>
              <a:ext uri="{96DAC541-7B7A-43D3-8B79-37D633B846F1}">
                <asvg:svgBlip xmlns:asvg="http://schemas.microsoft.com/office/drawing/2016/SVG/main" r:embed="rId74"/>
              </a:ext>
            </a:extLst>
          </a:blip>
          <a:stretch>
            <a:fillRect/>
          </a:stretch>
        </p:blipFill>
        <p:spPr>
          <a:xfrm>
            <a:off x="14141174" y="3846550"/>
            <a:ext cx="242954" cy="242954"/>
          </a:xfrm>
          <a:prstGeom prst="rect">
            <a:avLst/>
          </a:prstGeom>
        </p:spPr>
      </p:pic>
      <p:pic>
        <p:nvPicPr>
          <p:cNvPr id="42" name="Gráfico 41" descr="Trem de brinquedo estrutura de tópicos">
            <a:extLst>
              <a:ext uri="{FF2B5EF4-FFF2-40B4-BE49-F238E27FC236}">
                <a16:creationId xmlns:a16="http://schemas.microsoft.com/office/drawing/2014/main" id="{6AF85600-9BD1-3F8C-3267-7560B2177531}"/>
              </a:ext>
            </a:extLst>
          </p:cNvPr>
          <p:cNvPicPr>
            <a:picLocks noChangeAspect="1"/>
          </p:cNvPicPr>
          <p:nvPr userDrawn="1"/>
        </p:nvPicPr>
        <p:blipFill>
          <a:blip r:embed="rId59">
            <a:extLst>
              <a:ext uri="{96DAC541-7B7A-43D3-8B79-37D633B846F1}">
                <asvg:svgBlip xmlns:asvg="http://schemas.microsoft.com/office/drawing/2016/SVG/main" r:embed="rId60"/>
              </a:ext>
            </a:extLst>
          </a:blip>
          <a:stretch>
            <a:fillRect/>
          </a:stretch>
        </p:blipFill>
        <p:spPr>
          <a:xfrm>
            <a:off x="14265256" y="2723473"/>
            <a:ext cx="211834" cy="211834"/>
          </a:xfrm>
          <a:prstGeom prst="rect">
            <a:avLst/>
          </a:prstGeom>
        </p:spPr>
      </p:pic>
      <p:pic>
        <p:nvPicPr>
          <p:cNvPr id="43" name="Gráfico 42" descr="Matérias primas estrutura de tópicos">
            <a:extLst>
              <a:ext uri="{FF2B5EF4-FFF2-40B4-BE49-F238E27FC236}">
                <a16:creationId xmlns:a16="http://schemas.microsoft.com/office/drawing/2014/main" id="{8D8078A1-4EA2-7541-BFE3-B74B7BF001D7}"/>
              </a:ext>
            </a:extLst>
          </p:cNvPr>
          <p:cNvPicPr>
            <a:picLocks noChangeAspect="1"/>
          </p:cNvPicPr>
          <p:nvPr userDrawn="1"/>
        </p:nvPicPr>
        <p:blipFill>
          <a:blip r:embed="rId39">
            <a:extLst>
              <a:ext uri="{96DAC541-7B7A-43D3-8B79-37D633B846F1}">
                <asvg:svgBlip xmlns:asvg="http://schemas.microsoft.com/office/drawing/2016/SVG/main" r:embed="rId40"/>
              </a:ext>
            </a:extLst>
          </a:blip>
          <a:stretch>
            <a:fillRect/>
          </a:stretch>
        </p:blipFill>
        <p:spPr>
          <a:xfrm>
            <a:off x="13244075" y="5566050"/>
            <a:ext cx="242954" cy="242954"/>
          </a:xfrm>
          <a:prstGeom prst="rect">
            <a:avLst/>
          </a:prstGeom>
        </p:spPr>
      </p:pic>
      <p:pic>
        <p:nvPicPr>
          <p:cNvPr id="44" name="Gráfico 43" descr="Mapa do tesouro estrutura de tópicos">
            <a:extLst>
              <a:ext uri="{FF2B5EF4-FFF2-40B4-BE49-F238E27FC236}">
                <a16:creationId xmlns:a16="http://schemas.microsoft.com/office/drawing/2014/main" id="{7B951DF5-D3BC-6A46-7754-CF43BB05E3C3}"/>
              </a:ext>
            </a:extLst>
          </p:cNvPr>
          <p:cNvPicPr>
            <a:picLocks noChangeAspect="1"/>
          </p:cNvPicPr>
          <p:nvPr userDrawn="1"/>
        </p:nvPicPr>
        <p:blipFill>
          <a:blip r:embed="rId67">
            <a:extLst>
              <a:ext uri="{96DAC541-7B7A-43D3-8B79-37D633B846F1}">
                <asvg:svgBlip xmlns:asvg="http://schemas.microsoft.com/office/drawing/2016/SVG/main" r:embed="rId68"/>
              </a:ext>
            </a:extLst>
          </a:blip>
          <a:stretch>
            <a:fillRect/>
          </a:stretch>
        </p:blipFill>
        <p:spPr>
          <a:xfrm>
            <a:off x="13816433" y="983923"/>
            <a:ext cx="220966" cy="220966"/>
          </a:xfrm>
          <a:prstGeom prst="rect">
            <a:avLst/>
          </a:prstGeom>
        </p:spPr>
      </p:pic>
      <p:pic>
        <p:nvPicPr>
          <p:cNvPr id="45" name="Gráfico 44" descr="Área de Transferência Marcada estrutura de tópicos">
            <a:extLst>
              <a:ext uri="{FF2B5EF4-FFF2-40B4-BE49-F238E27FC236}">
                <a16:creationId xmlns:a16="http://schemas.microsoft.com/office/drawing/2014/main" id="{922D4BC0-55E5-940D-FBC9-7553451F6D0F}"/>
              </a:ext>
            </a:extLst>
          </p:cNvPr>
          <p:cNvPicPr>
            <a:picLocks noChangeAspect="1"/>
          </p:cNvPicPr>
          <p:nvPr userDrawn="1"/>
        </p:nvPicPr>
        <p:blipFill>
          <a:blip r:embed="rId53">
            <a:extLst>
              <a:ext uri="{96DAC541-7B7A-43D3-8B79-37D633B846F1}">
                <asvg:svgBlip xmlns:asvg="http://schemas.microsoft.com/office/drawing/2016/SVG/main" r:embed="rId54"/>
              </a:ext>
            </a:extLst>
          </a:blip>
          <a:stretch>
            <a:fillRect/>
          </a:stretch>
        </p:blipFill>
        <p:spPr>
          <a:xfrm>
            <a:off x="14386567" y="1939567"/>
            <a:ext cx="274845" cy="274845"/>
          </a:xfrm>
          <a:prstGeom prst="rect">
            <a:avLst/>
          </a:prstGeom>
        </p:spPr>
      </p:pic>
      <p:pic>
        <p:nvPicPr>
          <p:cNvPr id="46" name="Gráfico 45" descr="Trem de brinquedo estrutura de tópicos">
            <a:extLst>
              <a:ext uri="{FF2B5EF4-FFF2-40B4-BE49-F238E27FC236}">
                <a16:creationId xmlns:a16="http://schemas.microsoft.com/office/drawing/2014/main" id="{4E44D481-2ED6-C84D-2C21-2412913B5CC3}"/>
              </a:ext>
            </a:extLst>
          </p:cNvPr>
          <p:cNvPicPr>
            <a:picLocks noChangeAspect="1"/>
          </p:cNvPicPr>
          <p:nvPr userDrawn="1"/>
        </p:nvPicPr>
        <p:blipFill>
          <a:blip r:embed="rId59">
            <a:extLst>
              <a:ext uri="{96DAC541-7B7A-43D3-8B79-37D633B846F1}">
                <asvg:svgBlip xmlns:asvg="http://schemas.microsoft.com/office/drawing/2016/SVG/main" r:embed="rId60"/>
              </a:ext>
            </a:extLst>
          </a:blip>
          <a:stretch>
            <a:fillRect/>
          </a:stretch>
        </p:blipFill>
        <p:spPr>
          <a:xfrm>
            <a:off x="14776828" y="3996954"/>
            <a:ext cx="211834" cy="211834"/>
          </a:xfrm>
          <a:prstGeom prst="rect">
            <a:avLst/>
          </a:prstGeom>
        </p:spPr>
      </p:pic>
      <p:pic>
        <p:nvPicPr>
          <p:cNvPr id="47" name="Gráfico 46" descr="Matérias primas estrutura de tópicos">
            <a:extLst>
              <a:ext uri="{FF2B5EF4-FFF2-40B4-BE49-F238E27FC236}">
                <a16:creationId xmlns:a16="http://schemas.microsoft.com/office/drawing/2014/main" id="{F41F90FD-58E5-06C9-88E1-02EE7679A3DE}"/>
              </a:ext>
            </a:extLst>
          </p:cNvPr>
          <p:cNvPicPr>
            <a:picLocks noChangeAspect="1"/>
          </p:cNvPicPr>
          <p:nvPr userDrawn="1"/>
        </p:nvPicPr>
        <p:blipFill>
          <a:blip r:embed="rId39">
            <a:extLst>
              <a:ext uri="{96DAC541-7B7A-43D3-8B79-37D633B846F1}">
                <asvg:svgBlip xmlns:asvg="http://schemas.microsoft.com/office/drawing/2016/SVG/main" r:embed="rId40"/>
              </a:ext>
            </a:extLst>
          </a:blip>
          <a:stretch>
            <a:fillRect/>
          </a:stretch>
        </p:blipFill>
        <p:spPr>
          <a:xfrm>
            <a:off x="14477092" y="4266641"/>
            <a:ext cx="242954" cy="242954"/>
          </a:xfrm>
          <a:prstGeom prst="rect">
            <a:avLst/>
          </a:prstGeom>
        </p:spPr>
      </p:pic>
      <p:pic>
        <p:nvPicPr>
          <p:cNvPr id="48" name="Gráfico 47" descr="Mapa do tesouro estrutura de tópicos">
            <a:extLst>
              <a:ext uri="{FF2B5EF4-FFF2-40B4-BE49-F238E27FC236}">
                <a16:creationId xmlns:a16="http://schemas.microsoft.com/office/drawing/2014/main" id="{5A0884C7-11F4-27ED-CAA5-AC6B68E4326D}"/>
              </a:ext>
            </a:extLst>
          </p:cNvPr>
          <p:cNvPicPr>
            <a:picLocks noChangeAspect="1"/>
          </p:cNvPicPr>
          <p:nvPr userDrawn="1"/>
        </p:nvPicPr>
        <p:blipFill>
          <a:blip r:embed="rId67">
            <a:extLst>
              <a:ext uri="{96DAC541-7B7A-43D3-8B79-37D633B846F1}">
                <asvg:svgBlip xmlns:asvg="http://schemas.microsoft.com/office/drawing/2016/SVG/main" r:embed="rId68"/>
              </a:ext>
            </a:extLst>
          </a:blip>
          <a:stretch>
            <a:fillRect/>
          </a:stretch>
        </p:blipFill>
        <p:spPr>
          <a:xfrm>
            <a:off x="14274679" y="3325857"/>
            <a:ext cx="220966" cy="220966"/>
          </a:xfrm>
          <a:prstGeom prst="rect">
            <a:avLst/>
          </a:prstGeom>
        </p:spPr>
      </p:pic>
      <p:pic>
        <p:nvPicPr>
          <p:cNvPr id="49" name="Gráfico 48" descr="Caminhão de lixo estrutura de tópicos">
            <a:extLst>
              <a:ext uri="{FF2B5EF4-FFF2-40B4-BE49-F238E27FC236}">
                <a16:creationId xmlns:a16="http://schemas.microsoft.com/office/drawing/2014/main" id="{B7AC7C5D-6CC1-8DCD-FFB2-D4571509E893}"/>
              </a:ext>
            </a:extLst>
          </p:cNvPr>
          <p:cNvPicPr>
            <a:picLocks noChangeAspect="1"/>
          </p:cNvPicPr>
          <p:nvPr userDrawn="1"/>
        </p:nvPicPr>
        <p:blipFill>
          <a:blip r:embed="rId49">
            <a:extLst>
              <a:ext uri="{96DAC541-7B7A-43D3-8B79-37D633B846F1}">
                <asvg:svgBlip xmlns:asvg="http://schemas.microsoft.com/office/drawing/2016/SVG/main" r:embed="rId50"/>
              </a:ext>
            </a:extLst>
          </a:blip>
          <a:stretch>
            <a:fillRect/>
          </a:stretch>
        </p:blipFill>
        <p:spPr>
          <a:xfrm>
            <a:off x="13037167" y="5446766"/>
            <a:ext cx="211834" cy="211834"/>
          </a:xfrm>
          <a:prstGeom prst="rect">
            <a:avLst/>
          </a:prstGeom>
        </p:spPr>
      </p:pic>
      <p:pic>
        <p:nvPicPr>
          <p:cNvPr id="50" name="Gráfico 49" descr="Bússola estrutura de tópicos">
            <a:extLst>
              <a:ext uri="{FF2B5EF4-FFF2-40B4-BE49-F238E27FC236}">
                <a16:creationId xmlns:a16="http://schemas.microsoft.com/office/drawing/2014/main" id="{828359E1-7125-2FE0-F0C7-5314016A4551}"/>
              </a:ext>
            </a:extLst>
          </p:cNvPr>
          <p:cNvPicPr>
            <a:picLocks noChangeAspect="1"/>
          </p:cNvPicPr>
          <p:nvPr userDrawn="1"/>
        </p:nvPicPr>
        <p:blipFill>
          <a:blip r:embed="rId55">
            <a:extLst>
              <a:ext uri="{96DAC541-7B7A-43D3-8B79-37D633B846F1}">
                <asvg:svgBlip xmlns:asvg="http://schemas.microsoft.com/office/drawing/2016/SVG/main" r:embed="rId56"/>
              </a:ext>
            </a:extLst>
          </a:blip>
          <a:stretch>
            <a:fillRect/>
          </a:stretch>
        </p:blipFill>
        <p:spPr>
          <a:xfrm flipH="1">
            <a:off x="13021777" y="5029886"/>
            <a:ext cx="237308" cy="237308"/>
          </a:xfrm>
          <a:prstGeom prst="rect">
            <a:avLst/>
          </a:prstGeom>
        </p:spPr>
      </p:pic>
      <p:pic>
        <p:nvPicPr>
          <p:cNvPr id="51" name="Gráfico 50" descr="Globo estrutura de tópicos">
            <a:extLst>
              <a:ext uri="{FF2B5EF4-FFF2-40B4-BE49-F238E27FC236}">
                <a16:creationId xmlns:a16="http://schemas.microsoft.com/office/drawing/2014/main" id="{C99849C7-4D12-C2B0-FFA0-90637BCC0E34}"/>
              </a:ext>
            </a:extLst>
          </p:cNvPr>
          <p:cNvPicPr>
            <a:picLocks noChangeAspect="1"/>
          </p:cNvPicPr>
          <p:nvPr userDrawn="1"/>
        </p:nvPicPr>
        <p:blipFill>
          <a:blip r:embed="rId73">
            <a:extLst>
              <a:ext uri="{96DAC541-7B7A-43D3-8B79-37D633B846F1}">
                <asvg:svgBlip xmlns:asvg="http://schemas.microsoft.com/office/drawing/2016/SVG/main" r:embed="rId74"/>
              </a:ext>
            </a:extLst>
          </a:blip>
          <a:stretch>
            <a:fillRect/>
          </a:stretch>
        </p:blipFill>
        <p:spPr>
          <a:xfrm>
            <a:off x="13959598" y="4708373"/>
            <a:ext cx="235538" cy="2355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30149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10" r:id="rId1"/>
    <p:sldLayoutId id="2147484011" r:id="rId2"/>
    <p:sldLayoutId id="2147484012" r:id="rId3"/>
    <p:sldLayoutId id="2147484013" r:id="rId4"/>
    <p:sldLayoutId id="2147484014" r:id="rId5"/>
    <p:sldLayoutId id="2147484015" r:id="rId6"/>
    <p:sldLayoutId id="2147484016" r:id="rId7"/>
    <p:sldLayoutId id="2147484017" r:id="rId8"/>
    <p:sldLayoutId id="2147484018" r:id="rId9"/>
    <p:sldLayoutId id="2147484019" r:id="rId10"/>
    <p:sldLayoutId id="2147484020" r:id="rId11"/>
    <p:sldLayoutId id="2147484021" r:id="rId12"/>
    <p:sldLayoutId id="2147484022" r:id="rId13"/>
    <p:sldLayoutId id="2147484023" r:id="rId14"/>
    <p:sldLayoutId id="2147484024" r:id="rId15"/>
    <p:sldLayoutId id="2147484025" r:id="rId16"/>
    <p:sldLayoutId id="2147484026" r:id="rId17"/>
    <p:sldLayoutId id="2147484027" r:id="rId18"/>
    <p:sldLayoutId id="2147484028" r:id="rId19"/>
    <p:sldLayoutId id="2147484029" r:id="rId20"/>
    <p:sldLayoutId id="2147484030" r:id="rId21"/>
    <p:sldLayoutId id="2147484031" r:id="rId22"/>
    <p:sldLayoutId id="2147484032" r:id="rId23"/>
    <p:sldLayoutId id="2147484033" r:id="rId24"/>
    <p:sldLayoutId id="2147484034" r:id="rId25"/>
    <p:sldLayoutId id="2147484035" r:id="rId26"/>
    <p:sldLayoutId id="2147484036" r:id="rId27"/>
    <p:sldLayoutId id="2147484037" r:id="rId28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000" b="1" kern="1200" spc="-40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2000"/>
        </a:spcBef>
        <a:spcAft>
          <a:spcPts val="500"/>
        </a:spcAft>
        <a:buFont typeface="Arial" panose="020B0604020202020204" pitchFamily="34" charset="0"/>
        <a:buNone/>
        <a:defRPr sz="1700" b="1" kern="1200">
          <a:solidFill>
            <a:schemeClr val="accent2"/>
          </a:solidFill>
          <a:latin typeface="+mn-lt"/>
          <a:ea typeface="+mn-ea"/>
          <a:cs typeface="+mn-cs"/>
        </a:defRPr>
      </a:lvl1pPr>
      <a:lvl2pPr marL="285750" indent="-285750" algn="l" defTabSz="914400" rtl="0" eaLnBrk="1" latinLnBrk="0" hangingPunct="1">
        <a:lnSpc>
          <a:spcPct val="110000"/>
        </a:lnSpc>
        <a:spcBef>
          <a:spcPts val="0"/>
        </a:spcBef>
        <a:spcAft>
          <a:spcPts val="500"/>
        </a:spcAft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936000" indent="288000" algn="l" defTabSz="914400" rtl="0" eaLnBrk="1" latinLnBrk="0" hangingPunct="1">
        <a:lnSpc>
          <a:spcPct val="110000"/>
        </a:lnSpc>
        <a:spcBef>
          <a:spcPts val="0"/>
        </a:spcBef>
        <a:spcAft>
          <a:spcPts val="500"/>
        </a:spcAft>
        <a:buFont typeface="Arial" panose="020B0604020202020204" pitchFamily="34" charset="0"/>
        <a:buChar char="•"/>
        <a:defRPr lang="pt-BR" sz="1600" kern="1200" dirty="0">
          <a:solidFill>
            <a:schemeClr val="tx2"/>
          </a:solidFill>
          <a:latin typeface="+mn-lt"/>
          <a:ea typeface="+mn-ea"/>
          <a:cs typeface="+mn-cs"/>
        </a:defRPr>
      </a:lvl3pPr>
      <a:lvl4pPr marL="1657350" indent="-28575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114550" indent="-28575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>
          <p15:clr>
            <a:srgbClr val="F26B43"/>
          </p15:clr>
        </p15:guide>
        <p15:guide id="2" pos="7680">
          <p15:clr>
            <a:srgbClr val="F26B43"/>
          </p15:clr>
        </p15:guide>
        <p15:guide id="3" pos="576">
          <p15:clr>
            <a:srgbClr val="F26B43"/>
          </p15:clr>
        </p15:guide>
        <p15:guide id="4" pos="988">
          <p15:clr>
            <a:srgbClr val="F26B43"/>
          </p15:clr>
        </p15:guide>
        <p15:guide id="5" pos="1141">
          <p15:clr>
            <a:srgbClr val="F26B43"/>
          </p15:clr>
        </p15:guide>
        <p15:guide id="6" pos="1544">
          <p15:clr>
            <a:srgbClr val="F26B43"/>
          </p15:clr>
        </p15:guide>
        <p15:guide id="7" pos="1688">
          <p15:clr>
            <a:srgbClr val="F26B43"/>
          </p15:clr>
        </p15:guide>
        <p15:guide id="8" pos="2100">
          <p15:clr>
            <a:srgbClr val="F26B43"/>
          </p15:clr>
        </p15:guide>
        <p15:guide id="9" pos="2244">
          <p15:clr>
            <a:srgbClr val="F26B43"/>
          </p15:clr>
        </p15:guide>
        <p15:guide id="10" pos="2656">
          <p15:clr>
            <a:srgbClr val="F26B43"/>
          </p15:clr>
        </p15:guide>
        <p15:guide id="11" pos="2800">
          <p15:clr>
            <a:srgbClr val="F26B43"/>
          </p15:clr>
        </p15:guide>
        <p15:guide id="12" pos="3212">
          <p15:clr>
            <a:srgbClr val="F26B43"/>
          </p15:clr>
        </p15:guide>
        <p15:guide id="13" pos="3356">
          <p15:clr>
            <a:srgbClr val="F26B43"/>
          </p15:clr>
        </p15:guide>
        <p15:guide id="14" pos="3768">
          <p15:clr>
            <a:srgbClr val="F26B43"/>
          </p15:clr>
        </p15:guide>
        <p15:guide id="15" pos="3912">
          <p15:clr>
            <a:srgbClr val="F26B43"/>
          </p15:clr>
        </p15:guide>
        <p15:guide id="16" pos="4324">
          <p15:clr>
            <a:srgbClr val="F26B43"/>
          </p15:clr>
        </p15:guide>
        <p15:guide id="17" pos="4468">
          <p15:clr>
            <a:srgbClr val="F26B43"/>
          </p15:clr>
        </p15:guide>
        <p15:guide id="18" pos="4880">
          <p15:clr>
            <a:srgbClr val="F26B43"/>
          </p15:clr>
        </p15:guide>
        <p15:guide id="19" pos="5024">
          <p15:clr>
            <a:srgbClr val="F26B43"/>
          </p15:clr>
        </p15:guide>
        <p15:guide id="20" pos="5436">
          <p15:clr>
            <a:srgbClr val="F26B43"/>
          </p15:clr>
        </p15:guide>
        <p15:guide id="21" pos="5580">
          <p15:clr>
            <a:srgbClr val="F26B43"/>
          </p15:clr>
        </p15:guide>
        <p15:guide id="22" pos="5992">
          <p15:clr>
            <a:srgbClr val="F26B43"/>
          </p15:clr>
        </p15:guide>
        <p15:guide id="23" pos="6136">
          <p15:clr>
            <a:srgbClr val="F26B43"/>
          </p15:clr>
        </p15:guide>
        <p15:guide id="24" pos="6548">
          <p15:clr>
            <a:srgbClr val="F26B43"/>
          </p15:clr>
        </p15:guide>
        <p15:guide id="25" pos="6692">
          <p15:clr>
            <a:srgbClr val="F26B43"/>
          </p15:clr>
        </p15:guide>
        <p15:guide id="26" pos="7104">
          <p15:clr>
            <a:srgbClr val="F26B43"/>
          </p15:clr>
        </p15:guide>
        <p15:guide id="27" orient="horz">
          <p15:clr>
            <a:srgbClr val="F26B43"/>
          </p15:clr>
        </p15:guide>
        <p15:guide id="28" orient="horz" pos="4320">
          <p15:clr>
            <a:srgbClr val="F26B43"/>
          </p15:clr>
        </p15:guide>
        <p15:guide id="29" orient="horz" pos="403">
          <p15:clr>
            <a:srgbClr val="F26B43"/>
          </p15:clr>
        </p15:guide>
        <p15:guide id="30" orient="horz" pos="716">
          <p15:clr>
            <a:srgbClr val="F26B43"/>
          </p15:clr>
        </p15:guide>
        <p15:guide id="31" orient="horz" pos="860">
          <p15:clr>
            <a:srgbClr val="F26B43"/>
          </p15:clr>
        </p15:guide>
        <p15:guide id="32" orient="horz" pos="1173">
          <p15:clr>
            <a:srgbClr val="F26B43"/>
          </p15:clr>
        </p15:guide>
        <p15:guide id="33" orient="horz" pos="1317">
          <p15:clr>
            <a:srgbClr val="F26B43"/>
          </p15:clr>
        </p15:guide>
        <p15:guide id="34" orient="horz" pos="1630">
          <p15:clr>
            <a:srgbClr val="F26B43"/>
          </p15:clr>
        </p15:guide>
        <p15:guide id="35" orient="horz" pos="1774">
          <p15:clr>
            <a:srgbClr val="F26B43"/>
          </p15:clr>
        </p15:guide>
        <p15:guide id="36" orient="horz" pos="2088">
          <p15:clr>
            <a:srgbClr val="F26B43"/>
          </p15:clr>
        </p15:guide>
        <p15:guide id="37" orient="horz" pos="2232">
          <p15:clr>
            <a:srgbClr val="F26B43"/>
          </p15:clr>
        </p15:guide>
        <p15:guide id="38" orient="horz" pos="2545">
          <p15:clr>
            <a:srgbClr val="F26B43"/>
          </p15:clr>
        </p15:guide>
        <p15:guide id="39" orient="horz" pos="2689">
          <p15:clr>
            <a:srgbClr val="F26B43"/>
          </p15:clr>
        </p15:guide>
        <p15:guide id="40" orient="horz" pos="3002">
          <p15:clr>
            <a:srgbClr val="F26B43"/>
          </p15:clr>
        </p15:guide>
        <p15:guide id="41" orient="horz" pos="3146">
          <p15:clr>
            <a:srgbClr val="F26B43"/>
          </p15:clr>
        </p15:guide>
        <p15:guide id="42" orient="horz" pos="3459">
          <p15:clr>
            <a:srgbClr val="F26B43"/>
          </p15:clr>
        </p15:guide>
        <p15:guide id="43" orient="horz" pos="3603">
          <p15:clr>
            <a:srgbClr val="F26B43"/>
          </p15:clr>
        </p15:guide>
        <p15:guide id="44" orient="horz" pos="3916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blackGray">
      <p:bgPr>
        <a:solidFill>
          <a:srgbClr val="F3F5F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7935B6F9-052D-01EC-95D7-2A59F7A5C41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2"/>
            </p:custDataLst>
            <p:extLst>
              <p:ext uri="{D42A27DB-BD31-4B8C-83A1-F6EECF244321}">
                <p14:modId xmlns:p14="http://schemas.microsoft.com/office/powerpoint/2010/main" val="3312980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43" imgW="425" imgH="424" progId="TCLayout.ActiveDocument.1">
                  <p:embed/>
                </p:oleObj>
              </mc:Choice>
              <mc:Fallback>
                <p:oleObj name="Slide do think-cell" r:id="rId43" imgW="425" imgH="42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935B6F9-052D-01EC-95D7-2A59F7A5C4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ço Reservado para Título 1">
            <a:extLst>
              <a:ext uri="{FF2B5EF4-FFF2-40B4-BE49-F238E27FC236}">
                <a16:creationId xmlns:a16="http://schemas.microsoft.com/office/drawing/2014/main" id="{41375562-E38E-3A5D-DD5E-76EE13574F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4400" y="681037"/>
            <a:ext cx="10363200" cy="128111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C9C89F05-6560-FB4B-012E-55287B7FDE6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914400" y="2090738"/>
            <a:ext cx="10363200" cy="408622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/>
              <a:t>Clique para editar os estilos de texto Mestres</a:t>
            </a:r>
          </a:p>
          <a:p>
            <a:pPr marL="0" marR="0" lvl="1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BR"/>
              <a:t>Segundo nível</a:t>
            </a:r>
          </a:p>
          <a:p>
            <a:pPr marL="792000" marR="0" lvl="2" indent="-288000" algn="l" defTabSz="914400" rtl="0" eaLnBrk="1" fontAlgn="auto" latinLnBrk="0" hangingPunct="1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Blip>
                <a:blip r:embed="rId45">
                  <a:extLst>
                    <a:ext uri="{96DAC541-7B7A-43D3-8B79-37D633B846F1}">
                      <asvg:svgBlip xmlns:asvg="http://schemas.microsoft.com/office/drawing/2016/SVG/main" r:embed="rId46"/>
                    </a:ext>
                  </a:extLst>
                </a:blip>
              </a:buBlip>
              <a:tabLst/>
              <a:defRPr/>
            </a:pPr>
            <a:endParaRPr lang="pt-BR"/>
          </a:p>
        </p:txBody>
      </p:sp>
      <p:sp>
        <p:nvSpPr>
          <p:cNvPr id="7" name="Rectangle 7">
            <a:extLst>
              <a:ext uri="{FF2B5EF4-FFF2-40B4-BE49-F238E27FC236}">
                <a16:creationId xmlns:a16="http://schemas.microsoft.com/office/drawing/2014/main" id="{BF552152-09DD-4754-E8EA-28C8CDC581EB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-806451" y="1"/>
            <a:ext cx="711200" cy="54292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 algn="r"/>
            <a:r>
              <a:rPr lang="en-US" sz="900" b="1">
                <a:solidFill>
                  <a:schemeClr val="bg1"/>
                </a:solidFill>
              </a:rPr>
              <a:t> R 45</a:t>
            </a:r>
          </a:p>
          <a:p>
            <a:pPr lvl="0" algn="r"/>
            <a:r>
              <a:rPr lang="en-US" sz="900" b="1">
                <a:solidFill>
                  <a:schemeClr val="bg1"/>
                </a:solidFill>
              </a:rPr>
              <a:t> G 61</a:t>
            </a:r>
          </a:p>
          <a:p>
            <a:pPr lvl="0" algn="r"/>
            <a:r>
              <a:rPr lang="en-US" sz="900" b="1">
                <a:solidFill>
                  <a:schemeClr val="bg1"/>
                </a:solidFill>
              </a:rPr>
              <a:t>B 112</a:t>
            </a:r>
          </a:p>
        </p:txBody>
      </p:sp>
      <p:sp>
        <p:nvSpPr>
          <p:cNvPr id="8" name="Rectangle 8">
            <a:extLst>
              <a:ext uri="{FF2B5EF4-FFF2-40B4-BE49-F238E27FC236}">
                <a16:creationId xmlns:a16="http://schemas.microsoft.com/office/drawing/2014/main" id="{745BB3BD-7CE9-F565-F21C-426C7596E71B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-806451" y="621506"/>
            <a:ext cx="711200" cy="5334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 algn="r"/>
            <a:r>
              <a:rPr lang="en-US" sz="900" b="1">
                <a:solidFill>
                  <a:schemeClr val="bg1"/>
                </a:solidFill>
              </a:rPr>
              <a:t> R 244</a:t>
            </a:r>
          </a:p>
          <a:p>
            <a:pPr lvl="0" algn="r"/>
            <a:r>
              <a:rPr lang="en-US" sz="900" b="1">
                <a:solidFill>
                  <a:schemeClr val="bg1"/>
                </a:solidFill>
              </a:rPr>
              <a:t> G 97</a:t>
            </a:r>
          </a:p>
          <a:p>
            <a:pPr lvl="0" algn="r"/>
            <a:r>
              <a:rPr lang="en-US" sz="900" b="1">
                <a:solidFill>
                  <a:schemeClr val="bg1"/>
                </a:solidFill>
              </a:rPr>
              <a:t>B 77</a:t>
            </a:r>
          </a:p>
        </p:txBody>
      </p:sp>
      <p:sp>
        <p:nvSpPr>
          <p:cNvPr id="9" name="Rectangle 9">
            <a:extLst>
              <a:ext uri="{FF2B5EF4-FFF2-40B4-BE49-F238E27FC236}">
                <a16:creationId xmlns:a16="http://schemas.microsoft.com/office/drawing/2014/main" id="{F7F9F265-89D1-78AC-55E6-238CE5D4A1E4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-806451" y="1233488"/>
            <a:ext cx="711200" cy="54292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r"/>
            <a:r>
              <a:rPr lang="en-US" sz="900" b="1">
                <a:solidFill>
                  <a:schemeClr val="bg1"/>
                </a:solidFill>
              </a:rPr>
              <a:t>R 176</a:t>
            </a:r>
          </a:p>
          <a:p>
            <a:pPr algn="r"/>
            <a:r>
              <a:rPr lang="en-US" sz="900" b="1">
                <a:solidFill>
                  <a:schemeClr val="bg1"/>
                </a:solidFill>
              </a:rPr>
              <a:t>G 183</a:t>
            </a:r>
          </a:p>
          <a:p>
            <a:pPr algn="r"/>
            <a:r>
              <a:rPr lang="en-US" sz="900" b="1">
                <a:solidFill>
                  <a:schemeClr val="bg1"/>
                </a:solidFill>
              </a:rPr>
              <a:t>B 193</a:t>
            </a:r>
          </a:p>
        </p:txBody>
      </p:sp>
      <p:pic>
        <p:nvPicPr>
          <p:cNvPr id="27" name="Gráfico 26">
            <a:extLst>
              <a:ext uri="{FF2B5EF4-FFF2-40B4-BE49-F238E27FC236}">
                <a16:creationId xmlns:a16="http://schemas.microsoft.com/office/drawing/2014/main" id="{31F32912-5504-1525-E4B7-761D37AF19E9}"/>
              </a:ext>
            </a:extLst>
          </p:cNvPr>
          <p:cNvPicPr>
            <a:picLocks noChangeAspect="1"/>
          </p:cNvPicPr>
          <p:nvPr userDrawn="1"/>
        </p:nvPicPr>
        <p:blipFill>
          <a:blip r:embed="rId47">
            <a:extLst>
              <a:ext uri="{96DAC541-7B7A-43D3-8B79-37D633B846F1}">
                <asvg:svgBlip xmlns:asvg="http://schemas.microsoft.com/office/drawing/2016/SVG/main" r:embed="rId48"/>
              </a:ext>
            </a:extLst>
          </a:blip>
          <a:stretch>
            <a:fillRect/>
          </a:stretch>
        </p:blipFill>
        <p:spPr>
          <a:xfrm>
            <a:off x="-806451" y="2343150"/>
            <a:ext cx="711200" cy="417743"/>
          </a:xfrm>
          <a:prstGeom prst="rect">
            <a:avLst/>
          </a:prstGeom>
        </p:spPr>
      </p:pic>
      <p:pic>
        <p:nvPicPr>
          <p:cNvPr id="29" name="Gráfico 28">
            <a:extLst>
              <a:ext uri="{FF2B5EF4-FFF2-40B4-BE49-F238E27FC236}">
                <a16:creationId xmlns:a16="http://schemas.microsoft.com/office/drawing/2014/main" id="{6CA5DEA4-EEAB-3449-C3DD-83C8AC448769}"/>
              </a:ext>
            </a:extLst>
          </p:cNvPr>
          <p:cNvPicPr>
            <a:picLocks noChangeAspect="1"/>
          </p:cNvPicPr>
          <p:nvPr userDrawn="1"/>
        </p:nvPicPr>
        <p:blipFill>
          <a:blip r:embed="rId49">
            <a:extLst>
              <a:ext uri="{96DAC541-7B7A-43D3-8B79-37D633B846F1}">
                <asvg:svgBlip xmlns:asvg="http://schemas.microsoft.com/office/drawing/2016/SVG/main" r:embed="rId50"/>
              </a:ext>
            </a:extLst>
          </a:blip>
          <a:stretch>
            <a:fillRect/>
          </a:stretch>
        </p:blipFill>
        <p:spPr>
          <a:xfrm>
            <a:off x="-806451" y="2760893"/>
            <a:ext cx="711200" cy="334885"/>
          </a:xfrm>
          <a:prstGeom prst="rect">
            <a:avLst/>
          </a:prstGeom>
        </p:spPr>
      </p:pic>
      <p:pic>
        <p:nvPicPr>
          <p:cNvPr id="31" name="Gráfico 30">
            <a:extLst>
              <a:ext uri="{FF2B5EF4-FFF2-40B4-BE49-F238E27FC236}">
                <a16:creationId xmlns:a16="http://schemas.microsoft.com/office/drawing/2014/main" id="{B90C53BE-8249-C3B9-7787-556D2CC13226}"/>
              </a:ext>
            </a:extLst>
          </p:cNvPr>
          <p:cNvPicPr>
            <a:picLocks noChangeAspect="1"/>
          </p:cNvPicPr>
          <p:nvPr userDrawn="1"/>
        </p:nvPicPr>
        <p:blipFill>
          <a:blip r:embed="rId45">
            <a:extLst>
              <a:ext uri="{96DAC541-7B7A-43D3-8B79-37D633B846F1}">
                <asvg:svgBlip xmlns:asvg="http://schemas.microsoft.com/office/drawing/2016/SVG/main" r:embed="rId46"/>
              </a:ext>
            </a:extLst>
          </a:blip>
          <a:stretch>
            <a:fillRect/>
          </a:stretch>
        </p:blipFill>
        <p:spPr>
          <a:xfrm>
            <a:off x="-233348" y="3254590"/>
            <a:ext cx="138097" cy="162264"/>
          </a:xfrm>
          <a:prstGeom prst="rect">
            <a:avLst/>
          </a:prstGeom>
        </p:spPr>
      </p:pic>
      <p:pic>
        <p:nvPicPr>
          <p:cNvPr id="14" name="Gráfico 13" descr="Matérias primas estrutura de tópicos">
            <a:extLst>
              <a:ext uri="{FF2B5EF4-FFF2-40B4-BE49-F238E27FC236}">
                <a16:creationId xmlns:a16="http://schemas.microsoft.com/office/drawing/2014/main" id="{8AD833E9-22C0-601A-0AE3-555FB8C37570}"/>
              </a:ext>
            </a:extLst>
          </p:cNvPr>
          <p:cNvPicPr>
            <a:picLocks noChangeAspect="1"/>
          </p:cNvPicPr>
          <p:nvPr userDrawn="1"/>
        </p:nvPicPr>
        <p:blipFill>
          <a:blip r:embed="rId51">
            <a:extLst>
              <a:ext uri="{96DAC541-7B7A-43D3-8B79-37D633B846F1}">
                <asvg:svgBlip xmlns:asvg="http://schemas.microsoft.com/office/drawing/2016/SVG/main" r:embed="rId52"/>
              </a:ext>
            </a:extLst>
          </a:blip>
          <a:stretch>
            <a:fillRect/>
          </a:stretch>
        </p:blipFill>
        <p:spPr>
          <a:xfrm>
            <a:off x="14457074" y="2993159"/>
            <a:ext cx="242954" cy="242954"/>
          </a:xfrm>
          <a:prstGeom prst="rect">
            <a:avLst/>
          </a:prstGeom>
        </p:spPr>
      </p:pic>
      <p:pic>
        <p:nvPicPr>
          <p:cNvPr id="15" name="Gráfico 14" descr="Ferramentas de mineração estrutura de tópicos">
            <a:extLst>
              <a:ext uri="{FF2B5EF4-FFF2-40B4-BE49-F238E27FC236}">
                <a16:creationId xmlns:a16="http://schemas.microsoft.com/office/drawing/2014/main" id="{CCA2FCD9-F510-D80C-4745-0BF4C8EDB219}"/>
              </a:ext>
            </a:extLst>
          </p:cNvPr>
          <p:cNvPicPr>
            <a:picLocks noChangeAspect="1"/>
          </p:cNvPicPr>
          <p:nvPr userDrawn="1"/>
        </p:nvPicPr>
        <p:blipFill>
          <a:blip r:embed="rId53">
            <a:extLst>
              <a:ext uri="{96DAC541-7B7A-43D3-8B79-37D633B846F1}">
                <asvg:svgBlip xmlns:asvg="http://schemas.microsoft.com/office/drawing/2016/SVG/main" r:embed="rId54"/>
              </a:ext>
            </a:extLst>
          </a:blip>
          <a:stretch>
            <a:fillRect/>
          </a:stretch>
        </p:blipFill>
        <p:spPr>
          <a:xfrm>
            <a:off x="14742849" y="2121862"/>
            <a:ext cx="242952" cy="242952"/>
          </a:xfrm>
          <a:prstGeom prst="rect">
            <a:avLst/>
          </a:prstGeom>
        </p:spPr>
      </p:pic>
      <p:pic>
        <p:nvPicPr>
          <p:cNvPr id="16" name="Gráfico 15" descr="Giroteodolito estrutura de tópicos">
            <a:extLst>
              <a:ext uri="{FF2B5EF4-FFF2-40B4-BE49-F238E27FC236}">
                <a16:creationId xmlns:a16="http://schemas.microsoft.com/office/drawing/2014/main" id="{F0FBC73D-E02E-FE83-D5BA-3DC8280E3019}"/>
              </a:ext>
            </a:extLst>
          </p:cNvPr>
          <p:cNvPicPr>
            <a:picLocks noChangeAspect="1"/>
          </p:cNvPicPr>
          <p:nvPr userDrawn="1"/>
        </p:nvPicPr>
        <p:blipFill>
          <a:blip r:embed="rId55">
            <a:extLst>
              <a:ext uri="{96DAC541-7B7A-43D3-8B79-37D633B846F1}">
                <asvg:svgBlip xmlns:asvg="http://schemas.microsoft.com/office/drawing/2016/SVG/main" r:embed="rId56"/>
              </a:ext>
            </a:extLst>
          </a:blip>
          <a:stretch>
            <a:fillRect/>
          </a:stretch>
        </p:blipFill>
        <p:spPr>
          <a:xfrm>
            <a:off x="13805097" y="1382027"/>
            <a:ext cx="283735" cy="283735"/>
          </a:xfrm>
          <a:prstGeom prst="rect">
            <a:avLst/>
          </a:prstGeom>
        </p:spPr>
      </p:pic>
      <p:pic>
        <p:nvPicPr>
          <p:cNvPr id="17" name="Gráfico 16" descr="Trabalho estrutura de tópicos">
            <a:extLst>
              <a:ext uri="{FF2B5EF4-FFF2-40B4-BE49-F238E27FC236}">
                <a16:creationId xmlns:a16="http://schemas.microsoft.com/office/drawing/2014/main" id="{32532361-509B-7A46-B1D7-55CBC5498FC0}"/>
              </a:ext>
            </a:extLst>
          </p:cNvPr>
          <p:cNvPicPr>
            <a:picLocks noChangeAspect="1"/>
          </p:cNvPicPr>
          <p:nvPr userDrawn="1"/>
        </p:nvPicPr>
        <p:blipFill>
          <a:blip r:embed="rId57">
            <a:extLst>
              <a:ext uri="{96DAC541-7B7A-43D3-8B79-37D633B846F1}">
                <asvg:svgBlip xmlns:asvg="http://schemas.microsoft.com/office/drawing/2016/SVG/main" r:embed="rId58"/>
              </a:ext>
            </a:extLst>
          </a:blip>
          <a:stretch>
            <a:fillRect/>
          </a:stretch>
        </p:blipFill>
        <p:spPr>
          <a:xfrm>
            <a:off x="13459014" y="2272264"/>
            <a:ext cx="242952" cy="242952"/>
          </a:xfrm>
          <a:prstGeom prst="rect">
            <a:avLst/>
          </a:prstGeom>
        </p:spPr>
      </p:pic>
      <p:pic>
        <p:nvPicPr>
          <p:cNvPr id="18" name="Gráfico 17" descr="Mapa da topografia estrutura de tópicos">
            <a:extLst>
              <a:ext uri="{FF2B5EF4-FFF2-40B4-BE49-F238E27FC236}">
                <a16:creationId xmlns:a16="http://schemas.microsoft.com/office/drawing/2014/main" id="{1BDC512B-4ED3-961D-76C0-58A033B4863F}"/>
              </a:ext>
            </a:extLst>
          </p:cNvPr>
          <p:cNvPicPr>
            <a:picLocks noChangeAspect="1"/>
          </p:cNvPicPr>
          <p:nvPr userDrawn="1"/>
        </p:nvPicPr>
        <p:blipFill>
          <a:blip r:embed="rId59">
            <a:extLst>
              <a:ext uri="{96DAC541-7B7A-43D3-8B79-37D633B846F1}">
                <asvg:svgBlip xmlns:asvg="http://schemas.microsoft.com/office/drawing/2016/SVG/main" r:embed="rId60"/>
              </a:ext>
            </a:extLst>
          </a:blip>
          <a:stretch>
            <a:fillRect/>
          </a:stretch>
        </p:blipFill>
        <p:spPr>
          <a:xfrm>
            <a:off x="13383978" y="5325046"/>
            <a:ext cx="214270" cy="214270"/>
          </a:xfrm>
          <a:prstGeom prst="rect">
            <a:avLst/>
          </a:prstGeom>
        </p:spPr>
      </p:pic>
      <p:pic>
        <p:nvPicPr>
          <p:cNvPr id="19" name="Gráfico 18" descr="Caminhão de lixo estrutura de tópicos">
            <a:extLst>
              <a:ext uri="{FF2B5EF4-FFF2-40B4-BE49-F238E27FC236}">
                <a16:creationId xmlns:a16="http://schemas.microsoft.com/office/drawing/2014/main" id="{71A9711F-F456-49EE-5BF2-E847298745B0}"/>
              </a:ext>
            </a:extLst>
          </p:cNvPr>
          <p:cNvPicPr>
            <a:picLocks noChangeAspect="1"/>
          </p:cNvPicPr>
          <p:nvPr userDrawn="1"/>
        </p:nvPicPr>
        <p:blipFill>
          <a:blip r:embed="rId61">
            <a:extLst>
              <a:ext uri="{96DAC541-7B7A-43D3-8B79-37D633B846F1}">
                <asvg:svgBlip xmlns:asvg="http://schemas.microsoft.com/office/drawing/2016/SVG/main" r:embed="rId62"/>
              </a:ext>
            </a:extLst>
          </a:blip>
          <a:stretch>
            <a:fillRect/>
          </a:stretch>
        </p:blipFill>
        <p:spPr>
          <a:xfrm>
            <a:off x="13596049" y="1112339"/>
            <a:ext cx="211834" cy="211834"/>
          </a:xfrm>
          <a:prstGeom prst="rect">
            <a:avLst/>
          </a:prstGeom>
        </p:spPr>
      </p:pic>
      <p:pic>
        <p:nvPicPr>
          <p:cNvPr id="20" name="Gráfico 19" descr="Área de Transferência estrutura de tópicos">
            <a:extLst>
              <a:ext uri="{FF2B5EF4-FFF2-40B4-BE49-F238E27FC236}">
                <a16:creationId xmlns:a16="http://schemas.microsoft.com/office/drawing/2014/main" id="{0B7D5D2B-E920-5228-5D71-03FA4EC24AB7}"/>
              </a:ext>
            </a:extLst>
          </p:cNvPr>
          <p:cNvPicPr>
            <a:picLocks noChangeAspect="1"/>
          </p:cNvPicPr>
          <p:nvPr userDrawn="1"/>
        </p:nvPicPr>
        <p:blipFill>
          <a:blip r:embed="rId63">
            <a:extLst>
              <a:ext uri="{96DAC541-7B7A-43D3-8B79-37D633B846F1}">
                <asvg:svgBlip xmlns:asvg="http://schemas.microsoft.com/office/drawing/2016/SVG/main" r:embed="rId64"/>
              </a:ext>
            </a:extLst>
          </a:blip>
          <a:stretch>
            <a:fillRect/>
          </a:stretch>
        </p:blipFill>
        <p:spPr>
          <a:xfrm>
            <a:off x="12940699" y="5716455"/>
            <a:ext cx="199733" cy="199733"/>
          </a:xfrm>
          <a:prstGeom prst="rect">
            <a:avLst/>
          </a:prstGeom>
        </p:spPr>
      </p:pic>
      <p:pic>
        <p:nvPicPr>
          <p:cNvPr id="21" name="Gráfico 20" descr="Área de Transferência Marcada estrutura de tópicos">
            <a:extLst>
              <a:ext uri="{FF2B5EF4-FFF2-40B4-BE49-F238E27FC236}">
                <a16:creationId xmlns:a16="http://schemas.microsoft.com/office/drawing/2014/main" id="{F1D20945-8D16-40DE-2D51-2B7423C50A81}"/>
              </a:ext>
            </a:extLst>
          </p:cNvPr>
          <p:cNvPicPr>
            <a:picLocks noChangeAspect="1"/>
          </p:cNvPicPr>
          <p:nvPr userDrawn="1"/>
        </p:nvPicPr>
        <p:blipFill>
          <a:blip r:embed="rId65">
            <a:extLst>
              <a:ext uri="{96DAC541-7B7A-43D3-8B79-37D633B846F1}">
                <asvg:svgBlip xmlns:asvg="http://schemas.microsoft.com/office/drawing/2016/SVG/main" r:embed="rId66"/>
              </a:ext>
            </a:extLst>
          </a:blip>
          <a:stretch>
            <a:fillRect/>
          </a:stretch>
        </p:blipFill>
        <p:spPr>
          <a:xfrm>
            <a:off x="14804579" y="3454273"/>
            <a:ext cx="274845" cy="274845"/>
          </a:xfrm>
          <a:prstGeom prst="rect">
            <a:avLst/>
          </a:prstGeom>
        </p:spPr>
      </p:pic>
      <p:pic>
        <p:nvPicPr>
          <p:cNvPr id="22" name="Gráfico 21" descr="Bússola estrutura de tópicos">
            <a:extLst>
              <a:ext uri="{FF2B5EF4-FFF2-40B4-BE49-F238E27FC236}">
                <a16:creationId xmlns:a16="http://schemas.microsoft.com/office/drawing/2014/main" id="{6C420177-92AA-84B7-F0A4-24F84B8716C5}"/>
              </a:ext>
            </a:extLst>
          </p:cNvPr>
          <p:cNvPicPr>
            <a:picLocks noChangeAspect="1"/>
          </p:cNvPicPr>
          <p:nvPr userDrawn="1"/>
        </p:nvPicPr>
        <p:blipFill>
          <a:blip r:embed="rId67">
            <a:extLst>
              <a:ext uri="{96DAC541-7B7A-43D3-8B79-37D633B846F1}">
                <asvg:svgBlip xmlns:asvg="http://schemas.microsoft.com/office/drawing/2016/SVG/main" r:embed="rId68"/>
              </a:ext>
            </a:extLst>
          </a:blip>
          <a:stretch>
            <a:fillRect/>
          </a:stretch>
        </p:blipFill>
        <p:spPr>
          <a:xfrm flipH="1">
            <a:off x="14776828" y="3143563"/>
            <a:ext cx="274844" cy="274844"/>
          </a:xfrm>
          <a:prstGeom prst="rect">
            <a:avLst/>
          </a:prstGeom>
        </p:spPr>
      </p:pic>
      <p:pic>
        <p:nvPicPr>
          <p:cNvPr id="23" name="Gráfico 22" descr="Cristais estrutura de tópicos">
            <a:extLst>
              <a:ext uri="{FF2B5EF4-FFF2-40B4-BE49-F238E27FC236}">
                <a16:creationId xmlns:a16="http://schemas.microsoft.com/office/drawing/2014/main" id="{132D3788-0ED4-1DB7-6F66-701745F12987}"/>
              </a:ext>
            </a:extLst>
          </p:cNvPr>
          <p:cNvPicPr>
            <a:picLocks noChangeAspect="1"/>
          </p:cNvPicPr>
          <p:nvPr userDrawn="1"/>
        </p:nvPicPr>
        <p:blipFill>
          <a:blip r:embed="rId69">
            <a:extLst>
              <a:ext uri="{96DAC541-7B7A-43D3-8B79-37D633B846F1}">
                <asvg:svgBlip xmlns:asvg="http://schemas.microsoft.com/office/drawing/2016/SVG/main" r:embed="rId70"/>
              </a:ext>
            </a:extLst>
          </a:blip>
          <a:stretch>
            <a:fillRect/>
          </a:stretch>
        </p:blipFill>
        <p:spPr>
          <a:xfrm>
            <a:off x="13302357" y="4851361"/>
            <a:ext cx="271075" cy="271075"/>
          </a:xfrm>
          <a:prstGeom prst="rect">
            <a:avLst/>
          </a:prstGeom>
        </p:spPr>
      </p:pic>
      <p:pic>
        <p:nvPicPr>
          <p:cNvPr id="24" name="Gráfico 23" descr="Trem de brinquedo estrutura de tópicos">
            <a:extLst>
              <a:ext uri="{FF2B5EF4-FFF2-40B4-BE49-F238E27FC236}">
                <a16:creationId xmlns:a16="http://schemas.microsoft.com/office/drawing/2014/main" id="{4C7606AE-ED0D-B3B7-E088-85E82B0974ED}"/>
              </a:ext>
            </a:extLst>
          </p:cNvPr>
          <p:cNvPicPr>
            <a:picLocks noChangeAspect="1"/>
          </p:cNvPicPr>
          <p:nvPr userDrawn="1"/>
        </p:nvPicPr>
        <p:blipFill>
          <a:blip r:embed="rId71">
            <a:extLst>
              <a:ext uri="{96DAC541-7B7A-43D3-8B79-37D633B846F1}">
                <asvg:svgBlip xmlns:asvg="http://schemas.microsoft.com/office/drawing/2016/SVG/main" r:embed="rId72"/>
              </a:ext>
            </a:extLst>
          </a:blip>
          <a:stretch>
            <a:fillRect/>
          </a:stretch>
        </p:blipFill>
        <p:spPr>
          <a:xfrm>
            <a:off x="14114976" y="701726"/>
            <a:ext cx="211834" cy="211834"/>
          </a:xfrm>
          <a:prstGeom prst="rect">
            <a:avLst/>
          </a:prstGeom>
        </p:spPr>
      </p:pic>
      <p:pic>
        <p:nvPicPr>
          <p:cNvPr id="25" name="Gráfico 24" descr="Carrinho de mão estrutura de tópicos">
            <a:extLst>
              <a:ext uri="{FF2B5EF4-FFF2-40B4-BE49-F238E27FC236}">
                <a16:creationId xmlns:a16="http://schemas.microsoft.com/office/drawing/2014/main" id="{0BDD9D82-3131-3A33-2A53-896A4B663258}"/>
              </a:ext>
            </a:extLst>
          </p:cNvPr>
          <p:cNvPicPr>
            <a:picLocks noChangeAspect="1"/>
          </p:cNvPicPr>
          <p:nvPr userDrawn="1"/>
        </p:nvPicPr>
        <p:blipFill>
          <a:blip r:embed="rId73">
            <a:extLst>
              <a:ext uri="{96DAC541-7B7A-43D3-8B79-37D633B846F1}">
                <asvg:svgBlip xmlns:asvg="http://schemas.microsoft.com/office/drawing/2016/SVG/main" r:embed="rId74"/>
              </a:ext>
            </a:extLst>
          </a:blip>
          <a:stretch>
            <a:fillRect/>
          </a:stretch>
        </p:blipFill>
        <p:spPr>
          <a:xfrm>
            <a:off x="13714980" y="500417"/>
            <a:ext cx="293859" cy="293859"/>
          </a:xfrm>
          <a:prstGeom prst="rect">
            <a:avLst/>
          </a:prstGeom>
        </p:spPr>
      </p:pic>
      <p:pic>
        <p:nvPicPr>
          <p:cNvPr id="26" name="Gráfico 25" descr="Barras de ouro estrutura de tópicos">
            <a:extLst>
              <a:ext uri="{FF2B5EF4-FFF2-40B4-BE49-F238E27FC236}">
                <a16:creationId xmlns:a16="http://schemas.microsoft.com/office/drawing/2014/main" id="{8E3FCE5E-2E30-1A9B-329F-E68142982B59}"/>
              </a:ext>
            </a:extLst>
          </p:cNvPr>
          <p:cNvPicPr>
            <a:picLocks noChangeAspect="1"/>
          </p:cNvPicPr>
          <p:nvPr userDrawn="1"/>
        </p:nvPicPr>
        <p:blipFill>
          <a:blip r:embed="rId75">
            <a:extLst>
              <a:ext uri="{96DAC541-7B7A-43D3-8B79-37D633B846F1}">
                <asvg:svgBlip xmlns:asvg="http://schemas.microsoft.com/office/drawing/2016/SVG/main" r:embed="rId76"/>
              </a:ext>
            </a:extLst>
          </a:blip>
          <a:stretch>
            <a:fillRect/>
          </a:stretch>
        </p:blipFill>
        <p:spPr>
          <a:xfrm>
            <a:off x="14888604" y="2573070"/>
            <a:ext cx="242953" cy="242953"/>
          </a:xfrm>
          <a:prstGeom prst="rect">
            <a:avLst/>
          </a:prstGeom>
        </p:spPr>
      </p:pic>
      <p:pic>
        <p:nvPicPr>
          <p:cNvPr id="28" name="Gráfico 27" descr="Pote de ouro estrutura de tópicos">
            <a:extLst>
              <a:ext uri="{FF2B5EF4-FFF2-40B4-BE49-F238E27FC236}">
                <a16:creationId xmlns:a16="http://schemas.microsoft.com/office/drawing/2014/main" id="{CF9EE902-47A5-5A68-7DA4-26052033AE0B}"/>
              </a:ext>
            </a:extLst>
          </p:cNvPr>
          <p:cNvPicPr>
            <a:picLocks noChangeAspect="1"/>
          </p:cNvPicPr>
          <p:nvPr userDrawn="1"/>
        </p:nvPicPr>
        <p:blipFill>
          <a:blip r:embed="rId77">
            <a:extLst>
              <a:ext uri="{96DAC541-7B7A-43D3-8B79-37D633B846F1}">
                <asvg:svgBlip xmlns:asvg="http://schemas.microsoft.com/office/drawing/2016/SVG/main" r:embed="rId78"/>
              </a:ext>
            </a:extLst>
          </a:blip>
          <a:stretch>
            <a:fillRect/>
          </a:stretch>
        </p:blipFill>
        <p:spPr>
          <a:xfrm>
            <a:off x="13325342" y="821010"/>
            <a:ext cx="255463" cy="255463"/>
          </a:xfrm>
          <a:prstGeom prst="rect">
            <a:avLst/>
          </a:prstGeom>
        </p:spPr>
      </p:pic>
      <p:pic>
        <p:nvPicPr>
          <p:cNvPr id="30" name="Gráfico 29" descr="Mapa do tesouro estrutura de tópicos">
            <a:extLst>
              <a:ext uri="{FF2B5EF4-FFF2-40B4-BE49-F238E27FC236}">
                <a16:creationId xmlns:a16="http://schemas.microsoft.com/office/drawing/2014/main" id="{01F3B905-75F9-0EED-E25B-960161825AA8}"/>
              </a:ext>
            </a:extLst>
          </p:cNvPr>
          <p:cNvPicPr>
            <a:picLocks noChangeAspect="1"/>
          </p:cNvPicPr>
          <p:nvPr userDrawn="1"/>
        </p:nvPicPr>
        <p:blipFill>
          <a:blip r:embed="rId79">
            <a:extLst>
              <a:ext uri="{96DAC541-7B7A-43D3-8B79-37D633B846F1}">
                <asvg:svgBlip xmlns:asvg="http://schemas.microsoft.com/office/drawing/2016/SVG/main" r:embed="rId80"/>
              </a:ext>
            </a:extLst>
          </a:blip>
          <a:stretch>
            <a:fillRect/>
          </a:stretch>
        </p:blipFill>
        <p:spPr>
          <a:xfrm>
            <a:off x="14240517" y="4579957"/>
            <a:ext cx="220966" cy="220966"/>
          </a:xfrm>
          <a:prstGeom prst="rect">
            <a:avLst/>
          </a:prstGeom>
        </p:spPr>
      </p:pic>
      <p:pic>
        <p:nvPicPr>
          <p:cNvPr id="32" name="Gráfico 31" descr="Mapa com alfinete estrutura de tópicos">
            <a:extLst>
              <a:ext uri="{FF2B5EF4-FFF2-40B4-BE49-F238E27FC236}">
                <a16:creationId xmlns:a16="http://schemas.microsoft.com/office/drawing/2014/main" id="{B2220691-CCCA-00DE-BDC0-2065FABC5A49}"/>
              </a:ext>
            </a:extLst>
          </p:cNvPr>
          <p:cNvPicPr>
            <a:picLocks noChangeAspect="1"/>
          </p:cNvPicPr>
          <p:nvPr userDrawn="1"/>
        </p:nvPicPr>
        <p:blipFill>
          <a:blip r:embed="rId81">
            <a:extLst>
              <a:ext uri="{96DAC541-7B7A-43D3-8B79-37D633B846F1}">
                <asvg:svgBlip xmlns:asvg="http://schemas.microsoft.com/office/drawing/2016/SVG/main" r:embed="rId82"/>
              </a:ext>
            </a:extLst>
          </a:blip>
          <a:stretch>
            <a:fillRect/>
          </a:stretch>
        </p:blipFill>
        <p:spPr>
          <a:xfrm>
            <a:off x="14339112" y="4116238"/>
            <a:ext cx="242953" cy="242953"/>
          </a:xfrm>
          <a:prstGeom prst="rect">
            <a:avLst/>
          </a:prstGeom>
        </p:spPr>
      </p:pic>
      <p:pic>
        <p:nvPicPr>
          <p:cNvPr id="33" name="Gráfico 32" descr="Trilhos de trem estrutura de tópicos">
            <a:extLst>
              <a:ext uri="{FF2B5EF4-FFF2-40B4-BE49-F238E27FC236}">
                <a16:creationId xmlns:a16="http://schemas.microsoft.com/office/drawing/2014/main" id="{29AA9D78-A40F-A0D5-94D8-EDF382D77DA7}"/>
              </a:ext>
            </a:extLst>
          </p:cNvPr>
          <p:cNvPicPr>
            <a:picLocks noChangeAspect="1"/>
          </p:cNvPicPr>
          <p:nvPr userDrawn="1"/>
        </p:nvPicPr>
        <p:blipFill>
          <a:blip r:embed="rId83">
            <a:extLst>
              <a:ext uri="{96DAC541-7B7A-43D3-8B79-37D633B846F1}">
                <asvg:svgBlip xmlns:asvg="http://schemas.microsoft.com/office/drawing/2016/SVG/main" r:embed="rId84"/>
              </a:ext>
            </a:extLst>
          </a:blip>
          <a:stretch>
            <a:fillRect/>
          </a:stretch>
        </p:blipFill>
        <p:spPr>
          <a:xfrm>
            <a:off x="14870878" y="2842757"/>
            <a:ext cx="242952" cy="242952"/>
          </a:xfrm>
          <a:prstGeom prst="rect">
            <a:avLst/>
          </a:prstGeom>
        </p:spPr>
      </p:pic>
      <p:pic>
        <p:nvPicPr>
          <p:cNvPr id="34" name="Gráfico 33" descr="Globo estrutura de tópicos">
            <a:extLst>
              <a:ext uri="{FF2B5EF4-FFF2-40B4-BE49-F238E27FC236}">
                <a16:creationId xmlns:a16="http://schemas.microsoft.com/office/drawing/2014/main" id="{D27B2EF7-9895-0618-8B6A-E080254CC6B3}"/>
              </a:ext>
            </a:extLst>
          </p:cNvPr>
          <p:cNvPicPr>
            <a:picLocks noChangeAspect="1"/>
          </p:cNvPicPr>
          <p:nvPr userDrawn="1"/>
        </p:nvPicPr>
        <p:blipFill>
          <a:blip r:embed="rId85">
            <a:extLst>
              <a:ext uri="{96DAC541-7B7A-43D3-8B79-37D633B846F1}">
                <asvg:svgBlip xmlns:asvg="http://schemas.microsoft.com/office/drawing/2016/SVG/main" r:embed="rId86"/>
              </a:ext>
            </a:extLst>
          </a:blip>
          <a:stretch>
            <a:fillRect/>
          </a:stretch>
        </p:blipFill>
        <p:spPr>
          <a:xfrm>
            <a:off x="13577612" y="2422666"/>
            <a:ext cx="242954" cy="242954"/>
          </a:xfrm>
          <a:prstGeom prst="rect">
            <a:avLst/>
          </a:prstGeom>
        </p:spPr>
      </p:pic>
      <p:pic>
        <p:nvPicPr>
          <p:cNvPr id="35" name="Gráfico 34" descr="Mundo estrutura de tópicos">
            <a:extLst>
              <a:ext uri="{FF2B5EF4-FFF2-40B4-BE49-F238E27FC236}">
                <a16:creationId xmlns:a16="http://schemas.microsoft.com/office/drawing/2014/main" id="{6FF17257-CF5D-93EA-7C30-4BA9081BE2E4}"/>
              </a:ext>
            </a:extLst>
          </p:cNvPr>
          <p:cNvPicPr>
            <a:picLocks noChangeAspect="1"/>
          </p:cNvPicPr>
          <p:nvPr userDrawn="1"/>
        </p:nvPicPr>
        <p:blipFill>
          <a:blip r:embed="rId87">
            <a:extLst>
              <a:ext uri="{96DAC541-7B7A-43D3-8B79-37D633B846F1}">
                <asvg:svgBlip xmlns:asvg="http://schemas.microsoft.com/office/drawing/2016/SVG/main" r:embed="rId88"/>
              </a:ext>
            </a:extLst>
          </a:blip>
          <a:stretch>
            <a:fillRect/>
          </a:stretch>
        </p:blipFill>
        <p:spPr>
          <a:xfrm>
            <a:off x="13567259" y="4417045"/>
            <a:ext cx="255462" cy="255462"/>
          </a:xfrm>
          <a:prstGeom prst="rect">
            <a:avLst/>
          </a:prstGeom>
        </p:spPr>
      </p:pic>
      <p:pic>
        <p:nvPicPr>
          <p:cNvPr id="36" name="Gráfico 35" descr="Bússola de mapa estrutura de tópicos">
            <a:extLst>
              <a:ext uri="{FF2B5EF4-FFF2-40B4-BE49-F238E27FC236}">
                <a16:creationId xmlns:a16="http://schemas.microsoft.com/office/drawing/2014/main" id="{5FAEB632-7EE6-0BF8-FAC3-DEE6E4D053FD}"/>
              </a:ext>
            </a:extLst>
          </p:cNvPr>
          <p:cNvPicPr>
            <a:picLocks noChangeAspect="1"/>
          </p:cNvPicPr>
          <p:nvPr userDrawn="1"/>
        </p:nvPicPr>
        <p:blipFill>
          <a:blip r:embed="rId89">
            <a:extLst>
              <a:ext uri="{96DAC541-7B7A-43D3-8B79-37D633B846F1}">
                <asvg:svgBlip xmlns:asvg="http://schemas.microsoft.com/office/drawing/2016/SVG/main" r:embed="rId90"/>
              </a:ext>
            </a:extLst>
          </a:blip>
          <a:stretch>
            <a:fillRect/>
          </a:stretch>
        </p:blipFill>
        <p:spPr>
          <a:xfrm>
            <a:off x="13946312" y="1725431"/>
            <a:ext cx="306686" cy="306686"/>
          </a:xfrm>
          <a:prstGeom prst="rect">
            <a:avLst/>
          </a:prstGeom>
        </p:spPr>
      </p:pic>
      <p:pic>
        <p:nvPicPr>
          <p:cNvPr id="37" name="Gráfico 36" descr="Cena de estrada estrutura de tópicos">
            <a:extLst>
              <a:ext uri="{FF2B5EF4-FFF2-40B4-BE49-F238E27FC236}">
                <a16:creationId xmlns:a16="http://schemas.microsoft.com/office/drawing/2014/main" id="{2355756D-5A01-3BF7-BB12-9B6B57C60F7D}"/>
              </a:ext>
            </a:extLst>
          </p:cNvPr>
          <p:cNvPicPr>
            <a:picLocks noChangeAspect="1"/>
          </p:cNvPicPr>
          <p:nvPr userDrawn="1"/>
        </p:nvPicPr>
        <p:blipFill>
          <a:blip r:embed="rId91">
            <a:extLst>
              <a:ext uri="{96DAC541-7B7A-43D3-8B79-37D633B846F1}">
                <asvg:svgBlip xmlns:asvg="http://schemas.microsoft.com/office/drawing/2016/SVG/main" r:embed="rId92"/>
              </a:ext>
            </a:extLst>
          </a:blip>
          <a:stretch>
            <a:fillRect/>
          </a:stretch>
        </p:blipFill>
        <p:spPr>
          <a:xfrm flipH="1">
            <a:off x="14440317" y="3636568"/>
            <a:ext cx="302532" cy="302532"/>
          </a:xfrm>
          <a:prstGeom prst="rect">
            <a:avLst/>
          </a:prstGeom>
        </p:spPr>
      </p:pic>
      <p:pic>
        <p:nvPicPr>
          <p:cNvPr id="38" name="Gráfico 37" descr="Compasso estrutura de tópicos">
            <a:extLst>
              <a:ext uri="{FF2B5EF4-FFF2-40B4-BE49-F238E27FC236}">
                <a16:creationId xmlns:a16="http://schemas.microsoft.com/office/drawing/2014/main" id="{FB18B9E5-4754-08C4-3E89-2B33637D03C0}"/>
              </a:ext>
            </a:extLst>
          </p:cNvPr>
          <p:cNvPicPr>
            <a:picLocks noChangeAspect="1"/>
          </p:cNvPicPr>
          <p:nvPr userDrawn="1"/>
        </p:nvPicPr>
        <p:blipFill>
          <a:blip r:embed="rId93">
            <a:extLst>
              <a:ext uri="{96DAC541-7B7A-43D3-8B79-37D633B846F1}">
                <asvg:svgBlip xmlns:asvg="http://schemas.microsoft.com/office/drawing/2016/SVG/main" r:embed="rId94"/>
              </a:ext>
            </a:extLst>
          </a:blip>
          <a:stretch>
            <a:fillRect/>
          </a:stretch>
        </p:blipFill>
        <p:spPr>
          <a:xfrm>
            <a:off x="14578550" y="1573212"/>
            <a:ext cx="244769" cy="244769"/>
          </a:xfrm>
          <a:prstGeom prst="rect">
            <a:avLst/>
          </a:prstGeom>
        </p:spPr>
      </p:pic>
      <p:pic>
        <p:nvPicPr>
          <p:cNvPr id="39" name="Gráfico 38" descr="Trilhos de trem estrutura de tópicos">
            <a:extLst>
              <a:ext uri="{FF2B5EF4-FFF2-40B4-BE49-F238E27FC236}">
                <a16:creationId xmlns:a16="http://schemas.microsoft.com/office/drawing/2014/main" id="{C92C70C5-C2A6-A477-EEB8-601B8D205D89}"/>
              </a:ext>
            </a:extLst>
          </p:cNvPr>
          <p:cNvPicPr>
            <a:picLocks noChangeAspect="1"/>
          </p:cNvPicPr>
          <p:nvPr userDrawn="1"/>
        </p:nvPicPr>
        <p:blipFill>
          <a:blip r:embed="rId83">
            <a:extLst>
              <a:ext uri="{96DAC541-7B7A-43D3-8B79-37D633B846F1}">
                <asvg:svgBlip xmlns:asvg="http://schemas.microsoft.com/office/drawing/2016/SVG/main" r:embed="rId84"/>
              </a:ext>
            </a:extLst>
          </a:blip>
          <a:stretch>
            <a:fillRect/>
          </a:stretch>
        </p:blipFill>
        <p:spPr>
          <a:xfrm>
            <a:off x="14044071" y="5174644"/>
            <a:ext cx="242952" cy="242952"/>
          </a:xfrm>
          <a:prstGeom prst="rect">
            <a:avLst/>
          </a:prstGeom>
        </p:spPr>
      </p:pic>
      <p:pic>
        <p:nvPicPr>
          <p:cNvPr id="40" name="Gráfico 39" descr="Matérias primas estrutura de tópicos">
            <a:extLst>
              <a:ext uri="{FF2B5EF4-FFF2-40B4-BE49-F238E27FC236}">
                <a16:creationId xmlns:a16="http://schemas.microsoft.com/office/drawing/2014/main" id="{07B5BB62-52E0-DDBD-5DBB-1E49FF58450E}"/>
              </a:ext>
            </a:extLst>
          </p:cNvPr>
          <p:cNvPicPr>
            <a:picLocks noChangeAspect="1"/>
          </p:cNvPicPr>
          <p:nvPr userDrawn="1"/>
        </p:nvPicPr>
        <p:blipFill>
          <a:blip r:embed="rId51">
            <a:extLst>
              <a:ext uri="{96DAC541-7B7A-43D3-8B79-37D633B846F1}">
                <asvg:svgBlip xmlns:asvg="http://schemas.microsoft.com/office/drawing/2016/SVG/main" r:embed="rId52"/>
              </a:ext>
            </a:extLst>
          </a:blip>
          <a:stretch>
            <a:fillRect/>
          </a:stretch>
        </p:blipFill>
        <p:spPr>
          <a:xfrm>
            <a:off x="14214120" y="1231623"/>
            <a:ext cx="242954" cy="242954"/>
          </a:xfrm>
          <a:prstGeom prst="rect">
            <a:avLst/>
          </a:prstGeom>
        </p:spPr>
      </p:pic>
      <p:pic>
        <p:nvPicPr>
          <p:cNvPr id="41" name="Gráfico 40" descr="Globo estrutura de tópicos">
            <a:extLst>
              <a:ext uri="{FF2B5EF4-FFF2-40B4-BE49-F238E27FC236}">
                <a16:creationId xmlns:a16="http://schemas.microsoft.com/office/drawing/2014/main" id="{9209910A-2692-51DA-CF5A-6C3BF9E6D977}"/>
              </a:ext>
            </a:extLst>
          </p:cNvPr>
          <p:cNvPicPr>
            <a:picLocks noChangeAspect="1"/>
          </p:cNvPicPr>
          <p:nvPr userDrawn="1"/>
        </p:nvPicPr>
        <p:blipFill>
          <a:blip r:embed="rId85">
            <a:extLst>
              <a:ext uri="{96DAC541-7B7A-43D3-8B79-37D633B846F1}">
                <asvg:svgBlip xmlns:asvg="http://schemas.microsoft.com/office/drawing/2016/SVG/main" r:embed="rId86"/>
              </a:ext>
            </a:extLst>
          </a:blip>
          <a:stretch>
            <a:fillRect/>
          </a:stretch>
        </p:blipFill>
        <p:spPr>
          <a:xfrm>
            <a:off x="14141174" y="3846550"/>
            <a:ext cx="242954" cy="242954"/>
          </a:xfrm>
          <a:prstGeom prst="rect">
            <a:avLst/>
          </a:prstGeom>
        </p:spPr>
      </p:pic>
      <p:pic>
        <p:nvPicPr>
          <p:cNvPr id="42" name="Gráfico 41" descr="Trem de brinquedo estrutura de tópicos">
            <a:extLst>
              <a:ext uri="{FF2B5EF4-FFF2-40B4-BE49-F238E27FC236}">
                <a16:creationId xmlns:a16="http://schemas.microsoft.com/office/drawing/2014/main" id="{6AF85600-9BD1-3F8C-3267-7560B2177531}"/>
              </a:ext>
            </a:extLst>
          </p:cNvPr>
          <p:cNvPicPr>
            <a:picLocks noChangeAspect="1"/>
          </p:cNvPicPr>
          <p:nvPr userDrawn="1"/>
        </p:nvPicPr>
        <p:blipFill>
          <a:blip r:embed="rId71">
            <a:extLst>
              <a:ext uri="{96DAC541-7B7A-43D3-8B79-37D633B846F1}">
                <asvg:svgBlip xmlns:asvg="http://schemas.microsoft.com/office/drawing/2016/SVG/main" r:embed="rId72"/>
              </a:ext>
            </a:extLst>
          </a:blip>
          <a:stretch>
            <a:fillRect/>
          </a:stretch>
        </p:blipFill>
        <p:spPr>
          <a:xfrm>
            <a:off x="14265256" y="2723473"/>
            <a:ext cx="211834" cy="211834"/>
          </a:xfrm>
          <a:prstGeom prst="rect">
            <a:avLst/>
          </a:prstGeom>
        </p:spPr>
      </p:pic>
      <p:pic>
        <p:nvPicPr>
          <p:cNvPr id="43" name="Gráfico 42" descr="Matérias primas estrutura de tópicos">
            <a:extLst>
              <a:ext uri="{FF2B5EF4-FFF2-40B4-BE49-F238E27FC236}">
                <a16:creationId xmlns:a16="http://schemas.microsoft.com/office/drawing/2014/main" id="{8D8078A1-4EA2-7541-BFE3-B74B7BF001D7}"/>
              </a:ext>
            </a:extLst>
          </p:cNvPr>
          <p:cNvPicPr>
            <a:picLocks noChangeAspect="1"/>
          </p:cNvPicPr>
          <p:nvPr userDrawn="1"/>
        </p:nvPicPr>
        <p:blipFill>
          <a:blip r:embed="rId51">
            <a:extLst>
              <a:ext uri="{96DAC541-7B7A-43D3-8B79-37D633B846F1}">
                <asvg:svgBlip xmlns:asvg="http://schemas.microsoft.com/office/drawing/2016/SVG/main" r:embed="rId52"/>
              </a:ext>
            </a:extLst>
          </a:blip>
          <a:stretch>
            <a:fillRect/>
          </a:stretch>
        </p:blipFill>
        <p:spPr>
          <a:xfrm>
            <a:off x="13244075" y="5566050"/>
            <a:ext cx="242954" cy="242954"/>
          </a:xfrm>
          <a:prstGeom prst="rect">
            <a:avLst/>
          </a:prstGeom>
        </p:spPr>
      </p:pic>
      <p:pic>
        <p:nvPicPr>
          <p:cNvPr id="44" name="Gráfico 43" descr="Mapa do tesouro estrutura de tópicos">
            <a:extLst>
              <a:ext uri="{FF2B5EF4-FFF2-40B4-BE49-F238E27FC236}">
                <a16:creationId xmlns:a16="http://schemas.microsoft.com/office/drawing/2014/main" id="{7B951DF5-D3BC-6A46-7754-CF43BB05E3C3}"/>
              </a:ext>
            </a:extLst>
          </p:cNvPr>
          <p:cNvPicPr>
            <a:picLocks noChangeAspect="1"/>
          </p:cNvPicPr>
          <p:nvPr userDrawn="1"/>
        </p:nvPicPr>
        <p:blipFill>
          <a:blip r:embed="rId79">
            <a:extLst>
              <a:ext uri="{96DAC541-7B7A-43D3-8B79-37D633B846F1}">
                <asvg:svgBlip xmlns:asvg="http://schemas.microsoft.com/office/drawing/2016/SVG/main" r:embed="rId80"/>
              </a:ext>
            </a:extLst>
          </a:blip>
          <a:stretch>
            <a:fillRect/>
          </a:stretch>
        </p:blipFill>
        <p:spPr>
          <a:xfrm>
            <a:off x="13816433" y="983923"/>
            <a:ext cx="220966" cy="220966"/>
          </a:xfrm>
          <a:prstGeom prst="rect">
            <a:avLst/>
          </a:prstGeom>
        </p:spPr>
      </p:pic>
      <p:pic>
        <p:nvPicPr>
          <p:cNvPr id="45" name="Gráfico 44" descr="Área de Transferência Marcada estrutura de tópicos">
            <a:extLst>
              <a:ext uri="{FF2B5EF4-FFF2-40B4-BE49-F238E27FC236}">
                <a16:creationId xmlns:a16="http://schemas.microsoft.com/office/drawing/2014/main" id="{922D4BC0-55E5-940D-FBC9-7553451F6D0F}"/>
              </a:ext>
            </a:extLst>
          </p:cNvPr>
          <p:cNvPicPr>
            <a:picLocks noChangeAspect="1"/>
          </p:cNvPicPr>
          <p:nvPr userDrawn="1"/>
        </p:nvPicPr>
        <p:blipFill>
          <a:blip r:embed="rId65">
            <a:extLst>
              <a:ext uri="{96DAC541-7B7A-43D3-8B79-37D633B846F1}">
                <asvg:svgBlip xmlns:asvg="http://schemas.microsoft.com/office/drawing/2016/SVG/main" r:embed="rId66"/>
              </a:ext>
            </a:extLst>
          </a:blip>
          <a:stretch>
            <a:fillRect/>
          </a:stretch>
        </p:blipFill>
        <p:spPr>
          <a:xfrm>
            <a:off x="14386567" y="1939567"/>
            <a:ext cx="274845" cy="274845"/>
          </a:xfrm>
          <a:prstGeom prst="rect">
            <a:avLst/>
          </a:prstGeom>
        </p:spPr>
      </p:pic>
      <p:pic>
        <p:nvPicPr>
          <p:cNvPr id="46" name="Gráfico 45" descr="Trem de brinquedo estrutura de tópicos">
            <a:extLst>
              <a:ext uri="{FF2B5EF4-FFF2-40B4-BE49-F238E27FC236}">
                <a16:creationId xmlns:a16="http://schemas.microsoft.com/office/drawing/2014/main" id="{4E44D481-2ED6-C84D-2C21-2412913B5CC3}"/>
              </a:ext>
            </a:extLst>
          </p:cNvPr>
          <p:cNvPicPr>
            <a:picLocks noChangeAspect="1"/>
          </p:cNvPicPr>
          <p:nvPr userDrawn="1"/>
        </p:nvPicPr>
        <p:blipFill>
          <a:blip r:embed="rId71">
            <a:extLst>
              <a:ext uri="{96DAC541-7B7A-43D3-8B79-37D633B846F1}">
                <asvg:svgBlip xmlns:asvg="http://schemas.microsoft.com/office/drawing/2016/SVG/main" r:embed="rId72"/>
              </a:ext>
            </a:extLst>
          </a:blip>
          <a:stretch>
            <a:fillRect/>
          </a:stretch>
        </p:blipFill>
        <p:spPr>
          <a:xfrm>
            <a:off x="14776828" y="3996954"/>
            <a:ext cx="211834" cy="211834"/>
          </a:xfrm>
          <a:prstGeom prst="rect">
            <a:avLst/>
          </a:prstGeom>
        </p:spPr>
      </p:pic>
      <p:pic>
        <p:nvPicPr>
          <p:cNvPr id="47" name="Gráfico 46" descr="Matérias primas estrutura de tópicos">
            <a:extLst>
              <a:ext uri="{FF2B5EF4-FFF2-40B4-BE49-F238E27FC236}">
                <a16:creationId xmlns:a16="http://schemas.microsoft.com/office/drawing/2014/main" id="{F41F90FD-58E5-06C9-88E1-02EE7679A3DE}"/>
              </a:ext>
            </a:extLst>
          </p:cNvPr>
          <p:cNvPicPr>
            <a:picLocks noChangeAspect="1"/>
          </p:cNvPicPr>
          <p:nvPr userDrawn="1"/>
        </p:nvPicPr>
        <p:blipFill>
          <a:blip r:embed="rId51">
            <a:extLst>
              <a:ext uri="{96DAC541-7B7A-43D3-8B79-37D633B846F1}">
                <asvg:svgBlip xmlns:asvg="http://schemas.microsoft.com/office/drawing/2016/SVG/main" r:embed="rId52"/>
              </a:ext>
            </a:extLst>
          </a:blip>
          <a:stretch>
            <a:fillRect/>
          </a:stretch>
        </p:blipFill>
        <p:spPr>
          <a:xfrm>
            <a:off x="14477092" y="4266641"/>
            <a:ext cx="242954" cy="242954"/>
          </a:xfrm>
          <a:prstGeom prst="rect">
            <a:avLst/>
          </a:prstGeom>
        </p:spPr>
      </p:pic>
      <p:pic>
        <p:nvPicPr>
          <p:cNvPr id="48" name="Gráfico 47" descr="Mapa do tesouro estrutura de tópicos">
            <a:extLst>
              <a:ext uri="{FF2B5EF4-FFF2-40B4-BE49-F238E27FC236}">
                <a16:creationId xmlns:a16="http://schemas.microsoft.com/office/drawing/2014/main" id="{5A0884C7-11F4-27ED-CAA5-AC6B68E4326D}"/>
              </a:ext>
            </a:extLst>
          </p:cNvPr>
          <p:cNvPicPr>
            <a:picLocks noChangeAspect="1"/>
          </p:cNvPicPr>
          <p:nvPr userDrawn="1"/>
        </p:nvPicPr>
        <p:blipFill>
          <a:blip r:embed="rId79">
            <a:extLst>
              <a:ext uri="{96DAC541-7B7A-43D3-8B79-37D633B846F1}">
                <asvg:svgBlip xmlns:asvg="http://schemas.microsoft.com/office/drawing/2016/SVG/main" r:embed="rId80"/>
              </a:ext>
            </a:extLst>
          </a:blip>
          <a:stretch>
            <a:fillRect/>
          </a:stretch>
        </p:blipFill>
        <p:spPr>
          <a:xfrm>
            <a:off x="14274679" y="3325857"/>
            <a:ext cx="220966" cy="220966"/>
          </a:xfrm>
          <a:prstGeom prst="rect">
            <a:avLst/>
          </a:prstGeom>
        </p:spPr>
      </p:pic>
      <p:pic>
        <p:nvPicPr>
          <p:cNvPr id="49" name="Gráfico 48" descr="Caminhão de lixo estrutura de tópicos">
            <a:extLst>
              <a:ext uri="{FF2B5EF4-FFF2-40B4-BE49-F238E27FC236}">
                <a16:creationId xmlns:a16="http://schemas.microsoft.com/office/drawing/2014/main" id="{B7AC7C5D-6CC1-8DCD-FFB2-D4571509E893}"/>
              </a:ext>
            </a:extLst>
          </p:cNvPr>
          <p:cNvPicPr>
            <a:picLocks noChangeAspect="1"/>
          </p:cNvPicPr>
          <p:nvPr userDrawn="1"/>
        </p:nvPicPr>
        <p:blipFill>
          <a:blip r:embed="rId61">
            <a:extLst>
              <a:ext uri="{96DAC541-7B7A-43D3-8B79-37D633B846F1}">
                <asvg:svgBlip xmlns:asvg="http://schemas.microsoft.com/office/drawing/2016/SVG/main" r:embed="rId62"/>
              </a:ext>
            </a:extLst>
          </a:blip>
          <a:stretch>
            <a:fillRect/>
          </a:stretch>
        </p:blipFill>
        <p:spPr>
          <a:xfrm>
            <a:off x="13037167" y="5446766"/>
            <a:ext cx="211834" cy="211834"/>
          </a:xfrm>
          <a:prstGeom prst="rect">
            <a:avLst/>
          </a:prstGeom>
        </p:spPr>
      </p:pic>
      <p:pic>
        <p:nvPicPr>
          <p:cNvPr id="50" name="Gráfico 49" descr="Bússola estrutura de tópicos">
            <a:extLst>
              <a:ext uri="{FF2B5EF4-FFF2-40B4-BE49-F238E27FC236}">
                <a16:creationId xmlns:a16="http://schemas.microsoft.com/office/drawing/2014/main" id="{828359E1-7125-2FE0-F0C7-5314016A4551}"/>
              </a:ext>
            </a:extLst>
          </p:cNvPr>
          <p:cNvPicPr>
            <a:picLocks noChangeAspect="1"/>
          </p:cNvPicPr>
          <p:nvPr userDrawn="1"/>
        </p:nvPicPr>
        <p:blipFill>
          <a:blip r:embed="rId67">
            <a:extLst>
              <a:ext uri="{96DAC541-7B7A-43D3-8B79-37D633B846F1}">
                <asvg:svgBlip xmlns:asvg="http://schemas.microsoft.com/office/drawing/2016/SVG/main" r:embed="rId68"/>
              </a:ext>
            </a:extLst>
          </a:blip>
          <a:stretch>
            <a:fillRect/>
          </a:stretch>
        </p:blipFill>
        <p:spPr>
          <a:xfrm flipH="1">
            <a:off x="13021777" y="5029886"/>
            <a:ext cx="237308" cy="237308"/>
          </a:xfrm>
          <a:prstGeom prst="rect">
            <a:avLst/>
          </a:prstGeom>
        </p:spPr>
      </p:pic>
      <p:pic>
        <p:nvPicPr>
          <p:cNvPr id="51" name="Gráfico 50" descr="Globo estrutura de tópicos">
            <a:extLst>
              <a:ext uri="{FF2B5EF4-FFF2-40B4-BE49-F238E27FC236}">
                <a16:creationId xmlns:a16="http://schemas.microsoft.com/office/drawing/2014/main" id="{C99849C7-4D12-C2B0-FFA0-90637BCC0E34}"/>
              </a:ext>
            </a:extLst>
          </p:cNvPr>
          <p:cNvPicPr>
            <a:picLocks noChangeAspect="1"/>
          </p:cNvPicPr>
          <p:nvPr userDrawn="1"/>
        </p:nvPicPr>
        <p:blipFill>
          <a:blip r:embed="rId85">
            <a:extLst>
              <a:ext uri="{96DAC541-7B7A-43D3-8B79-37D633B846F1}">
                <asvg:svgBlip xmlns:asvg="http://schemas.microsoft.com/office/drawing/2016/SVG/main" r:embed="rId86"/>
              </a:ext>
            </a:extLst>
          </a:blip>
          <a:stretch>
            <a:fillRect/>
          </a:stretch>
        </p:blipFill>
        <p:spPr>
          <a:xfrm>
            <a:off x="13959598" y="4708373"/>
            <a:ext cx="235538" cy="2355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53076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39" r:id="rId1"/>
    <p:sldLayoutId id="2147484040" r:id="rId2"/>
    <p:sldLayoutId id="2147484041" r:id="rId3"/>
    <p:sldLayoutId id="2147484042" r:id="rId4"/>
    <p:sldLayoutId id="2147484043" r:id="rId5"/>
    <p:sldLayoutId id="2147484044" r:id="rId6"/>
    <p:sldLayoutId id="2147484045" r:id="rId7"/>
    <p:sldLayoutId id="2147484046" r:id="rId8"/>
    <p:sldLayoutId id="2147484047" r:id="rId9"/>
    <p:sldLayoutId id="2147484048" r:id="rId10"/>
    <p:sldLayoutId id="2147484049" r:id="rId11"/>
    <p:sldLayoutId id="2147484050" r:id="rId12"/>
    <p:sldLayoutId id="2147484051" r:id="rId13"/>
    <p:sldLayoutId id="2147484052" r:id="rId14"/>
    <p:sldLayoutId id="2147484053" r:id="rId15"/>
    <p:sldLayoutId id="2147484054" r:id="rId16"/>
    <p:sldLayoutId id="2147484055" r:id="rId17"/>
    <p:sldLayoutId id="2147484056" r:id="rId18"/>
    <p:sldLayoutId id="2147484057" r:id="rId19"/>
    <p:sldLayoutId id="2147484058" r:id="rId20"/>
    <p:sldLayoutId id="2147484059" r:id="rId21"/>
    <p:sldLayoutId id="2147484060" r:id="rId22"/>
    <p:sldLayoutId id="2147484061" r:id="rId23"/>
    <p:sldLayoutId id="2147484062" r:id="rId24"/>
    <p:sldLayoutId id="2147484063" r:id="rId25"/>
    <p:sldLayoutId id="2147484064" r:id="rId26"/>
    <p:sldLayoutId id="2147484065" r:id="rId27"/>
    <p:sldLayoutId id="2147484066" r:id="rId28"/>
    <p:sldLayoutId id="2147484067" r:id="rId29"/>
    <p:sldLayoutId id="2147484068" r:id="rId30"/>
    <p:sldLayoutId id="2147484069" r:id="rId31"/>
    <p:sldLayoutId id="2147484070" r:id="rId32"/>
    <p:sldLayoutId id="2147484071" r:id="rId33"/>
    <p:sldLayoutId id="2147484072" r:id="rId34"/>
    <p:sldLayoutId id="2147484073" r:id="rId35"/>
    <p:sldLayoutId id="2147484074" r:id="rId36"/>
    <p:sldLayoutId id="2147484075" r:id="rId37"/>
    <p:sldLayoutId id="2147484076" r:id="rId38"/>
    <p:sldLayoutId id="2147484077" r:id="rId39"/>
    <p:sldLayoutId id="2147484078" r:id="rId40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000" b="1" kern="1200" spc="-40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2000"/>
        </a:spcBef>
        <a:spcAft>
          <a:spcPts val="500"/>
        </a:spcAft>
        <a:buFont typeface="Arial" panose="020B0604020202020204" pitchFamily="34" charset="0"/>
        <a:buNone/>
        <a:defRPr sz="1700" b="1" kern="1200">
          <a:solidFill>
            <a:schemeClr val="accent2"/>
          </a:solidFill>
          <a:latin typeface="+mn-lt"/>
          <a:ea typeface="+mn-ea"/>
          <a:cs typeface="+mn-cs"/>
        </a:defRPr>
      </a:lvl1pPr>
      <a:lvl2pPr marL="285750" indent="-285750" algn="l" defTabSz="914400" rtl="0" eaLnBrk="1" latinLnBrk="0" hangingPunct="1">
        <a:lnSpc>
          <a:spcPct val="110000"/>
        </a:lnSpc>
        <a:spcBef>
          <a:spcPts val="0"/>
        </a:spcBef>
        <a:spcAft>
          <a:spcPts val="500"/>
        </a:spcAft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936000" indent="288000" algn="l" defTabSz="914400" rtl="0" eaLnBrk="1" latinLnBrk="0" hangingPunct="1">
        <a:lnSpc>
          <a:spcPct val="110000"/>
        </a:lnSpc>
        <a:spcBef>
          <a:spcPts val="0"/>
        </a:spcBef>
        <a:spcAft>
          <a:spcPts val="500"/>
        </a:spcAft>
        <a:buFont typeface="Arial" panose="020B0604020202020204" pitchFamily="34" charset="0"/>
        <a:buChar char="•"/>
        <a:defRPr lang="pt-BR" sz="1600" kern="1200" dirty="0">
          <a:solidFill>
            <a:schemeClr val="tx2"/>
          </a:solidFill>
          <a:latin typeface="+mn-lt"/>
          <a:ea typeface="+mn-ea"/>
          <a:cs typeface="+mn-cs"/>
        </a:defRPr>
      </a:lvl3pPr>
      <a:lvl4pPr marL="1657350" indent="-28575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114550" indent="-28575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>
          <p15:clr>
            <a:srgbClr val="F26B43"/>
          </p15:clr>
        </p15:guide>
        <p15:guide id="2" pos="7680">
          <p15:clr>
            <a:srgbClr val="F26B43"/>
          </p15:clr>
        </p15:guide>
        <p15:guide id="3" pos="576">
          <p15:clr>
            <a:srgbClr val="F26B43"/>
          </p15:clr>
        </p15:guide>
        <p15:guide id="4" pos="988">
          <p15:clr>
            <a:srgbClr val="F26B43"/>
          </p15:clr>
        </p15:guide>
        <p15:guide id="5" pos="1141">
          <p15:clr>
            <a:srgbClr val="F26B43"/>
          </p15:clr>
        </p15:guide>
        <p15:guide id="6" pos="1544">
          <p15:clr>
            <a:srgbClr val="F26B43"/>
          </p15:clr>
        </p15:guide>
        <p15:guide id="7" pos="1688">
          <p15:clr>
            <a:srgbClr val="F26B43"/>
          </p15:clr>
        </p15:guide>
        <p15:guide id="8" pos="2100">
          <p15:clr>
            <a:srgbClr val="F26B43"/>
          </p15:clr>
        </p15:guide>
        <p15:guide id="9" pos="2244">
          <p15:clr>
            <a:srgbClr val="F26B43"/>
          </p15:clr>
        </p15:guide>
        <p15:guide id="10" pos="2656">
          <p15:clr>
            <a:srgbClr val="F26B43"/>
          </p15:clr>
        </p15:guide>
        <p15:guide id="11" pos="2800">
          <p15:clr>
            <a:srgbClr val="F26B43"/>
          </p15:clr>
        </p15:guide>
        <p15:guide id="12" pos="3212">
          <p15:clr>
            <a:srgbClr val="F26B43"/>
          </p15:clr>
        </p15:guide>
        <p15:guide id="13" pos="3356">
          <p15:clr>
            <a:srgbClr val="F26B43"/>
          </p15:clr>
        </p15:guide>
        <p15:guide id="14" pos="3768">
          <p15:clr>
            <a:srgbClr val="F26B43"/>
          </p15:clr>
        </p15:guide>
        <p15:guide id="15" pos="3912">
          <p15:clr>
            <a:srgbClr val="F26B43"/>
          </p15:clr>
        </p15:guide>
        <p15:guide id="16" pos="4324">
          <p15:clr>
            <a:srgbClr val="F26B43"/>
          </p15:clr>
        </p15:guide>
        <p15:guide id="17" pos="4468">
          <p15:clr>
            <a:srgbClr val="F26B43"/>
          </p15:clr>
        </p15:guide>
        <p15:guide id="18" pos="4880">
          <p15:clr>
            <a:srgbClr val="F26B43"/>
          </p15:clr>
        </p15:guide>
        <p15:guide id="19" pos="5024">
          <p15:clr>
            <a:srgbClr val="F26B43"/>
          </p15:clr>
        </p15:guide>
        <p15:guide id="20" pos="5436">
          <p15:clr>
            <a:srgbClr val="F26B43"/>
          </p15:clr>
        </p15:guide>
        <p15:guide id="21" pos="5580">
          <p15:clr>
            <a:srgbClr val="F26B43"/>
          </p15:clr>
        </p15:guide>
        <p15:guide id="22" pos="5992">
          <p15:clr>
            <a:srgbClr val="F26B43"/>
          </p15:clr>
        </p15:guide>
        <p15:guide id="23" pos="6136">
          <p15:clr>
            <a:srgbClr val="F26B43"/>
          </p15:clr>
        </p15:guide>
        <p15:guide id="24" pos="6548">
          <p15:clr>
            <a:srgbClr val="F26B43"/>
          </p15:clr>
        </p15:guide>
        <p15:guide id="25" pos="6692">
          <p15:clr>
            <a:srgbClr val="F26B43"/>
          </p15:clr>
        </p15:guide>
        <p15:guide id="26" pos="7104">
          <p15:clr>
            <a:srgbClr val="F26B43"/>
          </p15:clr>
        </p15:guide>
        <p15:guide id="27" orient="horz">
          <p15:clr>
            <a:srgbClr val="F26B43"/>
          </p15:clr>
        </p15:guide>
        <p15:guide id="28" orient="horz" pos="4320">
          <p15:clr>
            <a:srgbClr val="F26B43"/>
          </p15:clr>
        </p15:guide>
        <p15:guide id="29" orient="horz" pos="403">
          <p15:clr>
            <a:srgbClr val="F26B43"/>
          </p15:clr>
        </p15:guide>
        <p15:guide id="30" orient="horz" pos="716">
          <p15:clr>
            <a:srgbClr val="F26B43"/>
          </p15:clr>
        </p15:guide>
        <p15:guide id="31" orient="horz" pos="860">
          <p15:clr>
            <a:srgbClr val="F26B43"/>
          </p15:clr>
        </p15:guide>
        <p15:guide id="32" orient="horz" pos="1173">
          <p15:clr>
            <a:srgbClr val="F26B43"/>
          </p15:clr>
        </p15:guide>
        <p15:guide id="33" orient="horz" pos="1317">
          <p15:clr>
            <a:srgbClr val="F26B43"/>
          </p15:clr>
        </p15:guide>
        <p15:guide id="34" orient="horz" pos="1630">
          <p15:clr>
            <a:srgbClr val="F26B43"/>
          </p15:clr>
        </p15:guide>
        <p15:guide id="35" orient="horz" pos="1774">
          <p15:clr>
            <a:srgbClr val="F26B43"/>
          </p15:clr>
        </p15:guide>
        <p15:guide id="36" orient="horz" pos="2088">
          <p15:clr>
            <a:srgbClr val="F26B43"/>
          </p15:clr>
        </p15:guide>
        <p15:guide id="37" orient="horz" pos="2232">
          <p15:clr>
            <a:srgbClr val="F26B43"/>
          </p15:clr>
        </p15:guide>
        <p15:guide id="38" orient="horz" pos="2545">
          <p15:clr>
            <a:srgbClr val="F26B43"/>
          </p15:clr>
        </p15:guide>
        <p15:guide id="39" orient="horz" pos="2689">
          <p15:clr>
            <a:srgbClr val="F26B43"/>
          </p15:clr>
        </p15:guide>
        <p15:guide id="40" orient="horz" pos="3002">
          <p15:clr>
            <a:srgbClr val="F26B43"/>
          </p15:clr>
        </p15:guide>
        <p15:guide id="41" orient="horz" pos="3146">
          <p15:clr>
            <a:srgbClr val="F26B43"/>
          </p15:clr>
        </p15:guide>
        <p15:guide id="42" orient="horz" pos="3459">
          <p15:clr>
            <a:srgbClr val="F26B43"/>
          </p15:clr>
        </p15:guide>
        <p15:guide id="43" orient="horz" pos="3603">
          <p15:clr>
            <a:srgbClr val="F26B43"/>
          </p15:clr>
        </p15:guide>
        <p15:guide id="44" orient="horz" pos="3916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25.xml"/><Relationship Id="rId1" Type="http://schemas.openxmlformats.org/officeDocument/2006/relationships/tags" Target="../tags/tag2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38.xml"/><Relationship Id="rId1" Type="http://schemas.openxmlformats.org/officeDocument/2006/relationships/tags" Target="../tags/tag2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25.xml"/><Relationship Id="rId1" Type="http://schemas.openxmlformats.org/officeDocument/2006/relationships/tags" Target="../tags/tag2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2" Type="http://schemas.openxmlformats.org/officeDocument/2006/relationships/slideLayout" Target="../slideLayouts/slideLayout38.xml"/><Relationship Id="rId1" Type="http://schemas.openxmlformats.org/officeDocument/2006/relationships/tags" Target="../tags/tag2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1.png"/><Relationship Id="rId3" Type="http://schemas.openxmlformats.org/officeDocument/2006/relationships/oleObject" Target="../embeddings/oleObject16.bin"/><Relationship Id="rId7" Type="http://schemas.openxmlformats.org/officeDocument/2006/relationships/image" Target="../media/image102.svg"/><Relationship Id="rId2" Type="http://schemas.openxmlformats.org/officeDocument/2006/relationships/slideLayout" Target="../slideLayouts/slideLayout20.xml"/><Relationship Id="rId1" Type="http://schemas.openxmlformats.org/officeDocument/2006/relationships/tags" Target="../tags/tag26.xml"/><Relationship Id="rId6" Type="http://schemas.openxmlformats.org/officeDocument/2006/relationships/image" Target="../media/image64.png"/><Relationship Id="rId5" Type="http://schemas.openxmlformats.org/officeDocument/2006/relationships/image" Target="../media/image110.png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8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25.xml"/><Relationship Id="rId1" Type="http://schemas.openxmlformats.org/officeDocument/2006/relationships/tags" Target="../tags/tag1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38.xml"/><Relationship Id="rId1" Type="http://schemas.openxmlformats.org/officeDocument/2006/relationships/tags" Target="../tags/tag1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38.xml"/><Relationship Id="rId1" Type="http://schemas.openxmlformats.org/officeDocument/2006/relationships/tags" Target="../tags/tag1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38.xml"/><Relationship Id="rId1" Type="http://schemas.openxmlformats.org/officeDocument/2006/relationships/tags" Target="../tags/tag1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s/_rels/slide7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notesSlide" Target="../notesSlides/notesSlide7.xml"/><Relationship Id="rId7" Type="http://schemas.openxmlformats.org/officeDocument/2006/relationships/image" Target="../media/image108.png"/><Relationship Id="rId2" Type="http://schemas.openxmlformats.org/officeDocument/2006/relationships/slideLayout" Target="../slideLayouts/slideLayout40.xml"/><Relationship Id="rId1" Type="http://schemas.openxmlformats.org/officeDocument/2006/relationships/tags" Target="../tags/tag19.xml"/><Relationship Id="rId6" Type="http://schemas.openxmlformats.org/officeDocument/2006/relationships/chart" Target="../charts/chart1.xml"/><Relationship Id="rId5" Type="http://schemas.openxmlformats.org/officeDocument/2006/relationships/image" Target="../media/image107.emf"/><Relationship Id="rId4" Type="http://schemas.openxmlformats.org/officeDocument/2006/relationships/oleObject" Target="../embeddings/oleObject13.bin"/><Relationship Id="rId9" Type="http://schemas.openxmlformats.org/officeDocument/2006/relationships/image" Target="../media/image109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25.xml"/><Relationship Id="rId1" Type="http://schemas.openxmlformats.org/officeDocument/2006/relationships/tags" Target="../tags/tag2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38.xml"/><Relationship Id="rId1" Type="http://schemas.openxmlformats.org/officeDocument/2006/relationships/tags" Target="../tags/tag2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BB772C17-384E-2C70-FB9E-809E0D09CCE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529564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5" imgW="425" imgH="424" progId="TCLayout.ActiveDocument.1">
                  <p:embed/>
                </p:oleObj>
              </mc:Choice>
              <mc:Fallback>
                <p:oleObj name="Slide do think-cell" r:id="rId5" imgW="425" imgH="42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B772C17-384E-2C70-FB9E-809E0D09CCE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Título 26">
            <a:extLst>
              <a:ext uri="{FF2B5EF4-FFF2-40B4-BE49-F238E27FC236}">
                <a16:creationId xmlns:a16="http://schemas.microsoft.com/office/drawing/2014/main" id="{C7987A9D-066D-C382-B54D-FCB50DCA78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34514" y="2848767"/>
            <a:ext cx="6832600" cy="1281113"/>
          </a:xfrm>
        </p:spPr>
        <p:txBody>
          <a:bodyPr vert="horz">
            <a:noAutofit/>
          </a:bodyPr>
          <a:lstStyle/>
          <a:p>
            <a:r>
              <a:rPr lang="pt-BR" sz="3800" i="0" dirty="0">
                <a:solidFill>
                  <a:srgbClr val="2D3D70"/>
                </a:solidFill>
                <a:effectLst/>
                <a:latin typeface="+mn-lt"/>
              </a:rPr>
              <a:t>GESTÃO DE CONTRATADAS </a:t>
            </a:r>
            <a:br>
              <a:rPr lang="pt-BR" sz="2800" dirty="0">
                <a:latin typeface="Times New Roman" panose="02020603050405020304" pitchFamily="18" charset="0"/>
                <a:ea typeface="Times New Roman" panose="02020603050405020304" pitchFamily="18" charset="0"/>
              </a:rPr>
            </a:br>
            <a:br>
              <a:rPr lang="pt-BR" sz="2400" b="0" dirty="0">
                <a:solidFill>
                  <a:schemeClr val="tx2"/>
                </a:solidFill>
                <a:effectLst/>
                <a:latin typeface="+mn-lt"/>
              </a:rPr>
            </a:br>
            <a:br>
              <a:rPr lang="pt-BR" sz="2400" b="0" dirty="0">
                <a:solidFill>
                  <a:schemeClr val="tx2"/>
                </a:solidFill>
                <a:effectLst/>
                <a:latin typeface="+mn-lt"/>
              </a:rPr>
            </a:br>
            <a:endParaRPr lang="pt-BR" sz="2400" b="0" dirty="0">
              <a:solidFill>
                <a:schemeClr val="tx2"/>
              </a:solidFill>
              <a:latin typeface="+mn-lt"/>
            </a:endParaRPr>
          </a:p>
        </p:txBody>
      </p:sp>
      <p:sp>
        <p:nvSpPr>
          <p:cNvPr id="49" name="Espaço Reservado para Texto 48">
            <a:extLst>
              <a:ext uri="{FF2B5EF4-FFF2-40B4-BE49-F238E27FC236}">
                <a16:creationId xmlns:a16="http://schemas.microsoft.com/office/drawing/2014/main" id="{CDFC8067-872F-80A2-BAE2-1E3AAC37A8B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pt-BR" dirty="0"/>
              <a:t>Almas</a:t>
            </a:r>
          </a:p>
        </p:txBody>
      </p:sp>
      <p:sp>
        <p:nvSpPr>
          <p:cNvPr id="46" name="Espaço Reservado para Texto 45">
            <a:extLst>
              <a:ext uri="{FF2B5EF4-FFF2-40B4-BE49-F238E27FC236}">
                <a16:creationId xmlns:a16="http://schemas.microsoft.com/office/drawing/2014/main" id="{D98919FC-8AFD-7281-ED76-DD622BC18E0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944562" y="3507752"/>
            <a:ext cx="6832600" cy="447675"/>
          </a:xfrm>
        </p:spPr>
        <p:txBody>
          <a:bodyPr>
            <a:normAutofit/>
          </a:bodyPr>
          <a:lstStyle/>
          <a:p>
            <a:pPr>
              <a:spcBef>
                <a:spcPts val="0"/>
              </a:spcBef>
            </a:pPr>
            <a:r>
              <a:rPr lang="pt-BR" sz="1800" b="1" dirty="0">
                <a:solidFill>
                  <a:srgbClr val="F4614D"/>
                </a:solidFill>
              </a:rPr>
              <a:t>Reunião mensal</a:t>
            </a:r>
          </a:p>
        </p:txBody>
      </p:sp>
      <p:sp>
        <p:nvSpPr>
          <p:cNvPr id="2" name="Espaço Reservado para Texto 61">
            <a:extLst>
              <a:ext uri="{FF2B5EF4-FFF2-40B4-BE49-F238E27FC236}">
                <a16:creationId xmlns:a16="http://schemas.microsoft.com/office/drawing/2014/main" id="{706C3F8F-D069-1EC3-6299-8FC64345A7FD}"/>
              </a:ext>
            </a:extLst>
          </p:cNvPr>
          <p:cNvSpPr txBox="1">
            <a:spLocks/>
          </p:cNvSpPr>
          <p:nvPr/>
        </p:nvSpPr>
        <p:spPr>
          <a:xfrm>
            <a:off x="944562" y="3955427"/>
            <a:ext cx="3044731" cy="354597"/>
          </a:xfrm>
          <a:prstGeom prst="rect">
            <a:avLst/>
          </a:prstGeom>
        </p:spPr>
        <p:txBody>
          <a:bodyPr vert="horz" lIns="144000" tIns="45720" rIns="91440" bIns="45720" rtlCol="0">
            <a:normAutofit/>
          </a:bodyPr>
          <a:lstStyle>
            <a:lvl1pPr marL="0" marR="0" indent="0" algn="l" defTabSz="914400" rtl="0" eaLnBrk="1" latinLnBrk="0" hangingPunct="1">
              <a:lnSpc>
                <a:spcPct val="100000"/>
              </a:lnSpc>
              <a:spcBef>
                <a:spcPts val="2000"/>
              </a:spcBef>
              <a:spcAft>
                <a:spcPts val="500"/>
              </a:spcAft>
              <a:buClrTx/>
              <a:buFont typeface="Arial" panose="020B0604020202020204" pitchFamily="34" charset="0"/>
              <a:buNone/>
              <a:defRPr lang="pt-BR" sz="1500" b="0" i="0" u="none" strike="noStrike" kern="1200" cap="all" spc="10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Arial"/>
              </a:defRPr>
            </a:lvl1pPr>
            <a:lvl2pPr marL="285750" indent="-28575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6000" indent="288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lang="pt-BR" sz="16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145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dirty="0"/>
              <a:t>Mês </a:t>
            </a:r>
            <a:r>
              <a:rPr lang="pt-BR" dirty="0" err="1"/>
              <a:t>xxxxxxxxx</a:t>
            </a:r>
            <a:endParaRPr lang="pt-BR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4112996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8721"/>
    </mc:Choice>
    <mc:Fallback xmlns="">
      <p:transition spd="slow" advTm="8721"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AF40005-7437-DF77-4CAE-F94B7D0956A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13DC181D-AD15-6808-28A8-CF5BBB362BD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4" imgW="425" imgH="424" progId="TCLayout.ActiveDocument.1">
                  <p:embed/>
                </p:oleObj>
              </mc:Choice>
              <mc:Fallback>
                <p:oleObj name="Slide do think-cell" r:id="rId4" imgW="425" imgH="42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3DC181D-AD15-6808-28A8-CF5BBB362B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tângulo 6" hidden="1">
            <a:extLst>
              <a:ext uri="{FF2B5EF4-FFF2-40B4-BE49-F238E27FC236}">
                <a16:creationId xmlns:a16="http://schemas.microsoft.com/office/drawing/2014/main" id="{CB3E2641-1A34-4977-9578-CE433BA207F5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pt-BR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en Sans"/>
              <a:ea typeface="+mn-ea"/>
              <a:cs typeface="+mn-cs"/>
              <a:sym typeface="Arial"/>
            </a:endParaRPr>
          </a:p>
        </p:txBody>
      </p:sp>
      <p:sp>
        <p:nvSpPr>
          <p:cNvPr id="61" name="Título 60">
            <a:extLst>
              <a:ext uri="{FF2B5EF4-FFF2-40B4-BE49-F238E27FC236}">
                <a16:creationId xmlns:a16="http://schemas.microsoft.com/office/drawing/2014/main" id="{08FCF3DD-80A3-BFDA-3FFC-14D0452371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70391" y="1668084"/>
            <a:ext cx="6677960" cy="1281113"/>
          </a:xfrm>
        </p:spPr>
        <p:txBody>
          <a:bodyPr vert="horz">
            <a:noAutofit/>
          </a:bodyPr>
          <a:lstStyle/>
          <a:p>
            <a:r>
              <a:rPr lang="pt-BR" sz="2000" dirty="0">
                <a:solidFill>
                  <a:srgbClr val="F4614D"/>
                </a:solidFill>
              </a:rPr>
              <a:t>Reunião mensal</a:t>
            </a:r>
            <a:br>
              <a:rPr lang="pt-BR" sz="2000" dirty="0">
                <a:solidFill>
                  <a:srgbClr val="FF0000"/>
                </a:solidFill>
              </a:rPr>
            </a:br>
            <a:br>
              <a:rPr lang="pt-BR" sz="800" dirty="0">
                <a:solidFill>
                  <a:srgbClr val="FF0000"/>
                </a:solidFill>
              </a:rPr>
            </a:br>
            <a:r>
              <a:rPr lang="pt-BR" sz="1800" dirty="0">
                <a:solidFill>
                  <a:srgbClr val="2D3D70"/>
                </a:solidFill>
              </a:rPr>
              <a:t>GESTÃO DE CONTRATADAS </a:t>
            </a:r>
            <a:endParaRPr lang="pt-BR" sz="2000" dirty="0"/>
          </a:p>
        </p:txBody>
      </p:sp>
      <p:sp>
        <p:nvSpPr>
          <p:cNvPr id="62" name="Espaço Reservado para Texto 61">
            <a:extLst>
              <a:ext uri="{FF2B5EF4-FFF2-40B4-BE49-F238E27FC236}">
                <a16:creationId xmlns:a16="http://schemas.microsoft.com/office/drawing/2014/main" id="{59D69B81-501D-E47C-6156-255A8227CDB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pt-BR"/>
              <a:t>Pautas</a:t>
            </a:r>
          </a:p>
        </p:txBody>
      </p:sp>
      <p:sp>
        <p:nvSpPr>
          <p:cNvPr id="63" name="Espaço Reservado para Texto 62">
            <a:extLst>
              <a:ext uri="{FF2B5EF4-FFF2-40B4-BE49-F238E27FC236}">
                <a16:creationId xmlns:a16="http://schemas.microsoft.com/office/drawing/2014/main" id="{7C80995F-B7A0-5842-7C5B-93BDAF1A2E9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546352" y="2624481"/>
            <a:ext cx="654050" cy="656199"/>
          </a:xfrm>
        </p:spPr>
        <p:txBody>
          <a:bodyPr/>
          <a:lstStyle/>
          <a:p>
            <a:r>
              <a:rPr lang="pt-BR"/>
              <a:t>1</a:t>
            </a:r>
          </a:p>
        </p:txBody>
      </p:sp>
      <p:sp>
        <p:nvSpPr>
          <p:cNvPr id="64" name="Espaço Reservado para Texto 63">
            <a:extLst>
              <a:ext uri="{FF2B5EF4-FFF2-40B4-BE49-F238E27FC236}">
                <a16:creationId xmlns:a16="http://schemas.microsoft.com/office/drawing/2014/main" id="{06889B1F-1743-CDF0-A822-597FAE962C8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546352" y="3603859"/>
            <a:ext cx="654050" cy="656199"/>
          </a:xfrm>
        </p:spPr>
        <p:txBody>
          <a:bodyPr/>
          <a:lstStyle/>
          <a:p>
            <a:r>
              <a:rPr lang="pt-BR"/>
              <a:t>2</a:t>
            </a:r>
          </a:p>
        </p:txBody>
      </p:sp>
      <p:sp>
        <p:nvSpPr>
          <p:cNvPr id="65" name="Espaço Reservado para Texto 64">
            <a:extLst>
              <a:ext uri="{FF2B5EF4-FFF2-40B4-BE49-F238E27FC236}">
                <a16:creationId xmlns:a16="http://schemas.microsoft.com/office/drawing/2014/main" id="{B4C7E99F-6B19-45A9-E3EA-09C07AD11DA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546352" y="4565200"/>
            <a:ext cx="654050" cy="656199"/>
          </a:xfrm>
        </p:spPr>
        <p:txBody>
          <a:bodyPr/>
          <a:lstStyle/>
          <a:p>
            <a:r>
              <a:rPr lang="pt-BR"/>
              <a:t>3</a:t>
            </a:r>
          </a:p>
        </p:txBody>
      </p:sp>
      <p:sp>
        <p:nvSpPr>
          <p:cNvPr id="67" name="Espaço Reservado para Texto 66">
            <a:extLst>
              <a:ext uri="{FF2B5EF4-FFF2-40B4-BE49-F238E27FC236}">
                <a16:creationId xmlns:a16="http://schemas.microsoft.com/office/drawing/2014/main" id="{A8BA6873-D104-C57A-41D1-EDD39B76BEC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546352" y="5315668"/>
            <a:ext cx="654050" cy="656199"/>
          </a:xfrm>
        </p:spPr>
        <p:txBody>
          <a:bodyPr/>
          <a:lstStyle/>
          <a:p>
            <a:r>
              <a:rPr lang="pt-BR"/>
              <a:t>4</a:t>
            </a:r>
          </a:p>
        </p:txBody>
      </p:sp>
      <p:sp>
        <p:nvSpPr>
          <p:cNvPr id="68" name="Espaço Reservado para Texto 67">
            <a:extLst>
              <a:ext uri="{FF2B5EF4-FFF2-40B4-BE49-F238E27FC236}">
                <a16:creationId xmlns:a16="http://schemas.microsoft.com/office/drawing/2014/main" id="{B3790355-CC66-887B-C6E4-56CE1364E44E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247924" y="2666137"/>
            <a:ext cx="654050" cy="656199"/>
          </a:xfrm>
        </p:spPr>
        <p:txBody>
          <a:bodyPr/>
          <a:lstStyle/>
          <a:p>
            <a:r>
              <a:rPr lang="pt-BR"/>
              <a:t>5</a:t>
            </a:r>
          </a:p>
        </p:txBody>
      </p:sp>
      <p:sp>
        <p:nvSpPr>
          <p:cNvPr id="71" name="Espaço Reservado para Texto 70">
            <a:extLst>
              <a:ext uri="{FF2B5EF4-FFF2-40B4-BE49-F238E27FC236}">
                <a16:creationId xmlns:a16="http://schemas.microsoft.com/office/drawing/2014/main" id="{9908E550-96C0-6D8A-6C61-E798C6BF251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103564" y="2665038"/>
            <a:ext cx="2744787" cy="625475"/>
          </a:xfr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pt-BR" dirty="0"/>
              <a:t>Indicadores de SSMAC</a:t>
            </a:r>
            <a:endParaRPr lang="pt-BR" dirty="0">
              <a:solidFill>
                <a:srgbClr val="000000"/>
              </a:solidFill>
              <a:ea typeface="Open Sans"/>
              <a:cs typeface="Open Sans"/>
            </a:endParaRPr>
          </a:p>
          <a:p>
            <a:pPr>
              <a:buClrTx/>
            </a:pPr>
            <a:endParaRPr lang="pt-BR" b="1" dirty="0">
              <a:ea typeface="Open Sans"/>
              <a:cs typeface="Open Sans"/>
            </a:endParaRPr>
          </a:p>
        </p:txBody>
      </p:sp>
      <p:sp>
        <p:nvSpPr>
          <p:cNvPr id="72" name="Espaço Reservado para Texto 71">
            <a:extLst>
              <a:ext uri="{FF2B5EF4-FFF2-40B4-BE49-F238E27FC236}">
                <a16:creationId xmlns:a16="http://schemas.microsoft.com/office/drawing/2014/main" id="{CB7C6A14-6B98-F2DA-E4BE-671833F788F7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103564" y="3636928"/>
            <a:ext cx="3144360" cy="625475"/>
          </a:xfr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pt-BR" dirty="0"/>
              <a:t>Indicadores de Treinamentos</a:t>
            </a:r>
            <a:endParaRPr lang="pt-BR" dirty="0">
              <a:solidFill>
                <a:srgbClr val="000000"/>
              </a:solidFill>
            </a:endParaRPr>
          </a:p>
          <a:p>
            <a:endParaRPr lang="pt-BR" dirty="0">
              <a:ea typeface="Open Sans"/>
              <a:cs typeface="Open Sans"/>
            </a:endParaRPr>
          </a:p>
        </p:txBody>
      </p:sp>
      <p:sp>
        <p:nvSpPr>
          <p:cNvPr id="73" name="Espaço Reservado para Texto 72">
            <a:extLst>
              <a:ext uri="{FF2B5EF4-FFF2-40B4-BE49-F238E27FC236}">
                <a16:creationId xmlns:a16="http://schemas.microsoft.com/office/drawing/2014/main" id="{8926B2C9-F8E1-7C4C-B149-5036D8687CB3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5103564" y="4591324"/>
            <a:ext cx="3379424" cy="625475"/>
          </a:xfr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pt-BR" b="1" dirty="0"/>
              <a:t>Boas Práticas </a:t>
            </a:r>
            <a:endParaRPr lang="en-US" b="1" dirty="0">
              <a:solidFill>
                <a:srgbClr val="000000"/>
              </a:solidFill>
              <a:ea typeface="Open Sans"/>
              <a:cs typeface="Open Sans"/>
            </a:endParaRPr>
          </a:p>
          <a:p>
            <a:pPr>
              <a:lnSpc>
                <a:spcPct val="100000"/>
              </a:lnSpc>
              <a:spcAft>
                <a:spcPts val="0"/>
              </a:spcAft>
            </a:pPr>
            <a:endParaRPr lang="pt-BR" dirty="0">
              <a:ea typeface="Open Sans"/>
              <a:cs typeface="Open Sans"/>
            </a:endParaRPr>
          </a:p>
        </p:txBody>
      </p:sp>
      <p:sp>
        <p:nvSpPr>
          <p:cNvPr id="75" name="Espaço Reservado para Texto 74">
            <a:extLst>
              <a:ext uri="{FF2B5EF4-FFF2-40B4-BE49-F238E27FC236}">
                <a16:creationId xmlns:a16="http://schemas.microsoft.com/office/drawing/2014/main" id="{FB14E259-8B59-B822-10CE-CCC4B0708539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5105152" y="5356225"/>
            <a:ext cx="2516187" cy="625475"/>
          </a:xfr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pt-BR" dirty="0"/>
              <a:t>Outros</a:t>
            </a:r>
            <a:endParaRPr lang="en-US" dirty="0">
              <a:solidFill>
                <a:srgbClr val="000000"/>
              </a:solidFill>
              <a:ea typeface="Open Sans"/>
              <a:cs typeface="Open Sans"/>
            </a:endParaRPr>
          </a:p>
          <a:p>
            <a:endParaRPr lang="pt-BR" dirty="0">
              <a:ea typeface="Open Sans"/>
              <a:cs typeface="Open Sans"/>
            </a:endParaRPr>
          </a:p>
        </p:txBody>
      </p:sp>
      <p:sp>
        <p:nvSpPr>
          <p:cNvPr id="76" name="Espaço Reservado para Texto 75">
            <a:extLst>
              <a:ext uri="{FF2B5EF4-FFF2-40B4-BE49-F238E27FC236}">
                <a16:creationId xmlns:a16="http://schemas.microsoft.com/office/drawing/2014/main" id="{546A8860-4918-5A04-27C6-BC1C5C45ABDB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8806724" y="2699206"/>
            <a:ext cx="2516187" cy="625475"/>
          </a:xfr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pt-BR" dirty="0"/>
              <a:t>-</a:t>
            </a:r>
            <a:endParaRPr lang="en-US" dirty="0">
              <a:solidFill>
                <a:srgbClr val="000000"/>
              </a:solidFill>
              <a:ea typeface="Open Sans"/>
              <a:cs typeface="Open Sans"/>
            </a:endParaRPr>
          </a:p>
          <a:p>
            <a:pPr>
              <a:buClrTx/>
            </a:pPr>
            <a:endParaRPr lang="en-US" dirty="0">
              <a:ea typeface="Open Sans"/>
              <a:cs typeface="Open Sans"/>
            </a:endParaRPr>
          </a:p>
        </p:txBody>
      </p:sp>
      <p:sp>
        <p:nvSpPr>
          <p:cNvPr id="15" name="Espaço Reservado para Texto 67">
            <a:extLst>
              <a:ext uri="{FF2B5EF4-FFF2-40B4-BE49-F238E27FC236}">
                <a16:creationId xmlns:a16="http://schemas.microsoft.com/office/drawing/2014/main" id="{0477A091-A26E-51B7-372E-60AD1A24F93B}"/>
              </a:ext>
            </a:extLst>
          </p:cNvPr>
          <p:cNvSpPr txBox="1">
            <a:spLocks/>
          </p:cNvSpPr>
          <p:nvPr/>
        </p:nvSpPr>
        <p:spPr>
          <a:xfrm>
            <a:off x="8247924" y="3653602"/>
            <a:ext cx="654050" cy="65619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110000"/>
              </a:lnSpc>
              <a:spcBef>
                <a:spcPts val="2000"/>
              </a:spcBef>
              <a:spcAft>
                <a:spcPts val="500"/>
              </a:spcAft>
              <a:buFont typeface="Arial" panose="020B0604020202020204" pitchFamily="34" charset="0"/>
              <a:buNone/>
              <a:defRPr sz="3600" b="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285750" indent="-28575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sz="360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2pPr>
            <a:lvl3pPr marL="936000" indent="288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lang="pt-BR" sz="360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360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Tx/>
            </a:pPr>
            <a:r>
              <a:rPr lang="pt-BR"/>
              <a:t>6</a:t>
            </a:r>
          </a:p>
        </p:txBody>
      </p:sp>
      <p:sp>
        <p:nvSpPr>
          <p:cNvPr id="16" name="Espaço Reservado para Texto 75">
            <a:extLst>
              <a:ext uri="{FF2B5EF4-FFF2-40B4-BE49-F238E27FC236}">
                <a16:creationId xmlns:a16="http://schemas.microsoft.com/office/drawing/2014/main" id="{A8E93C97-B1D7-2C05-B072-EDD8E5101BDA}"/>
              </a:ext>
            </a:extLst>
          </p:cNvPr>
          <p:cNvSpPr txBox="1">
            <a:spLocks/>
          </p:cNvSpPr>
          <p:nvPr/>
        </p:nvSpPr>
        <p:spPr>
          <a:xfrm>
            <a:off x="8806724" y="3686671"/>
            <a:ext cx="2516187" cy="625475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0" indent="0" algn="l" defTabSz="914400" rtl="0" eaLnBrk="1" latinLnBrk="0" hangingPunct="1">
              <a:lnSpc>
                <a:spcPct val="130000"/>
              </a:lnSpc>
              <a:spcBef>
                <a:spcPts val="2000"/>
              </a:spcBef>
              <a:spcAft>
                <a:spcPts val="500"/>
              </a:spcAft>
              <a:buFont typeface="Arial" panose="020B0604020202020204" pitchFamily="34" charset="0"/>
              <a:buNone/>
              <a:defRPr sz="14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285750" indent="-285750" algn="l" defTabSz="914400" rtl="0" eaLnBrk="1" latinLnBrk="0" hangingPunct="1">
              <a:lnSpc>
                <a:spcPct val="13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sz="13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936000" indent="288000" algn="l" defTabSz="914400" rtl="0" eaLnBrk="1" latinLnBrk="0" hangingPunct="1">
              <a:lnSpc>
                <a:spcPct val="13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lang="pt-BR" sz="13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13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3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130000"/>
              </a:lnSpc>
              <a:spcBef>
                <a:spcPts val="500"/>
              </a:spcBef>
              <a:buFont typeface="Arial" panose="020B0604020202020204" pitchFamily="34" charset="0"/>
              <a:buNone/>
              <a:defRPr sz="13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dirty="0"/>
              <a:t>-</a:t>
            </a:r>
            <a:endParaRPr lang="en-US" dirty="0">
              <a:solidFill>
                <a:srgbClr val="000000"/>
              </a:solidFill>
              <a:ea typeface="Open Sans"/>
              <a:cs typeface="Open Sans"/>
            </a:endParaRPr>
          </a:p>
          <a:p>
            <a:pPr>
              <a:buClrTx/>
            </a:pPr>
            <a:endParaRPr lang="en-US" dirty="0">
              <a:ea typeface="Open Sans"/>
              <a:cs typeface="Open Sans"/>
            </a:endParaRPr>
          </a:p>
        </p:txBody>
      </p:sp>
      <p:sp>
        <p:nvSpPr>
          <p:cNvPr id="17" name="Espaço Reservado para Texto 67">
            <a:extLst>
              <a:ext uri="{FF2B5EF4-FFF2-40B4-BE49-F238E27FC236}">
                <a16:creationId xmlns:a16="http://schemas.microsoft.com/office/drawing/2014/main" id="{81C8DF53-D6A8-4540-2E5F-DD47952C2626}"/>
              </a:ext>
            </a:extLst>
          </p:cNvPr>
          <p:cNvSpPr txBox="1">
            <a:spLocks/>
          </p:cNvSpPr>
          <p:nvPr/>
        </p:nvSpPr>
        <p:spPr>
          <a:xfrm>
            <a:off x="8247924" y="4418503"/>
            <a:ext cx="654050" cy="65619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110000"/>
              </a:lnSpc>
              <a:spcBef>
                <a:spcPts val="2000"/>
              </a:spcBef>
              <a:spcAft>
                <a:spcPts val="500"/>
              </a:spcAft>
              <a:buFont typeface="Arial" panose="020B0604020202020204" pitchFamily="34" charset="0"/>
              <a:buNone/>
              <a:defRPr sz="3600" b="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285750" indent="-28575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sz="360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2pPr>
            <a:lvl3pPr marL="936000" indent="288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lang="pt-BR" sz="360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360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Tx/>
            </a:pPr>
            <a:r>
              <a:rPr lang="pt-BR"/>
              <a:t>7</a:t>
            </a:r>
          </a:p>
        </p:txBody>
      </p:sp>
      <p:sp>
        <p:nvSpPr>
          <p:cNvPr id="3" name="CaixaDeTexto 2">
            <a:extLst>
              <a:ext uri="{FF2B5EF4-FFF2-40B4-BE49-F238E27FC236}">
                <a16:creationId xmlns:a16="http://schemas.microsoft.com/office/drawing/2014/main" id="{4591D326-EFAD-843B-6F93-1452F5851DD9}"/>
              </a:ext>
            </a:extLst>
          </p:cNvPr>
          <p:cNvSpPr txBox="1"/>
          <p:nvPr/>
        </p:nvSpPr>
        <p:spPr>
          <a:xfrm>
            <a:off x="8811491" y="4585855"/>
            <a:ext cx="2743200" cy="30777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pt-BR" dirty="0"/>
              <a:t>-</a:t>
            </a:r>
            <a:endParaRPr lang="en-US" dirty="0">
              <a:ea typeface="Open Sans"/>
              <a:cs typeface="Open Sans"/>
            </a:endParaRPr>
          </a:p>
        </p:txBody>
      </p:sp>
    </p:spTree>
    <p:extLst>
      <p:ext uri="{BB962C8B-B14F-4D97-AF65-F5344CB8AC3E}">
        <p14:creationId xmlns:p14="http://schemas.microsoft.com/office/powerpoint/2010/main" val="214954022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E18343D-BBF7-CA72-1CA5-1A6986E8209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think-cell data - do not delete" hidden="1">
            <a:extLst>
              <a:ext uri="{FF2B5EF4-FFF2-40B4-BE49-F238E27FC236}">
                <a16:creationId xmlns:a16="http://schemas.microsoft.com/office/drawing/2014/main" id="{D99DB348-8680-2B2E-0A4F-15155A9888D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4" imgW="425" imgH="424" progId="TCLayout.ActiveDocument.1">
                  <p:embed/>
                </p:oleObj>
              </mc:Choice>
              <mc:Fallback>
                <p:oleObj name="Slide do think-cell" r:id="rId4" imgW="425" imgH="424" progId="TCLayout.ActiveDocument.1">
                  <p:embed/>
                  <p:pic>
                    <p:nvPicPr>
                      <p:cNvPr id="2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99DB348-8680-2B2E-0A4F-15155A9888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ítulo 2">
            <a:extLst>
              <a:ext uri="{FF2B5EF4-FFF2-40B4-BE49-F238E27FC236}">
                <a16:creationId xmlns:a16="http://schemas.microsoft.com/office/drawing/2014/main" id="{D4D65483-41D7-1E98-A751-22DDCAA2311A}"/>
              </a:ext>
            </a:extLst>
          </p:cNvPr>
          <p:cNvSpPr txBox="1">
            <a:spLocks/>
          </p:cNvSpPr>
          <p:nvPr/>
        </p:nvSpPr>
        <p:spPr>
          <a:xfrm>
            <a:off x="411279" y="522581"/>
            <a:ext cx="9667218" cy="47619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 spc="-4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buClrTx/>
              <a:buFontTx/>
              <a:defRPr/>
            </a:pPr>
            <a:r>
              <a:rPr lang="pt-BR" sz="2400" dirty="0">
                <a:solidFill>
                  <a:srgbClr val="2D3D70"/>
                </a:solidFill>
                <a:latin typeface="Montserrat"/>
              </a:rPr>
              <a:t>BOAS PRÁTICAS</a:t>
            </a:r>
          </a:p>
          <a:p>
            <a:pPr>
              <a:buClrTx/>
              <a:buFontTx/>
              <a:defRPr/>
            </a:pPr>
            <a:r>
              <a:rPr lang="pt-BR" sz="2400" dirty="0">
                <a:solidFill>
                  <a:srgbClr val="F4614D"/>
                </a:solidFill>
                <a:latin typeface="Montserrat"/>
              </a:rPr>
              <a:t>MÊS/ANO </a:t>
            </a:r>
          </a:p>
        </p:txBody>
      </p:sp>
      <p:sp>
        <p:nvSpPr>
          <p:cNvPr id="10" name="Espaço Reservado para Texto 61">
            <a:extLst>
              <a:ext uri="{FF2B5EF4-FFF2-40B4-BE49-F238E27FC236}">
                <a16:creationId xmlns:a16="http://schemas.microsoft.com/office/drawing/2014/main" id="{8F581AEC-7F40-D31C-A3F1-4C6C0BCE3FCE}"/>
              </a:ext>
            </a:extLst>
          </p:cNvPr>
          <p:cNvSpPr txBox="1">
            <a:spLocks/>
          </p:cNvSpPr>
          <p:nvPr/>
        </p:nvSpPr>
        <p:spPr>
          <a:xfrm>
            <a:off x="411279" y="278512"/>
            <a:ext cx="4984686" cy="354597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2000"/>
              </a:spcBef>
              <a:spcAft>
                <a:spcPts val="500"/>
              </a:spcAft>
              <a:buFont typeface="Arial" panose="020B0604020202020204" pitchFamily="34" charset="0"/>
              <a:buNone/>
              <a:defRPr sz="17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285750" indent="-28575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6000" indent="288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lang="pt-BR" sz="16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145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buClrTx/>
              <a:defRPr/>
            </a:pPr>
            <a:r>
              <a:rPr lang="pt-BR" sz="1050" b="0" dirty="0">
                <a:solidFill>
                  <a:srgbClr val="666666"/>
                </a:solidFill>
                <a:latin typeface="Open Sans (Corpo)"/>
              </a:rPr>
              <a:t>SSMAC| ALMAS</a:t>
            </a:r>
          </a:p>
        </p:txBody>
      </p:sp>
      <p:sp>
        <p:nvSpPr>
          <p:cNvPr id="1100" name="Retângulo 1099">
            <a:extLst>
              <a:ext uri="{FF2B5EF4-FFF2-40B4-BE49-F238E27FC236}">
                <a16:creationId xmlns:a16="http://schemas.microsoft.com/office/drawing/2014/main" id="{22CE3FC9-C944-8DE7-350D-416C9DC786CE}"/>
              </a:ext>
            </a:extLst>
          </p:cNvPr>
          <p:cNvSpPr/>
          <p:nvPr/>
        </p:nvSpPr>
        <p:spPr>
          <a:xfrm>
            <a:off x="7926443" y="1059215"/>
            <a:ext cx="1173892" cy="30618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sz="1100" b="1">
              <a:solidFill>
                <a:srgbClr val="C44B38"/>
              </a:solidFill>
              <a:latin typeface="Open Sans (Corpo)"/>
            </a:endParaRPr>
          </a:p>
        </p:txBody>
      </p:sp>
      <p:sp>
        <p:nvSpPr>
          <p:cNvPr id="1101" name="Retângulo 1100">
            <a:extLst>
              <a:ext uri="{FF2B5EF4-FFF2-40B4-BE49-F238E27FC236}">
                <a16:creationId xmlns:a16="http://schemas.microsoft.com/office/drawing/2014/main" id="{BBA69BB8-A940-FCB8-CDE3-98D668463255}"/>
              </a:ext>
            </a:extLst>
          </p:cNvPr>
          <p:cNvSpPr/>
          <p:nvPr/>
        </p:nvSpPr>
        <p:spPr>
          <a:xfrm>
            <a:off x="7859212" y="1340755"/>
            <a:ext cx="3668391" cy="518056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>
              <a:spcAft>
                <a:spcPts val="300"/>
              </a:spcAft>
            </a:pPr>
            <a:endParaRPr lang="pt-BR" sz="900" b="1">
              <a:solidFill>
                <a:srgbClr val="2D3D70"/>
              </a:solidFill>
              <a:latin typeface="Open Sans"/>
              <a:ea typeface="Open Sans"/>
              <a:cs typeface="Open Sans"/>
            </a:endParaRPr>
          </a:p>
          <a:p>
            <a:pPr marL="171450" lvl="1" indent="-171450">
              <a:spcAft>
                <a:spcPts val="300"/>
              </a:spcAft>
              <a:buFont typeface="Arial" panose="020B0604020202020204" pitchFamily="34" charset="0"/>
              <a:buChar char="•"/>
            </a:pPr>
            <a:endParaRPr lang="pt-BR" sz="900">
              <a:solidFill>
                <a:srgbClr val="2D3D70"/>
              </a:solidFill>
              <a:latin typeface="Open Sans"/>
              <a:ea typeface="Open Sans"/>
              <a:cs typeface="Open Sans"/>
            </a:endParaRPr>
          </a:p>
          <a:p>
            <a:pPr marL="171450" lvl="1" indent="-171450">
              <a:spcAft>
                <a:spcPts val="300"/>
              </a:spcAft>
              <a:buFont typeface="Arial" panose="020B0604020202020204" pitchFamily="34" charset="0"/>
              <a:buChar char="•"/>
            </a:pPr>
            <a:endParaRPr kumimoji="0" lang="pt-BR" sz="900" i="0" u="none" strike="noStrike" kern="1200" cap="none" spc="0" normalizeH="0" baseline="0" noProof="0">
              <a:ln>
                <a:noFill/>
              </a:ln>
              <a:solidFill>
                <a:srgbClr val="2D3D70"/>
              </a:solidFill>
              <a:effectLst/>
              <a:uLnTx/>
              <a:uFillTx/>
              <a:latin typeface="Open Sans"/>
              <a:ea typeface="Open Sans"/>
              <a:cs typeface="Open Sans"/>
              <a:sym typeface="Arial"/>
            </a:endParaRPr>
          </a:p>
        </p:txBody>
      </p:sp>
      <p:sp>
        <p:nvSpPr>
          <p:cNvPr id="2" name="Retângulo: Cantos Arredondados 1">
            <a:extLst>
              <a:ext uri="{FF2B5EF4-FFF2-40B4-BE49-F238E27FC236}">
                <a16:creationId xmlns:a16="http://schemas.microsoft.com/office/drawing/2014/main" id="{70E94B95-FFCB-3CC3-E92F-DCA20660D90B}"/>
              </a:ext>
            </a:extLst>
          </p:cNvPr>
          <p:cNvSpPr/>
          <p:nvPr/>
        </p:nvSpPr>
        <p:spPr>
          <a:xfrm>
            <a:off x="6400800" y="2021671"/>
            <a:ext cx="5283201" cy="3544271"/>
          </a:xfrm>
          <a:prstGeom prst="roundRect">
            <a:avLst>
              <a:gd name="adj" fmla="val 3200"/>
            </a:avLst>
          </a:prstGeom>
          <a:noFill/>
          <a:ln w="6350">
            <a:solidFill>
              <a:srgbClr val="C44B38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33"/>
          </a:p>
        </p:txBody>
      </p:sp>
      <p:sp>
        <p:nvSpPr>
          <p:cNvPr id="3" name="Retângulo 2">
            <a:extLst>
              <a:ext uri="{FF2B5EF4-FFF2-40B4-BE49-F238E27FC236}">
                <a16:creationId xmlns:a16="http://schemas.microsoft.com/office/drawing/2014/main" id="{B35B17C0-06C8-67D3-8125-270A075FF952}"/>
              </a:ext>
            </a:extLst>
          </p:cNvPr>
          <p:cNvSpPr/>
          <p:nvPr/>
        </p:nvSpPr>
        <p:spPr>
          <a:xfrm>
            <a:off x="6604000" y="1955840"/>
            <a:ext cx="1320800" cy="152360"/>
          </a:xfrm>
          <a:prstGeom prst="rect">
            <a:avLst/>
          </a:prstGeom>
          <a:solidFill>
            <a:srgbClr val="EFEFF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67"/>
          </a:p>
        </p:txBody>
      </p:sp>
      <p:sp>
        <p:nvSpPr>
          <p:cNvPr id="4" name="Retângulo 3">
            <a:extLst>
              <a:ext uri="{FF2B5EF4-FFF2-40B4-BE49-F238E27FC236}">
                <a16:creationId xmlns:a16="http://schemas.microsoft.com/office/drawing/2014/main" id="{654EB07D-E058-6B62-DF3F-7BEFDA666216}"/>
              </a:ext>
            </a:extLst>
          </p:cNvPr>
          <p:cNvSpPr/>
          <p:nvPr/>
        </p:nvSpPr>
        <p:spPr>
          <a:xfrm>
            <a:off x="6705600" y="1889045"/>
            <a:ext cx="1320800" cy="2699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60960" tIns="30480" rIns="60960" bIns="30480"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304815">
              <a:defRPr/>
            </a:pPr>
            <a:r>
              <a:rPr lang="pt-BR" sz="1200" b="1" dirty="0">
                <a:solidFill>
                  <a:srgbClr val="C44B38"/>
                </a:solidFill>
                <a:latin typeface="Open Sans (Corpo)"/>
              </a:rPr>
              <a:t>Comentários</a:t>
            </a:r>
            <a:endParaRPr lang="pt-BR" sz="933" dirty="0">
              <a:solidFill>
                <a:srgbClr val="C44B38"/>
              </a:solidFill>
              <a:latin typeface="Open Sans (Corpo)"/>
            </a:endParaRPr>
          </a:p>
        </p:txBody>
      </p:sp>
      <p:sp>
        <p:nvSpPr>
          <p:cNvPr id="5" name="CaixaDeTexto 4">
            <a:extLst>
              <a:ext uri="{FF2B5EF4-FFF2-40B4-BE49-F238E27FC236}">
                <a16:creationId xmlns:a16="http://schemas.microsoft.com/office/drawing/2014/main" id="{D449A900-3C5B-0F79-E7BC-49AA681FF678}"/>
              </a:ext>
            </a:extLst>
          </p:cNvPr>
          <p:cNvSpPr txBox="1"/>
          <p:nvPr/>
        </p:nvSpPr>
        <p:spPr>
          <a:xfrm>
            <a:off x="6603999" y="2295636"/>
            <a:ext cx="4978401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04815" indent="-304815">
              <a:buFont typeface="+mj-lt"/>
              <a:buAutoNum type="arabicPeriod"/>
            </a:pPr>
            <a:r>
              <a:rPr lang="pt-BR" sz="1333" dirty="0">
                <a:solidFill>
                  <a:srgbClr val="2D3D70"/>
                </a:solidFill>
              </a:rPr>
              <a:t> Neste mês tivemos XXXX</a:t>
            </a:r>
            <a:endParaRPr lang="pt-BR" sz="1333" dirty="0">
              <a:solidFill>
                <a:srgbClr val="2D3D70"/>
              </a:solidFill>
              <a:latin typeface="+mn-lt"/>
            </a:endParaRPr>
          </a:p>
        </p:txBody>
      </p:sp>
      <p:sp>
        <p:nvSpPr>
          <p:cNvPr id="6" name="Retângulo 5">
            <a:extLst>
              <a:ext uri="{FF2B5EF4-FFF2-40B4-BE49-F238E27FC236}">
                <a16:creationId xmlns:a16="http://schemas.microsoft.com/office/drawing/2014/main" id="{DB804291-2D9D-BFC1-94B4-FF2DD9BD21C7}"/>
              </a:ext>
            </a:extLst>
          </p:cNvPr>
          <p:cNvSpPr/>
          <p:nvPr/>
        </p:nvSpPr>
        <p:spPr>
          <a:xfrm>
            <a:off x="279399" y="1866320"/>
            <a:ext cx="5943600" cy="3813342"/>
          </a:xfrm>
          <a:prstGeom prst="rect">
            <a:avLst/>
          </a:prstGeom>
          <a:noFill/>
          <a:ln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933"/>
          </a:p>
        </p:txBody>
      </p:sp>
    </p:spTree>
    <p:extLst>
      <p:ext uri="{BB962C8B-B14F-4D97-AF65-F5344CB8AC3E}">
        <p14:creationId xmlns:p14="http://schemas.microsoft.com/office/powerpoint/2010/main" val="233916810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133E058-0DA2-25E4-6F5F-C82015E7F47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54743D19-7EE7-F6F1-1ED6-4AE4833DB79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4" imgW="425" imgH="424" progId="TCLayout.ActiveDocument.1">
                  <p:embed/>
                </p:oleObj>
              </mc:Choice>
              <mc:Fallback>
                <p:oleObj name="Slide do think-cell" r:id="rId4" imgW="425" imgH="42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4743D19-7EE7-F6F1-1ED6-4AE4833DB7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tângulo 6" hidden="1">
            <a:extLst>
              <a:ext uri="{FF2B5EF4-FFF2-40B4-BE49-F238E27FC236}">
                <a16:creationId xmlns:a16="http://schemas.microsoft.com/office/drawing/2014/main" id="{B96FFD1E-AD03-D434-7DA7-FED33D7C56FE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pt-BR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en Sans"/>
              <a:ea typeface="+mn-ea"/>
              <a:cs typeface="+mn-cs"/>
              <a:sym typeface="Arial"/>
            </a:endParaRPr>
          </a:p>
        </p:txBody>
      </p:sp>
      <p:sp>
        <p:nvSpPr>
          <p:cNvPr id="61" name="Título 60">
            <a:extLst>
              <a:ext uri="{FF2B5EF4-FFF2-40B4-BE49-F238E27FC236}">
                <a16:creationId xmlns:a16="http://schemas.microsoft.com/office/drawing/2014/main" id="{DA75AB2C-250B-928B-83DD-67ADB133F7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70391" y="1668084"/>
            <a:ext cx="6677960" cy="1281113"/>
          </a:xfrm>
        </p:spPr>
        <p:txBody>
          <a:bodyPr vert="horz">
            <a:noAutofit/>
          </a:bodyPr>
          <a:lstStyle/>
          <a:p>
            <a:r>
              <a:rPr lang="pt-BR" sz="2000" dirty="0">
                <a:solidFill>
                  <a:srgbClr val="F4614D"/>
                </a:solidFill>
              </a:rPr>
              <a:t>Reunião mensal</a:t>
            </a:r>
            <a:br>
              <a:rPr lang="pt-BR" sz="2000" dirty="0">
                <a:solidFill>
                  <a:srgbClr val="FF0000"/>
                </a:solidFill>
              </a:rPr>
            </a:br>
            <a:br>
              <a:rPr lang="pt-BR" sz="800" dirty="0">
                <a:solidFill>
                  <a:srgbClr val="FF0000"/>
                </a:solidFill>
              </a:rPr>
            </a:br>
            <a:r>
              <a:rPr lang="pt-BR" sz="1800" dirty="0">
                <a:solidFill>
                  <a:srgbClr val="2D3D70"/>
                </a:solidFill>
              </a:rPr>
              <a:t>GESTÃO DE CONTRATADAS </a:t>
            </a:r>
            <a:endParaRPr lang="pt-BR" sz="2000" dirty="0"/>
          </a:p>
        </p:txBody>
      </p:sp>
      <p:sp>
        <p:nvSpPr>
          <p:cNvPr id="62" name="Espaço Reservado para Texto 61">
            <a:extLst>
              <a:ext uri="{FF2B5EF4-FFF2-40B4-BE49-F238E27FC236}">
                <a16:creationId xmlns:a16="http://schemas.microsoft.com/office/drawing/2014/main" id="{9802AB27-354C-B1AE-6A4A-14A64298669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pt-BR"/>
              <a:t>Pautas</a:t>
            </a:r>
          </a:p>
        </p:txBody>
      </p:sp>
      <p:sp>
        <p:nvSpPr>
          <p:cNvPr id="63" name="Espaço Reservado para Texto 62">
            <a:extLst>
              <a:ext uri="{FF2B5EF4-FFF2-40B4-BE49-F238E27FC236}">
                <a16:creationId xmlns:a16="http://schemas.microsoft.com/office/drawing/2014/main" id="{FA9667CA-53DD-E8B3-F063-F6DC0CFBB66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546352" y="2624481"/>
            <a:ext cx="654050" cy="656199"/>
          </a:xfrm>
        </p:spPr>
        <p:txBody>
          <a:bodyPr/>
          <a:lstStyle/>
          <a:p>
            <a:r>
              <a:rPr lang="pt-BR"/>
              <a:t>1</a:t>
            </a:r>
          </a:p>
        </p:txBody>
      </p:sp>
      <p:sp>
        <p:nvSpPr>
          <p:cNvPr id="64" name="Espaço Reservado para Texto 63">
            <a:extLst>
              <a:ext uri="{FF2B5EF4-FFF2-40B4-BE49-F238E27FC236}">
                <a16:creationId xmlns:a16="http://schemas.microsoft.com/office/drawing/2014/main" id="{8F0EFF0D-E612-CDD9-066F-76ECA219BB3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546352" y="3603859"/>
            <a:ext cx="654050" cy="656199"/>
          </a:xfrm>
        </p:spPr>
        <p:txBody>
          <a:bodyPr/>
          <a:lstStyle/>
          <a:p>
            <a:r>
              <a:rPr lang="pt-BR"/>
              <a:t>2</a:t>
            </a:r>
          </a:p>
        </p:txBody>
      </p:sp>
      <p:sp>
        <p:nvSpPr>
          <p:cNvPr id="65" name="Espaço Reservado para Texto 64">
            <a:extLst>
              <a:ext uri="{FF2B5EF4-FFF2-40B4-BE49-F238E27FC236}">
                <a16:creationId xmlns:a16="http://schemas.microsoft.com/office/drawing/2014/main" id="{D949D211-1DE9-4416-7CF4-3E6B4C53471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546352" y="4565200"/>
            <a:ext cx="654050" cy="656199"/>
          </a:xfrm>
        </p:spPr>
        <p:txBody>
          <a:bodyPr/>
          <a:lstStyle/>
          <a:p>
            <a:r>
              <a:rPr lang="pt-BR"/>
              <a:t>3</a:t>
            </a:r>
          </a:p>
        </p:txBody>
      </p:sp>
      <p:sp>
        <p:nvSpPr>
          <p:cNvPr id="67" name="Espaço Reservado para Texto 66">
            <a:extLst>
              <a:ext uri="{FF2B5EF4-FFF2-40B4-BE49-F238E27FC236}">
                <a16:creationId xmlns:a16="http://schemas.microsoft.com/office/drawing/2014/main" id="{FAFB948F-C64B-947C-04B6-C01D3CCD8FA2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546352" y="5315668"/>
            <a:ext cx="654050" cy="656199"/>
          </a:xfrm>
        </p:spPr>
        <p:txBody>
          <a:bodyPr/>
          <a:lstStyle/>
          <a:p>
            <a:r>
              <a:rPr lang="pt-BR"/>
              <a:t>4</a:t>
            </a:r>
          </a:p>
        </p:txBody>
      </p:sp>
      <p:sp>
        <p:nvSpPr>
          <p:cNvPr id="68" name="Espaço Reservado para Texto 67">
            <a:extLst>
              <a:ext uri="{FF2B5EF4-FFF2-40B4-BE49-F238E27FC236}">
                <a16:creationId xmlns:a16="http://schemas.microsoft.com/office/drawing/2014/main" id="{7D98B2EE-780A-79BB-3AFA-18285C1DB8D2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247924" y="2666137"/>
            <a:ext cx="654050" cy="656199"/>
          </a:xfrm>
        </p:spPr>
        <p:txBody>
          <a:bodyPr/>
          <a:lstStyle/>
          <a:p>
            <a:r>
              <a:rPr lang="pt-BR"/>
              <a:t>5</a:t>
            </a:r>
          </a:p>
        </p:txBody>
      </p:sp>
      <p:sp>
        <p:nvSpPr>
          <p:cNvPr id="71" name="Espaço Reservado para Texto 70">
            <a:extLst>
              <a:ext uri="{FF2B5EF4-FFF2-40B4-BE49-F238E27FC236}">
                <a16:creationId xmlns:a16="http://schemas.microsoft.com/office/drawing/2014/main" id="{86F1A20F-6402-DC74-07DF-92B92AD99FC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103564" y="2665038"/>
            <a:ext cx="2744787" cy="625475"/>
          </a:xfr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pt-BR" dirty="0"/>
              <a:t>Indicadores de SSMAC</a:t>
            </a:r>
            <a:endParaRPr lang="pt-BR" dirty="0">
              <a:solidFill>
                <a:srgbClr val="000000"/>
              </a:solidFill>
              <a:ea typeface="Open Sans"/>
              <a:cs typeface="Open Sans"/>
            </a:endParaRPr>
          </a:p>
          <a:p>
            <a:pPr>
              <a:buClrTx/>
            </a:pPr>
            <a:endParaRPr lang="pt-BR" b="1" dirty="0">
              <a:ea typeface="Open Sans"/>
              <a:cs typeface="Open Sans"/>
            </a:endParaRPr>
          </a:p>
        </p:txBody>
      </p:sp>
      <p:sp>
        <p:nvSpPr>
          <p:cNvPr id="72" name="Espaço Reservado para Texto 71">
            <a:extLst>
              <a:ext uri="{FF2B5EF4-FFF2-40B4-BE49-F238E27FC236}">
                <a16:creationId xmlns:a16="http://schemas.microsoft.com/office/drawing/2014/main" id="{A321F525-17B0-3C80-C6C6-604DD104842A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103564" y="3636928"/>
            <a:ext cx="3144360" cy="625475"/>
          </a:xfr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pt-BR" dirty="0"/>
              <a:t>Indicadores de Treinamentos</a:t>
            </a:r>
            <a:endParaRPr lang="pt-BR" dirty="0">
              <a:solidFill>
                <a:srgbClr val="000000"/>
              </a:solidFill>
            </a:endParaRPr>
          </a:p>
          <a:p>
            <a:endParaRPr lang="pt-BR" dirty="0">
              <a:ea typeface="Open Sans"/>
              <a:cs typeface="Open Sans"/>
            </a:endParaRPr>
          </a:p>
        </p:txBody>
      </p:sp>
      <p:sp>
        <p:nvSpPr>
          <p:cNvPr id="73" name="Espaço Reservado para Texto 72">
            <a:extLst>
              <a:ext uri="{FF2B5EF4-FFF2-40B4-BE49-F238E27FC236}">
                <a16:creationId xmlns:a16="http://schemas.microsoft.com/office/drawing/2014/main" id="{4B958AD6-1BC9-BB7B-EFC7-BBA9C7028372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5103564" y="4591324"/>
            <a:ext cx="3379424" cy="625475"/>
          </a:xfr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pt-BR" dirty="0"/>
              <a:t>Boas Práticas </a:t>
            </a:r>
            <a:endParaRPr lang="en-US" dirty="0">
              <a:solidFill>
                <a:srgbClr val="000000"/>
              </a:solidFill>
              <a:ea typeface="Open Sans"/>
              <a:cs typeface="Open Sans"/>
            </a:endParaRPr>
          </a:p>
          <a:p>
            <a:pPr>
              <a:lnSpc>
                <a:spcPct val="100000"/>
              </a:lnSpc>
              <a:spcAft>
                <a:spcPts val="0"/>
              </a:spcAft>
            </a:pPr>
            <a:endParaRPr lang="pt-BR" dirty="0">
              <a:ea typeface="Open Sans"/>
              <a:cs typeface="Open Sans"/>
            </a:endParaRPr>
          </a:p>
        </p:txBody>
      </p:sp>
      <p:sp>
        <p:nvSpPr>
          <p:cNvPr id="75" name="Espaço Reservado para Texto 74">
            <a:extLst>
              <a:ext uri="{FF2B5EF4-FFF2-40B4-BE49-F238E27FC236}">
                <a16:creationId xmlns:a16="http://schemas.microsoft.com/office/drawing/2014/main" id="{5A6C8C29-5093-B498-9210-6851DDE410A8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5105152" y="5356225"/>
            <a:ext cx="2516187" cy="625475"/>
          </a:xfr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pt-BR" b="1" dirty="0"/>
              <a:t>Outros</a:t>
            </a:r>
            <a:endParaRPr lang="en-US" b="1" dirty="0">
              <a:solidFill>
                <a:srgbClr val="000000"/>
              </a:solidFill>
              <a:ea typeface="Open Sans"/>
              <a:cs typeface="Open Sans"/>
            </a:endParaRPr>
          </a:p>
          <a:p>
            <a:endParaRPr lang="pt-BR" dirty="0">
              <a:ea typeface="Open Sans"/>
              <a:cs typeface="Open Sans"/>
            </a:endParaRPr>
          </a:p>
        </p:txBody>
      </p:sp>
      <p:sp>
        <p:nvSpPr>
          <p:cNvPr id="76" name="Espaço Reservado para Texto 75">
            <a:extLst>
              <a:ext uri="{FF2B5EF4-FFF2-40B4-BE49-F238E27FC236}">
                <a16:creationId xmlns:a16="http://schemas.microsoft.com/office/drawing/2014/main" id="{AD4B5EF6-9460-BE49-D301-3C41A5AF3D58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8806724" y="2699206"/>
            <a:ext cx="2516187" cy="625475"/>
          </a:xfr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pt-BR" dirty="0"/>
              <a:t>-</a:t>
            </a:r>
            <a:endParaRPr lang="en-US" dirty="0">
              <a:solidFill>
                <a:srgbClr val="000000"/>
              </a:solidFill>
              <a:ea typeface="Open Sans"/>
              <a:cs typeface="Open Sans"/>
            </a:endParaRPr>
          </a:p>
          <a:p>
            <a:pPr>
              <a:buClrTx/>
            </a:pPr>
            <a:endParaRPr lang="en-US" dirty="0">
              <a:ea typeface="Open Sans"/>
              <a:cs typeface="Open Sans"/>
            </a:endParaRPr>
          </a:p>
        </p:txBody>
      </p:sp>
      <p:sp>
        <p:nvSpPr>
          <p:cNvPr id="15" name="Espaço Reservado para Texto 67">
            <a:extLst>
              <a:ext uri="{FF2B5EF4-FFF2-40B4-BE49-F238E27FC236}">
                <a16:creationId xmlns:a16="http://schemas.microsoft.com/office/drawing/2014/main" id="{F9074E72-29D6-41B3-7617-542427E7698B}"/>
              </a:ext>
            </a:extLst>
          </p:cNvPr>
          <p:cNvSpPr txBox="1">
            <a:spLocks/>
          </p:cNvSpPr>
          <p:nvPr/>
        </p:nvSpPr>
        <p:spPr>
          <a:xfrm>
            <a:off x="8247924" y="3653602"/>
            <a:ext cx="654050" cy="65619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110000"/>
              </a:lnSpc>
              <a:spcBef>
                <a:spcPts val="2000"/>
              </a:spcBef>
              <a:spcAft>
                <a:spcPts val="500"/>
              </a:spcAft>
              <a:buFont typeface="Arial" panose="020B0604020202020204" pitchFamily="34" charset="0"/>
              <a:buNone/>
              <a:defRPr sz="3600" b="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285750" indent="-28575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sz="360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2pPr>
            <a:lvl3pPr marL="936000" indent="288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lang="pt-BR" sz="360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360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Tx/>
            </a:pPr>
            <a:r>
              <a:rPr lang="pt-BR"/>
              <a:t>6</a:t>
            </a:r>
          </a:p>
        </p:txBody>
      </p:sp>
      <p:sp>
        <p:nvSpPr>
          <p:cNvPr id="16" name="Espaço Reservado para Texto 75">
            <a:extLst>
              <a:ext uri="{FF2B5EF4-FFF2-40B4-BE49-F238E27FC236}">
                <a16:creationId xmlns:a16="http://schemas.microsoft.com/office/drawing/2014/main" id="{9BD7A5BF-ED3D-4CEE-B20F-EEB40D3B556A}"/>
              </a:ext>
            </a:extLst>
          </p:cNvPr>
          <p:cNvSpPr txBox="1">
            <a:spLocks/>
          </p:cNvSpPr>
          <p:nvPr/>
        </p:nvSpPr>
        <p:spPr>
          <a:xfrm>
            <a:off x="8806724" y="3686671"/>
            <a:ext cx="2516187" cy="625475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0" indent="0" algn="l" defTabSz="914400" rtl="0" eaLnBrk="1" latinLnBrk="0" hangingPunct="1">
              <a:lnSpc>
                <a:spcPct val="130000"/>
              </a:lnSpc>
              <a:spcBef>
                <a:spcPts val="2000"/>
              </a:spcBef>
              <a:spcAft>
                <a:spcPts val="500"/>
              </a:spcAft>
              <a:buFont typeface="Arial" panose="020B0604020202020204" pitchFamily="34" charset="0"/>
              <a:buNone/>
              <a:defRPr sz="14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285750" indent="-285750" algn="l" defTabSz="914400" rtl="0" eaLnBrk="1" latinLnBrk="0" hangingPunct="1">
              <a:lnSpc>
                <a:spcPct val="13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sz="13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936000" indent="288000" algn="l" defTabSz="914400" rtl="0" eaLnBrk="1" latinLnBrk="0" hangingPunct="1">
              <a:lnSpc>
                <a:spcPct val="13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lang="pt-BR" sz="13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13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3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130000"/>
              </a:lnSpc>
              <a:spcBef>
                <a:spcPts val="500"/>
              </a:spcBef>
              <a:buFont typeface="Arial" panose="020B0604020202020204" pitchFamily="34" charset="0"/>
              <a:buNone/>
              <a:defRPr sz="13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dirty="0"/>
              <a:t>-</a:t>
            </a:r>
            <a:endParaRPr lang="en-US" dirty="0">
              <a:solidFill>
                <a:srgbClr val="000000"/>
              </a:solidFill>
              <a:ea typeface="Open Sans"/>
              <a:cs typeface="Open Sans"/>
            </a:endParaRPr>
          </a:p>
          <a:p>
            <a:pPr>
              <a:buClrTx/>
            </a:pPr>
            <a:endParaRPr lang="en-US" dirty="0">
              <a:ea typeface="Open Sans"/>
              <a:cs typeface="Open Sans"/>
            </a:endParaRPr>
          </a:p>
        </p:txBody>
      </p:sp>
      <p:sp>
        <p:nvSpPr>
          <p:cNvPr id="17" name="Espaço Reservado para Texto 67">
            <a:extLst>
              <a:ext uri="{FF2B5EF4-FFF2-40B4-BE49-F238E27FC236}">
                <a16:creationId xmlns:a16="http://schemas.microsoft.com/office/drawing/2014/main" id="{E29ABF33-3183-8688-B6AD-56D6FADDA682}"/>
              </a:ext>
            </a:extLst>
          </p:cNvPr>
          <p:cNvSpPr txBox="1">
            <a:spLocks/>
          </p:cNvSpPr>
          <p:nvPr/>
        </p:nvSpPr>
        <p:spPr>
          <a:xfrm>
            <a:off x="8247924" y="4418503"/>
            <a:ext cx="654050" cy="65619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110000"/>
              </a:lnSpc>
              <a:spcBef>
                <a:spcPts val="2000"/>
              </a:spcBef>
              <a:spcAft>
                <a:spcPts val="500"/>
              </a:spcAft>
              <a:buFont typeface="Arial" panose="020B0604020202020204" pitchFamily="34" charset="0"/>
              <a:buNone/>
              <a:defRPr sz="3600" b="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285750" indent="-28575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sz="360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2pPr>
            <a:lvl3pPr marL="936000" indent="288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lang="pt-BR" sz="360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360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Tx/>
            </a:pPr>
            <a:r>
              <a:rPr lang="pt-BR"/>
              <a:t>7</a:t>
            </a:r>
          </a:p>
        </p:txBody>
      </p:sp>
      <p:sp>
        <p:nvSpPr>
          <p:cNvPr id="3" name="CaixaDeTexto 2">
            <a:extLst>
              <a:ext uri="{FF2B5EF4-FFF2-40B4-BE49-F238E27FC236}">
                <a16:creationId xmlns:a16="http://schemas.microsoft.com/office/drawing/2014/main" id="{B80AF91B-9B9A-A6A7-9449-9B2B2A5D124B}"/>
              </a:ext>
            </a:extLst>
          </p:cNvPr>
          <p:cNvSpPr txBox="1"/>
          <p:nvPr/>
        </p:nvSpPr>
        <p:spPr>
          <a:xfrm>
            <a:off x="8811491" y="4585855"/>
            <a:ext cx="2743200" cy="30777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pt-BR" dirty="0"/>
              <a:t>-</a:t>
            </a:r>
            <a:endParaRPr lang="en-US" dirty="0">
              <a:ea typeface="Open Sans"/>
              <a:cs typeface="Open Sans"/>
            </a:endParaRPr>
          </a:p>
        </p:txBody>
      </p:sp>
    </p:spTree>
    <p:extLst>
      <p:ext uri="{BB962C8B-B14F-4D97-AF65-F5344CB8AC3E}">
        <p14:creationId xmlns:p14="http://schemas.microsoft.com/office/powerpoint/2010/main" val="229230298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AAECAFB-F7D0-C5FF-2EAB-B1189949566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think-cell data - do not delete" hidden="1">
            <a:extLst>
              <a:ext uri="{FF2B5EF4-FFF2-40B4-BE49-F238E27FC236}">
                <a16:creationId xmlns:a16="http://schemas.microsoft.com/office/drawing/2014/main" id="{AFE89D3A-E028-FA20-3F2C-8C8C0389A88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4" imgW="425" imgH="424" progId="TCLayout.ActiveDocument.1">
                  <p:embed/>
                </p:oleObj>
              </mc:Choice>
              <mc:Fallback>
                <p:oleObj name="Slide do think-cell" r:id="rId4" imgW="425" imgH="424" progId="TCLayout.ActiveDocument.1">
                  <p:embed/>
                  <p:pic>
                    <p:nvPicPr>
                      <p:cNvPr id="2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FE89D3A-E028-FA20-3F2C-8C8C0389A8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ítulo 2">
            <a:extLst>
              <a:ext uri="{FF2B5EF4-FFF2-40B4-BE49-F238E27FC236}">
                <a16:creationId xmlns:a16="http://schemas.microsoft.com/office/drawing/2014/main" id="{5190BCAC-E149-2D1F-2228-EDE4D17CD904}"/>
              </a:ext>
            </a:extLst>
          </p:cNvPr>
          <p:cNvSpPr txBox="1">
            <a:spLocks/>
          </p:cNvSpPr>
          <p:nvPr/>
        </p:nvSpPr>
        <p:spPr>
          <a:xfrm>
            <a:off x="411279" y="522581"/>
            <a:ext cx="9667218" cy="47619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 spc="-4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buClrTx/>
              <a:buFontTx/>
              <a:defRPr/>
            </a:pPr>
            <a:r>
              <a:rPr lang="pt-BR" sz="2400" dirty="0">
                <a:solidFill>
                  <a:srgbClr val="2D3D70"/>
                </a:solidFill>
                <a:latin typeface="Montserrat"/>
              </a:rPr>
              <a:t>GESTÃO DE CONTRATADAS </a:t>
            </a:r>
          </a:p>
          <a:p>
            <a:pPr>
              <a:buClrTx/>
              <a:buFontTx/>
              <a:defRPr/>
            </a:pPr>
            <a:r>
              <a:rPr lang="pt-BR" sz="2400" dirty="0">
                <a:solidFill>
                  <a:srgbClr val="F4614D"/>
                </a:solidFill>
                <a:latin typeface="Montserrat"/>
                <a:sym typeface="Arial"/>
              </a:rPr>
              <a:t>OUTROS</a:t>
            </a:r>
          </a:p>
        </p:txBody>
      </p:sp>
      <p:sp>
        <p:nvSpPr>
          <p:cNvPr id="10" name="Espaço Reservado para Texto 61">
            <a:extLst>
              <a:ext uri="{FF2B5EF4-FFF2-40B4-BE49-F238E27FC236}">
                <a16:creationId xmlns:a16="http://schemas.microsoft.com/office/drawing/2014/main" id="{C5D645A5-1654-B05A-32C7-D7045B15795F}"/>
              </a:ext>
            </a:extLst>
          </p:cNvPr>
          <p:cNvSpPr txBox="1">
            <a:spLocks/>
          </p:cNvSpPr>
          <p:nvPr/>
        </p:nvSpPr>
        <p:spPr>
          <a:xfrm>
            <a:off x="411279" y="278512"/>
            <a:ext cx="4984686" cy="354597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2000"/>
              </a:spcBef>
              <a:spcAft>
                <a:spcPts val="500"/>
              </a:spcAft>
              <a:buFont typeface="Arial" panose="020B0604020202020204" pitchFamily="34" charset="0"/>
              <a:buNone/>
              <a:defRPr sz="17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285750" indent="-28575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6000" indent="288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lang="pt-BR" sz="16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145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buClrTx/>
              <a:defRPr/>
            </a:pPr>
            <a:r>
              <a:rPr lang="pt-BR" sz="1050" b="0" dirty="0">
                <a:solidFill>
                  <a:srgbClr val="666666"/>
                </a:solidFill>
                <a:latin typeface="Open Sans (Corpo)"/>
              </a:rPr>
              <a:t>SSMAC| ALMAS</a:t>
            </a:r>
          </a:p>
        </p:txBody>
      </p:sp>
      <p:sp>
        <p:nvSpPr>
          <p:cNvPr id="1099" name="Retângulo 1098">
            <a:extLst>
              <a:ext uri="{FF2B5EF4-FFF2-40B4-BE49-F238E27FC236}">
                <a16:creationId xmlns:a16="http://schemas.microsoft.com/office/drawing/2014/main" id="{0EDBB89C-05E6-A2C3-254C-75A9636EA511}"/>
              </a:ext>
            </a:extLst>
          </p:cNvPr>
          <p:cNvSpPr/>
          <p:nvPr/>
        </p:nvSpPr>
        <p:spPr>
          <a:xfrm>
            <a:off x="7859214" y="1123816"/>
            <a:ext cx="1173892" cy="170661"/>
          </a:xfrm>
          <a:prstGeom prst="rect">
            <a:avLst/>
          </a:prstGeom>
          <a:solidFill>
            <a:srgbClr val="F3F5F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2" name="Retângulo: Cantos Arredondados 1">
            <a:extLst>
              <a:ext uri="{FF2B5EF4-FFF2-40B4-BE49-F238E27FC236}">
                <a16:creationId xmlns:a16="http://schemas.microsoft.com/office/drawing/2014/main" id="{3CCC2445-9927-FC46-31A0-4E2B08137B02}"/>
              </a:ext>
            </a:extLst>
          </p:cNvPr>
          <p:cNvSpPr/>
          <p:nvPr/>
        </p:nvSpPr>
        <p:spPr>
          <a:xfrm>
            <a:off x="8665535" y="1204914"/>
            <a:ext cx="3077827" cy="5316407"/>
          </a:xfrm>
          <a:prstGeom prst="roundRect">
            <a:avLst>
              <a:gd name="adj" fmla="val 3200"/>
            </a:avLst>
          </a:prstGeom>
          <a:noFill/>
          <a:ln w="6350">
            <a:solidFill>
              <a:srgbClr val="C44B38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Retângulo 2">
            <a:extLst>
              <a:ext uri="{FF2B5EF4-FFF2-40B4-BE49-F238E27FC236}">
                <a16:creationId xmlns:a16="http://schemas.microsoft.com/office/drawing/2014/main" id="{DC3D8B23-55E3-DBBB-98C0-A44D928857F5}"/>
              </a:ext>
            </a:extLst>
          </p:cNvPr>
          <p:cNvSpPr/>
          <p:nvPr/>
        </p:nvSpPr>
        <p:spPr>
          <a:xfrm>
            <a:off x="9017116" y="1031721"/>
            <a:ext cx="1173892" cy="321012"/>
          </a:xfrm>
          <a:prstGeom prst="rect">
            <a:avLst/>
          </a:prstGeom>
          <a:solidFill>
            <a:srgbClr val="F3F5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1100" b="1" dirty="0">
                <a:solidFill>
                  <a:srgbClr val="C44B38"/>
                </a:solidFill>
                <a:latin typeface="Open Sans (Corpo)"/>
              </a:rPr>
              <a:t>Comentários</a:t>
            </a:r>
            <a:endParaRPr lang="pt-BR" sz="1000" dirty="0">
              <a:solidFill>
                <a:srgbClr val="C44B38"/>
              </a:solidFill>
              <a:latin typeface="Open Sans (Corpo)"/>
            </a:endParaRPr>
          </a:p>
        </p:txBody>
      </p:sp>
      <p:sp>
        <p:nvSpPr>
          <p:cNvPr id="4" name="Retângulo 3">
            <a:extLst>
              <a:ext uri="{FF2B5EF4-FFF2-40B4-BE49-F238E27FC236}">
                <a16:creationId xmlns:a16="http://schemas.microsoft.com/office/drawing/2014/main" id="{48CE0595-4D31-8DA1-55AE-1C1DEA2FCE81}"/>
              </a:ext>
            </a:extLst>
          </p:cNvPr>
          <p:cNvSpPr/>
          <p:nvPr/>
        </p:nvSpPr>
        <p:spPr>
          <a:xfrm>
            <a:off x="8707438" y="1353067"/>
            <a:ext cx="2971501" cy="518056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>
              <a:spcAft>
                <a:spcPts val="300"/>
              </a:spcAft>
            </a:pPr>
            <a:r>
              <a:rPr kumimoji="0" lang="pt-BR" sz="900" b="1" i="0" u="none" strike="noStrike" kern="1200" cap="none" spc="0" normalizeH="0" baseline="0" noProof="0" dirty="0" err="1">
                <a:ln>
                  <a:noFill/>
                </a:ln>
                <a:solidFill>
                  <a:srgbClr val="2D3D70"/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Arial"/>
              </a:rPr>
              <a:t>xxxxxxxxxxxxxxx</a:t>
            </a:r>
            <a:endParaRPr kumimoji="0" lang="pt-BR" sz="900" b="1" i="0" u="none" strike="noStrike" kern="1200" cap="none" spc="0" normalizeH="0" baseline="0" noProof="0" dirty="0">
              <a:ln>
                <a:noFill/>
              </a:ln>
              <a:solidFill>
                <a:srgbClr val="2D3D70"/>
              </a:solidFill>
              <a:effectLst/>
              <a:uLnTx/>
              <a:uFillTx/>
              <a:latin typeface="Open Sans"/>
              <a:ea typeface="Open Sans"/>
              <a:cs typeface="Open Sans"/>
              <a:sym typeface="Arial"/>
            </a:endParaRPr>
          </a:p>
          <a:p>
            <a:pPr marL="0" lvl="1" algn="ctr">
              <a:spcAft>
                <a:spcPts val="300"/>
              </a:spcAft>
            </a:pPr>
            <a:endParaRPr lang="pt-BR" sz="900" b="1" dirty="0">
              <a:solidFill>
                <a:srgbClr val="2D3D70"/>
              </a:solidFill>
              <a:latin typeface="Open Sans"/>
              <a:ea typeface="Open Sans"/>
              <a:cs typeface="Open Sans"/>
            </a:endParaRPr>
          </a:p>
          <a:p>
            <a:pPr marL="0" lvl="1" algn="ctr">
              <a:spcAft>
                <a:spcPts val="300"/>
              </a:spcAft>
            </a:pPr>
            <a:r>
              <a:rPr lang="pt-BR" sz="900" dirty="0" err="1">
                <a:solidFill>
                  <a:srgbClr val="2D3D70"/>
                </a:solidFill>
                <a:latin typeface="Open Sans"/>
                <a:ea typeface="Open Sans"/>
                <a:cs typeface="Open Sans"/>
              </a:rPr>
              <a:t>xxxxxxxxxxxxxxxxxxx</a:t>
            </a:r>
            <a:endParaRPr lang="pt-BR" sz="900" dirty="0">
              <a:solidFill>
                <a:srgbClr val="2D3D70"/>
              </a:solidFill>
              <a:latin typeface="Open Sans"/>
              <a:ea typeface="Open Sans"/>
              <a:cs typeface="Open Sans"/>
            </a:endParaRPr>
          </a:p>
          <a:p>
            <a:pPr marL="0" lvl="1" algn="ctr">
              <a:spcAft>
                <a:spcPts val="300"/>
              </a:spcAft>
            </a:pPr>
            <a:endParaRPr lang="pt-BR" sz="900" dirty="0">
              <a:solidFill>
                <a:srgbClr val="2D3D70"/>
              </a:solidFill>
              <a:latin typeface="Open Sans"/>
              <a:ea typeface="Open Sans"/>
              <a:cs typeface="Open Sans"/>
            </a:endParaRPr>
          </a:p>
          <a:p>
            <a:pPr marL="0" lvl="1" algn="ctr">
              <a:spcAft>
                <a:spcPts val="300"/>
              </a:spcAft>
            </a:pPr>
            <a:r>
              <a:rPr lang="pt-BR" sz="900" dirty="0">
                <a:solidFill>
                  <a:srgbClr val="2D3D70"/>
                </a:solidFill>
                <a:latin typeface="Open Sans"/>
                <a:ea typeface="Open Sans"/>
                <a:cs typeface="Open Sans"/>
              </a:rPr>
              <a:t> </a:t>
            </a:r>
          </a:p>
          <a:p>
            <a:pPr marL="0" lvl="1">
              <a:spcAft>
                <a:spcPts val="300"/>
              </a:spcAft>
            </a:pPr>
            <a:r>
              <a:rPr kumimoji="0" lang="pt-BR" sz="900" b="1" i="0" u="none" strike="noStrike" kern="1200" cap="none" spc="0" normalizeH="0" baseline="0" noProof="0" dirty="0">
                <a:ln>
                  <a:noFill/>
                </a:ln>
                <a:solidFill>
                  <a:srgbClr val="2D3D70"/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Arial"/>
              </a:rPr>
              <a:t>  </a:t>
            </a:r>
          </a:p>
          <a:p>
            <a:pPr marL="171450" lvl="1" indent="-171450">
              <a:spcAft>
                <a:spcPts val="300"/>
              </a:spcAft>
              <a:buFont typeface="Arial" panose="020B0604020202020204" pitchFamily="34" charset="0"/>
              <a:buChar char="•"/>
            </a:pPr>
            <a:endParaRPr lang="pt-BR" sz="900" dirty="0">
              <a:solidFill>
                <a:srgbClr val="2D3D70"/>
              </a:solidFill>
              <a:latin typeface="Open Sans"/>
              <a:ea typeface="Open Sans"/>
              <a:cs typeface="Open Sans"/>
            </a:endParaRPr>
          </a:p>
          <a:p>
            <a:pPr marL="171450" lvl="1" indent="-171450">
              <a:spcAft>
                <a:spcPts val="300"/>
              </a:spcAft>
              <a:buFont typeface="Arial" panose="020B0604020202020204" pitchFamily="34" charset="0"/>
              <a:buChar char="•"/>
            </a:pPr>
            <a:endParaRPr lang="pt-BR" sz="900" dirty="0">
              <a:solidFill>
                <a:srgbClr val="2D3D70"/>
              </a:solidFill>
              <a:latin typeface="Open Sans"/>
              <a:ea typeface="Open Sans"/>
              <a:cs typeface="Open Sans"/>
            </a:endParaRPr>
          </a:p>
          <a:p>
            <a:pPr marL="171450" lvl="1" indent="-171450">
              <a:spcAft>
                <a:spcPts val="300"/>
              </a:spcAft>
              <a:buFont typeface="Arial" panose="020B0604020202020204" pitchFamily="34" charset="0"/>
              <a:buChar char="•"/>
            </a:pPr>
            <a:endParaRPr lang="pt-BR" sz="900" dirty="0">
              <a:solidFill>
                <a:srgbClr val="2D3D70"/>
              </a:solidFill>
              <a:latin typeface="Open Sans"/>
              <a:ea typeface="Open Sans"/>
              <a:cs typeface="Open Sans"/>
            </a:endParaRPr>
          </a:p>
          <a:p>
            <a:pPr marL="171450" lvl="1" indent="-171450">
              <a:spcAft>
                <a:spcPts val="300"/>
              </a:spcAft>
              <a:buFont typeface="Arial" panose="020B0604020202020204" pitchFamily="34" charset="0"/>
              <a:buChar char="•"/>
            </a:pPr>
            <a:endParaRPr kumimoji="0" lang="pt-BR" sz="900" i="0" u="none" strike="noStrike" kern="1200" cap="none" spc="0" normalizeH="0" baseline="0" noProof="0" dirty="0">
              <a:ln>
                <a:noFill/>
              </a:ln>
              <a:solidFill>
                <a:srgbClr val="2D3D70"/>
              </a:solidFill>
              <a:effectLst/>
              <a:uLnTx/>
              <a:uFillTx/>
              <a:latin typeface="Open Sans"/>
              <a:ea typeface="Open Sans"/>
              <a:cs typeface="Open Sans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82312532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F0E39C3-A34F-0BDF-FED6-56257E247B4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4C96792C-956C-4CD8-7249-CCA4DA6902A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3" imgW="425" imgH="424" progId="TCLayout.ActiveDocument.1">
                  <p:embed/>
                </p:oleObj>
              </mc:Choice>
              <mc:Fallback>
                <p:oleObj name="Slide do think-cell" r:id="rId3" imgW="425" imgH="424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C96792C-956C-4CD8-7249-CCA4DA6902A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tângulo 6">
            <a:extLst>
              <a:ext uri="{FF2B5EF4-FFF2-40B4-BE49-F238E27FC236}">
                <a16:creationId xmlns:a16="http://schemas.microsoft.com/office/drawing/2014/main" id="{B285C5FC-B22D-527D-A09D-6152BD481709}"/>
              </a:ext>
            </a:extLst>
          </p:cNvPr>
          <p:cNvSpPr/>
          <p:nvPr/>
        </p:nvSpPr>
        <p:spPr>
          <a:xfrm>
            <a:off x="3225521" y="1115367"/>
            <a:ext cx="2270927" cy="1657978"/>
          </a:xfrm>
          <a:prstGeom prst="rect">
            <a:avLst/>
          </a:prstGeom>
          <a:solidFill>
            <a:srgbClr val="2D3D7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pt-BR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en Sans"/>
              <a:ea typeface="+mn-ea"/>
              <a:cs typeface="+mn-cs"/>
              <a:sym typeface="Arial"/>
            </a:endParaRPr>
          </a:p>
        </p:txBody>
      </p:sp>
      <p:sp>
        <p:nvSpPr>
          <p:cNvPr id="8" name="Retângulo 7">
            <a:extLst>
              <a:ext uri="{FF2B5EF4-FFF2-40B4-BE49-F238E27FC236}">
                <a16:creationId xmlns:a16="http://schemas.microsoft.com/office/drawing/2014/main" id="{30044FCE-B7E6-C1B1-FC12-F74B75E189A4}"/>
              </a:ext>
            </a:extLst>
          </p:cNvPr>
          <p:cNvSpPr/>
          <p:nvPr/>
        </p:nvSpPr>
        <p:spPr>
          <a:xfrm>
            <a:off x="3136760" y="4913644"/>
            <a:ext cx="2270927" cy="1657978"/>
          </a:xfrm>
          <a:prstGeom prst="rect">
            <a:avLst/>
          </a:prstGeom>
          <a:solidFill>
            <a:srgbClr val="2D3D7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pt-BR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en Sans"/>
              <a:ea typeface="+mn-ea"/>
              <a:cs typeface="+mn-cs"/>
              <a:sym typeface="Arial"/>
            </a:endParaRPr>
          </a:p>
        </p:txBody>
      </p:sp>
      <p:pic>
        <p:nvPicPr>
          <p:cNvPr id="10" name="Imagem 9" descr="Logotipo, nome da empresa&#10;&#10;Descrição gerada automaticamente">
            <a:extLst>
              <a:ext uri="{FF2B5EF4-FFF2-40B4-BE49-F238E27FC236}">
                <a16:creationId xmlns:a16="http://schemas.microsoft.com/office/drawing/2014/main" id="{13D47A18-68EF-AFF4-D66A-BD15AFE9BB9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553577" y="2317307"/>
            <a:ext cx="3788083" cy="2223385"/>
          </a:xfrm>
          <a:prstGeom prst="rect">
            <a:avLst/>
          </a:prstGeom>
        </p:spPr>
      </p:pic>
      <p:pic>
        <p:nvPicPr>
          <p:cNvPr id="16" name="Gráfico 15">
            <a:extLst>
              <a:ext uri="{FF2B5EF4-FFF2-40B4-BE49-F238E27FC236}">
                <a16:creationId xmlns:a16="http://schemas.microsoft.com/office/drawing/2014/main" id="{2033ED27-72B7-50E5-D994-CB251258313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680864" y="6346864"/>
            <a:ext cx="1022272" cy="1022272"/>
          </a:xfrm>
          <a:prstGeom prst="rect">
            <a:avLst/>
          </a:prstGeom>
        </p:spPr>
      </p:pic>
      <p:sp>
        <p:nvSpPr>
          <p:cNvPr id="2" name="Rectangle 35">
            <a:extLst>
              <a:ext uri="{FF2B5EF4-FFF2-40B4-BE49-F238E27FC236}">
                <a16:creationId xmlns:a16="http://schemas.microsoft.com/office/drawing/2014/main" id="{A714AFB6-8B1C-E1F0-ED77-EA5DE13EEA48}"/>
              </a:ext>
            </a:extLst>
          </p:cNvPr>
          <p:cNvSpPr/>
          <p:nvPr/>
        </p:nvSpPr>
        <p:spPr>
          <a:xfrm>
            <a:off x="5112721" y="6144614"/>
            <a:ext cx="3108959" cy="230832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anose="00000500000000000000" pitchFamily="50" charset="0"/>
                <a:ea typeface="+mn-ea"/>
                <a:cs typeface="+mn-cs"/>
                <a:sym typeface="Arial"/>
              </a:rPr>
              <a:t>www.auraminerals.com</a:t>
            </a:r>
          </a:p>
        </p:txBody>
      </p:sp>
      <p:pic>
        <p:nvPicPr>
          <p:cNvPr id="3" name="Imagem 2">
            <a:extLst>
              <a:ext uri="{FF2B5EF4-FFF2-40B4-BE49-F238E27FC236}">
                <a16:creationId xmlns:a16="http://schemas.microsoft.com/office/drawing/2014/main" id="{FE7FA8B1-C022-9DAF-09E3-8B4F72FB4332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80970" y="5680830"/>
            <a:ext cx="463078" cy="4630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671323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m 2" descr="Texto&#10;&#10;Descrição gerada automaticamente com confiança baixa">
            <a:extLst>
              <a:ext uri="{FF2B5EF4-FFF2-40B4-BE49-F238E27FC236}">
                <a16:creationId xmlns:a16="http://schemas.microsoft.com/office/drawing/2014/main" id="{6244C5BE-4DFD-F46A-D026-70B84E8A295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217818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1F59B32-3BA0-EE66-9A75-C0CFFAC3292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68E68EBA-D4DB-F7BC-E284-C33B158B701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4" imgW="425" imgH="424" progId="TCLayout.ActiveDocument.1">
                  <p:embed/>
                </p:oleObj>
              </mc:Choice>
              <mc:Fallback>
                <p:oleObj name="Slide do think-cell" r:id="rId4" imgW="425" imgH="42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8E68EBA-D4DB-F7BC-E284-C33B158B70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tângulo 6" hidden="1">
            <a:extLst>
              <a:ext uri="{FF2B5EF4-FFF2-40B4-BE49-F238E27FC236}">
                <a16:creationId xmlns:a16="http://schemas.microsoft.com/office/drawing/2014/main" id="{91C56949-F20F-73FA-5C03-9C4B3C99CC3A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pt-BR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en Sans"/>
              <a:ea typeface="+mn-ea"/>
              <a:cs typeface="+mn-cs"/>
              <a:sym typeface="Arial"/>
            </a:endParaRPr>
          </a:p>
        </p:txBody>
      </p:sp>
      <p:sp>
        <p:nvSpPr>
          <p:cNvPr id="61" name="Título 60">
            <a:extLst>
              <a:ext uri="{FF2B5EF4-FFF2-40B4-BE49-F238E27FC236}">
                <a16:creationId xmlns:a16="http://schemas.microsoft.com/office/drawing/2014/main" id="{AB5F6A21-BDED-2C58-EAD3-99F55F1224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70391" y="1668084"/>
            <a:ext cx="6677960" cy="1281113"/>
          </a:xfrm>
        </p:spPr>
        <p:txBody>
          <a:bodyPr vert="horz">
            <a:noAutofit/>
          </a:bodyPr>
          <a:lstStyle/>
          <a:p>
            <a:r>
              <a:rPr lang="pt-BR" sz="2000" dirty="0">
                <a:solidFill>
                  <a:srgbClr val="F4614D"/>
                </a:solidFill>
              </a:rPr>
              <a:t>Reunião mensal</a:t>
            </a:r>
            <a:br>
              <a:rPr lang="pt-BR" sz="2000" dirty="0">
                <a:solidFill>
                  <a:srgbClr val="FF0000"/>
                </a:solidFill>
              </a:rPr>
            </a:br>
            <a:br>
              <a:rPr lang="pt-BR" sz="800" dirty="0">
                <a:solidFill>
                  <a:srgbClr val="FF0000"/>
                </a:solidFill>
              </a:rPr>
            </a:br>
            <a:r>
              <a:rPr lang="pt-BR" sz="1800" dirty="0">
                <a:solidFill>
                  <a:srgbClr val="2D3D70"/>
                </a:solidFill>
              </a:rPr>
              <a:t>GESTÃO DE CONTRATADAS </a:t>
            </a:r>
            <a:endParaRPr lang="pt-BR" sz="2000" dirty="0"/>
          </a:p>
        </p:txBody>
      </p:sp>
      <p:sp>
        <p:nvSpPr>
          <p:cNvPr id="62" name="Espaço Reservado para Texto 61">
            <a:extLst>
              <a:ext uri="{FF2B5EF4-FFF2-40B4-BE49-F238E27FC236}">
                <a16:creationId xmlns:a16="http://schemas.microsoft.com/office/drawing/2014/main" id="{E7E7B24E-BF75-EBFC-E365-A5A3FEF465F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pt-BR"/>
              <a:t>Pautas</a:t>
            </a:r>
          </a:p>
        </p:txBody>
      </p:sp>
      <p:sp>
        <p:nvSpPr>
          <p:cNvPr id="63" name="Espaço Reservado para Texto 62">
            <a:extLst>
              <a:ext uri="{FF2B5EF4-FFF2-40B4-BE49-F238E27FC236}">
                <a16:creationId xmlns:a16="http://schemas.microsoft.com/office/drawing/2014/main" id="{2E2F8FA3-54B6-5FFB-4519-B23F2E4851A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546352" y="2624481"/>
            <a:ext cx="654050" cy="656199"/>
          </a:xfrm>
        </p:spPr>
        <p:txBody>
          <a:bodyPr/>
          <a:lstStyle/>
          <a:p>
            <a:r>
              <a:rPr lang="pt-BR"/>
              <a:t>1</a:t>
            </a:r>
          </a:p>
        </p:txBody>
      </p:sp>
      <p:sp>
        <p:nvSpPr>
          <p:cNvPr id="64" name="Espaço Reservado para Texto 63">
            <a:extLst>
              <a:ext uri="{FF2B5EF4-FFF2-40B4-BE49-F238E27FC236}">
                <a16:creationId xmlns:a16="http://schemas.microsoft.com/office/drawing/2014/main" id="{982BFF59-6D97-D5B5-0BFE-84F751A4355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546352" y="3603859"/>
            <a:ext cx="654050" cy="656199"/>
          </a:xfrm>
        </p:spPr>
        <p:txBody>
          <a:bodyPr/>
          <a:lstStyle/>
          <a:p>
            <a:r>
              <a:rPr lang="pt-BR"/>
              <a:t>2</a:t>
            </a:r>
          </a:p>
        </p:txBody>
      </p:sp>
      <p:sp>
        <p:nvSpPr>
          <p:cNvPr id="65" name="Espaço Reservado para Texto 64">
            <a:extLst>
              <a:ext uri="{FF2B5EF4-FFF2-40B4-BE49-F238E27FC236}">
                <a16:creationId xmlns:a16="http://schemas.microsoft.com/office/drawing/2014/main" id="{6683992B-DBDA-86C0-188A-8167B7F645C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546352" y="4565200"/>
            <a:ext cx="654050" cy="656199"/>
          </a:xfrm>
        </p:spPr>
        <p:txBody>
          <a:bodyPr/>
          <a:lstStyle/>
          <a:p>
            <a:r>
              <a:rPr lang="pt-BR"/>
              <a:t>3</a:t>
            </a:r>
          </a:p>
        </p:txBody>
      </p:sp>
      <p:sp>
        <p:nvSpPr>
          <p:cNvPr id="67" name="Espaço Reservado para Texto 66">
            <a:extLst>
              <a:ext uri="{FF2B5EF4-FFF2-40B4-BE49-F238E27FC236}">
                <a16:creationId xmlns:a16="http://schemas.microsoft.com/office/drawing/2014/main" id="{07ADE87C-8E35-F44F-CB0F-3DF0228ED3C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546352" y="5315668"/>
            <a:ext cx="654050" cy="656199"/>
          </a:xfrm>
        </p:spPr>
        <p:txBody>
          <a:bodyPr/>
          <a:lstStyle/>
          <a:p>
            <a:r>
              <a:rPr lang="pt-BR"/>
              <a:t>4</a:t>
            </a:r>
          </a:p>
        </p:txBody>
      </p:sp>
      <p:sp>
        <p:nvSpPr>
          <p:cNvPr id="68" name="Espaço Reservado para Texto 67">
            <a:extLst>
              <a:ext uri="{FF2B5EF4-FFF2-40B4-BE49-F238E27FC236}">
                <a16:creationId xmlns:a16="http://schemas.microsoft.com/office/drawing/2014/main" id="{1DE3B861-A779-F63C-425D-81603ECC2390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247924" y="2666137"/>
            <a:ext cx="654050" cy="656199"/>
          </a:xfrm>
        </p:spPr>
        <p:txBody>
          <a:bodyPr/>
          <a:lstStyle/>
          <a:p>
            <a:r>
              <a:rPr lang="pt-BR"/>
              <a:t>5</a:t>
            </a:r>
          </a:p>
        </p:txBody>
      </p:sp>
      <p:sp>
        <p:nvSpPr>
          <p:cNvPr id="71" name="Espaço Reservado para Texto 70">
            <a:extLst>
              <a:ext uri="{FF2B5EF4-FFF2-40B4-BE49-F238E27FC236}">
                <a16:creationId xmlns:a16="http://schemas.microsoft.com/office/drawing/2014/main" id="{35A6ADF1-1A4E-F65E-E7A3-D912ABFB94E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103564" y="2665038"/>
            <a:ext cx="2744787" cy="625475"/>
          </a:xfr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pt-BR" b="1" dirty="0"/>
              <a:t>Indicadores de SSMAC</a:t>
            </a:r>
            <a:endParaRPr lang="pt-BR" b="1" dirty="0">
              <a:solidFill>
                <a:srgbClr val="000000"/>
              </a:solidFill>
              <a:ea typeface="Open Sans"/>
              <a:cs typeface="Open Sans"/>
            </a:endParaRPr>
          </a:p>
          <a:p>
            <a:pPr>
              <a:buClrTx/>
            </a:pPr>
            <a:endParaRPr lang="pt-BR" b="1" dirty="0">
              <a:ea typeface="Open Sans"/>
              <a:cs typeface="Open Sans"/>
            </a:endParaRPr>
          </a:p>
        </p:txBody>
      </p:sp>
      <p:sp>
        <p:nvSpPr>
          <p:cNvPr id="72" name="Espaço Reservado para Texto 71">
            <a:extLst>
              <a:ext uri="{FF2B5EF4-FFF2-40B4-BE49-F238E27FC236}">
                <a16:creationId xmlns:a16="http://schemas.microsoft.com/office/drawing/2014/main" id="{34650754-1DAC-73A6-3DD6-9F7FC4F2BF81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103564" y="3636928"/>
            <a:ext cx="2744787" cy="625475"/>
          </a:xfr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pt-BR" dirty="0"/>
              <a:t>Indicadores de Treinamentos</a:t>
            </a:r>
            <a:endParaRPr lang="pt-BR" dirty="0">
              <a:solidFill>
                <a:srgbClr val="000000"/>
              </a:solidFill>
            </a:endParaRPr>
          </a:p>
          <a:p>
            <a:endParaRPr lang="pt-BR" dirty="0">
              <a:ea typeface="Open Sans"/>
              <a:cs typeface="Open Sans"/>
            </a:endParaRPr>
          </a:p>
        </p:txBody>
      </p:sp>
      <p:sp>
        <p:nvSpPr>
          <p:cNvPr id="73" name="Espaço Reservado para Texto 72">
            <a:extLst>
              <a:ext uri="{FF2B5EF4-FFF2-40B4-BE49-F238E27FC236}">
                <a16:creationId xmlns:a16="http://schemas.microsoft.com/office/drawing/2014/main" id="{E6192410-FFC3-98AA-F3EF-EF783F24C0AF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5103564" y="4591324"/>
            <a:ext cx="3379424" cy="625475"/>
          </a:xfr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pt-BR" dirty="0"/>
              <a:t>Boas Práticas </a:t>
            </a:r>
            <a:endParaRPr lang="en-US" dirty="0">
              <a:solidFill>
                <a:srgbClr val="000000"/>
              </a:solidFill>
              <a:ea typeface="Open Sans"/>
              <a:cs typeface="Open Sans"/>
            </a:endParaRPr>
          </a:p>
          <a:p>
            <a:pPr>
              <a:lnSpc>
                <a:spcPct val="100000"/>
              </a:lnSpc>
              <a:spcAft>
                <a:spcPts val="0"/>
              </a:spcAft>
            </a:pPr>
            <a:endParaRPr lang="pt-BR" dirty="0">
              <a:ea typeface="Open Sans"/>
              <a:cs typeface="Open Sans"/>
            </a:endParaRPr>
          </a:p>
        </p:txBody>
      </p:sp>
      <p:sp>
        <p:nvSpPr>
          <p:cNvPr id="75" name="Espaço Reservado para Texto 74">
            <a:extLst>
              <a:ext uri="{FF2B5EF4-FFF2-40B4-BE49-F238E27FC236}">
                <a16:creationId xmlns:a16="http://schemas.microsoft.com/office/drawing/2014/main" id="{D7D8C698-3E03-6D5E-B1D1-D09745586432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5105152" y="5356225"/>
            <a:ext cx="2516187" cy="625475"/>
          </a:xfr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pt-BR" dirty="0"/>
              <a:t>Outros</a:t>
            </a:r>
            <a:endParaRPr lang="en-US" dirty="0">
              <a:solidFill>
                <a:srgbClr val="000000"/>
              </a:solidFill>
              <a:ea typeface="Open Sans"/>
              <a:cs typeface="Open Sans"/>
            </a:endParaRPr>
          </a:p>
          <a:p>
            <a:endParaRPr lang="pt-BR" dirty="0">
              <a:ea typeface="Open Sans"/>
              <a:cs typeface="Open Sans"/>
            </a:endParaRPr>
          </a:p>
        </p:txBody>
      </p:sp>
      <p:sp>
        <p:nvSpPr>
          <p:cNvPr id="76" name="Espaço Reservado para Texto 75">
            <a:extLst>
              <a:ext uri="{FF2B5EF4-FFF2-40B4-BE49-F238E27FC236}">
                <a16:creationId xmlns:a16="http://schemas.microsoft.com/office/drawing/2014/main" id="{2A847A84-C824-CCF0-2FE4-B6CF5D11FFBF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8806724" y="2699206"/>
            <a:ext cx="2516187" cy="625475"/>
          </a:xfr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pt-BR" dirty="0"/>
              <a:t>-</a:t>
            </a:r>
            <a:endParaRPr lang="en-US" dirty="0">
              <a:solidFill>
                <a:srgbClr val="000000"/>
              </a:solidFill>
              <a:ea typeface="Open Sans"/>
              <a:cs typeface="Open Sans"/>
            </a:endParaRPr>
          </a:p>
          <a:p>
            <a:pPr>
              <a:buClrTx/>
            </a:pPr>
            <a:endParaRPr lang="en-US" dirty="0">
              <a:ea typeface="Open Sans"/>
              <a:cs typeface="Open Sans"/>
            </a:endParaRPr>
          </a:p>
        </p:txBody>
      </p:sp>
      <p:sp>
        <p:nvSpPr>
          <p:cNvPr id="15" name="Espaço Reservado para Texto 67">
            <a:extLst>
              <a:ext uri="{FF2B5EF4-FFF2-40B4-BE49-F238E27FC236}">
                <a16:creationId xmlns:a16="http://schemas.microsoft.com/office/drawing/2014/main" id="{EE6DE6B6-07B9-CA5E-7C74-A2EC22F2269E}"/>
              </a:ext>
            </a:extLst>
          </p:cNvPr>
          <p:cNvSpPr txBox="1">
            <a:spLocks/>
          </p:cNvSpPr>
          <p:nvPr/>
        </p:nvSpPr>
        <p:spPr>
          <a:xfrm>
            <a:off x="8247924" y="3653602"/>
            <a:ext cx="654050" cy="65619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110000"/>
              </a:lnSpc>
              <a:spcBef>
                <a:spcPts val="2000"/>
              </a:spcBef>
              <a:spcAft>
                <a:spcPts val="500"/>
              </a:spcAft>
              <a:buFont typeface="Arial" panose="020B0604020202020204" pitchFamily="34" charset="0"/>
              <a:buNone/>
              <a:defRPr sz="3600" b="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285750" indent="-28575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sz="360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2pPr>
            <a:lvl3pPr marL="936000" indent="288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lang="pt-BR" sz="360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360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Tx/>
            </a:pPr>
            <a:r>
              <a:rPr lang="pt-BR"/>
              <a:t>6</a:t>
            </a:r>
          </a:p>
        </p:txBody>
      </p:sp>
      <p:sp>
        <p:nvSpPr>
          <p:cNvPr id="16" name="Espaço Reservado para Texto 75">
            <a:extLst>
              <a:ext uri="{FF2B5EF4-FFF2-40B4-BE49-F238E27FC236}">
                <a16:creationId xmlns:a16="http://schemas.microsoft.com/office/drawing/2014/main" id="{1EBFF354-709A-5DBA-A7A3-3619343439BA}"/>
              </a:ext>
            </a:extLst>
          </p:cNvPr>
          <p:cNvSpPr txBox="1">
            <a:spLocks/>
          </p:cNvSpPr>
          <p:nvPr/>
        </p:nvSpPr>
        <p:spPr>
          <a:xfrm>
            <a:off x="8806724" y="3686671"/>
            <a:ext cx="2516187" cy="625475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0" indent="0" algn="l" defTabSz="914400" rtl="0" eaLnBrk="1" latinLnBrk="0" hangingPunct="1">
              <a:lnSpc>
                <a:spcPct val="130000"/>
              </a:lnSpc>
              <a:spcBef>
                <a:spcPts val="2000"/>
              </a:spcBef>
              <a:spcAft>
                <a:spcPts val="500"/>
              </a:spcAft>
              <a:buFont typeface="Arial" panose="020B0604020202020204" pitchFamily="34" charset="0"/>
              <a:buNone/>
              <a:defRPr sz="14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285750" indent="-285750" algn="l" defTabSz="914400" rtl="0" eaLnBrk="1" latinLnBrk="0" hangingPunct="1">
              <a:lnSpc>
                <a:spcPct val="13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sz="13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936000" indent="288000" algn="l" defTabSz="914400" rtl="0" eaLnBrk="1" latinLnBrk="0" hangingPunct="1">
              <a:lnSpc>
                <a:spcPct val="13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lang="pt-BR" sz="13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13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3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130000"/>
              </a:lnSpc>
              <a:spcBef>
                <a:spcPts val="500"/>
              </a:spcBef>
              <a:buFont typeface="Arial" panose="020B0604020202020204" pitchFamily="34" charset="0"/>
              <a:buNone/>
              <a:defRPr sz="13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dirty="0"/>
              <a:t>-</a:t>
            </a:r>
            <a:endParaRPr lang="en-US" dirty="0">
              <a:solidFill>
                <a:srgbClr val="000000"/>
              </a:solidFill>
              <a:ea typeface="Open Sans"/>
              <a:cs typeface="Open Sans"/>
            </a:endParaRPr>
          </a:p>
          <a:p>
            <a:pPr>
              <a:buClrTx/>
            </a:pPr>
            <a:endParaRPr lang="en-US" dirty="0">
              <a:ea typeface="Open Sans"/>
              <a:cs typeface="Open Sans"/>
            </a:endParaRPr>
          </a:p>
        </p:txBody>
      </p:sp>
      <p:sp>
        <p:nvSpPr>
          <p:cNvPr id="17" name="Espaço Reservado para Texto 67">
            <a:extLst>
              <a:ext uri="{FF2B5EF4-FFF2-40B4-BE49-F238E27FC236}">
                <a16:creationId xmlns:a16="http://schemas.microsoft.com/office/drawing/2014/main" id="{90429A15-8204-EB13-7969-5864A05F4772}"/>
              </a:ext>
            </a:extLst>
          </p:cNvPr>
          <p:cNvSpPr txBox="1">
            <a:spLocks/>
          </p:cNvSpPr>
          <p:nvPr/>
        </p:nvSpPr>
        <p:spPr>
          <a:xfrm>
            <a:off x="8247924" y="4418503"/>
            <a:ext cx="654050" cy="65619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110000"/>
              </a:lnSpc>
              <a:spcBef>
                <a:spcPts val="2000"/>
              </a:spcBef>
              <a:spcAft>
                <a:spcPts val="500"/>
              </a:spcAft>
              <a:buFont typeface="Arial" panose="020B0604020202020204" pitchFamily="34" charset="0"/>
              <a:buNone/>
              <a:defRPr sz="3600" b="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285750" indent="-28575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sz="360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2pPr>
            <a:lvl3pPr marL="936000" indent="288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lang="pt-BR" sz="360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360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Tx/>
            </a:pPr>
            <a:r>
              <a:rPr lang="pt-BR"/>
              <a:t>7</a:t>
            </a:r>
          </a:p>
        </p:txBody>
      </p:sp>
      <p:sp>
        <p:nvSpPr>
          <p:cNvPr id="3" name="CaixaDeTexto 2">
            <a:extLst>
              <a:ext uri="{FF2B5EF4-FFF2-40B4-BE49-F238E27FC236}">
                <a16:creationId xmlns:a16="http://schemas.microsoft.com/office/drawing/2014/main" id="{DC7322FD-4CE3-7C4A-87A6-B67DF0920182}"/>
              </a:ext>
            </a:extLst>
          </p:cNvPr>
          <p:cNvSpPr txBox="1"/>
          <p:nvPr/>
        </p:nvSpPr>
        <p:spPr>
          <a:xfrm>
            <a:off x="8811491" y="4585855"/>
            <a:ext cx="2743200" cy="30777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pt-BR" dirty="0"/>
              <a:t>-</a:t>
            </a:r>
            <a:endParaRPr lang="en-US" dirty="0">
              <a:ea typeface="Open Sans"/>
              <a:cs typeface="Open Sans"/>
            </a:endParaRPr>
          </a:p>
        </p:txBody>
      </p:sp>
    </p:spTree>
    <p:extLst>
      <p:ext uri="{BB962C8B-B14F-4D97-AF65-F5344CB8AC3E}">
        <p14:creationId xmlns:p14="http://schemas.microsoft.com/office/powerpoint/2010/main" val="305769911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63A9DB6-3E7A-C8E3-8945-2DD405FFC7F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think-cell data - do not delete" hidden="1">
            <a:extLst>
              <a:ext uri="{FF2B5EF4-FFF2-40B4-BE49-F238E27FC236}">
                <a16:creationId xmlns:a16="http://schemas.microsoft.com/office/drawing/2014/main" id="{FA8CB0DA-8B8C-D36D-65C7-01EDD1A05FE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4" imgW="425" imgH="424" progId="TCLayout.ActiveDocument.1">
                  <p:embed/>
                </p:oleObj>
              </mc:Choice>
              <mc:Fallback>
                <p:oleObj name="Slide do think-cell" r:id="rId4" imgW="425" imgH="424" progId="TCLayout.ActiveDocument.1">
                  <p:embed/>
                  <p:pic>
                    <p:nvPicPr>
                      <p:cNvPr id="2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A8CB0DA-8B8C-D36D-65C7-01EDD1A05FE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ítulo 2">
            <a:extLst>
              <a:ext uri="{FF2B5EF4-FFF2-40B4-BE49-F238E27FC236}">
                <a16:creationId xmlns:a16="http://schemas.microsoft.com/office/drawing/2014/main" id="{3C36E050-0AB1-B0CC-DE63-C94682A55160}"/>
              </a:ext>
            </a:extLst>
          </p:cNvPr>
          <p:cNvSpPr txBox="1">
            <a:spLocks/>
          </p:cNvSpPr>
          <p:nvPr/>
        </p:nvSpPr>
        <p:spPr>
          <a:xfrm>
            <a:off x="411279" y="522581"/>
            <a:ext cx="9667218" cy="47619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 spc="-4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buClrTx/>
              <a:buFontTx/>
              <a:defRPr/>
            </a:pPr>
            <a:r>
              <a:rPr lang="pt-BR" sz="2400" dirty="0">
                <a:solidFill>
                  <a:srgbClr val="2D3D70"/>
                </a:solidFill>
                <a:latin typeface="Montserrat"/>
              </a:rPr>
              <a:t>GESTÃO DE CONTRATADAS </a:t>
            </a:r>
          </a:p>
          <a:p>
            <a:pPr>
              <a:buClrTx/>
              <a:buFontTx/>
              <a:defRPr/>
            </a:pPr>
            <a:r>
              <a:rPr lang="pt-BR" sz="2400" dirty="0">
                <a:solidFill>
                  <a:srgbClr val="F4614D"/>
                </a:solidFill>
                <a:latin typeface="Montserrat"/>
                <a:sym typeface="Arial"/>
              </a:rPr>
              <a:t>IN</a:t>
            </a:r>
            <a:r>
              <a:rPr lang="pt-BR" sz="2400" dirty="0">
                <a:solidFill>
                  <a:srgbClr val="F4614D"/>
                </a:solidFill>
                <a:latin typeface="Montserrat"/>
              </a:rPr>
              <a:t>DICADORES SSMAC – SEGURANÇA</a:t>
            </a:r>
            <a:endParaRPr lang="pt-BR" sz="2400" dirty="0">
              <a:solidFill>
                <a:srgbClr val="F4614D"/>
              </a:solidFill>
              <a:latin typeface="Montserrat"/>
              <a:sym typeface="Arial"/>
            </a:endParaRPr>
          </a:p>
        </p:txBody>
      </p:sp>
      <p:sp>
        <p:nvSpPr>
          <p:cNvPr id="10" name="Espaço Reservado para Texto 61">
            <a:extLst>
              <a:ext uri="{FF2B5EF4-FFF2-40B4-BE49-F238E27FC236}">
                <a16:creationId xmlns:a16="http://schemas.microsoft.com/office/drawing/2014/main" id="{720C7A64-1E0F-AEEE-168F-3F5160AC9FF9}"/>
              </a:ext>
            </a:extLst>
          </p:cNvPr>
          <p:cNvSpPr txBox="1">
            <a:spLocks/>
          </p:cNvSpPr>
          <p:nvPr/>
        </p:nvSpPr>
        <p:spPr>
          <a:xfrm>
            <a:off x="411279" y="278512"/>
            <a:ext cx="4984686" cy="354597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2000"/>
              </a:spcBef>
              <a:spcAft>
                <a:spcPts val="500"/>
              </a:spcAft>
              <a:buFont typeface="Arial" panose="020B0604020202020204" pitchFamily="34" charset="0"/>
              <a:buNone/>
              <a:defRPr sz="17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285750" indent="-28575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6000" indent="288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lang="pt-BR" sz="16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145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buClrTx/>
              <a:defRPr/>
            </a:pPr>
            <a:r>
              <a:rPr lang="pt-BR" sz="1050" b="0" dirty="0">
                <a:solidFill>
                  <a:srgbClr val="666666"/>
                </a:solidFill>
                <a:latin typeface="Open Sans (Corpo)"/>
              </a:rPr>
              <a:t>SSMAC| ALMAS</a:t>
            </a:r>
          </a:p>
        </p:txBody>
      </p:sp>
      <p:sp>
        <p:nvSpPr>
          <p:cNvPr id="6" name="Retângulo: Cantos Arredondados 5">
            <a:extLst>
              <a:ext uri="{FF2B5EF4-FFF2-40B4-BE49-F238E27FC236}">
                <a16:creationId xmlns:a16="http://schemas.microsoft.com/office/drawing/2014/main" id="{74CCD9CC-7C46-07F9-B8D8-44A1BB6CDDF4}"/>
              </a:ext>
            </a:extLst>
          </p:cNvPr>
          <p:cNvSpPr/>
          <p:nvPr/>
        </p:nvSpPr>
        <p:spPr>
          <a:xfrm>
            <a:off x="8665535" y="1204914"/>
            <a:ext cx="3077827" cy="5316407"/>
          </a:xfrm>
          <a:prstGeom prst="roundRect">
            <a:avLst>
              <a:gd name="adj" fmla="val 3200"/>
            </a:avLst>
          </a:prstGeom>
          <a:noFill/>
          <a:ln w="6350">
            <a:solidFill>
              <a:srgbClr val="C44B38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tângulo 6">
            <a:extLst>
              <a:ext uri="{FF2B5EF4-FFF2-40B4-BE49-F238E27FC236}">
                <a16:creationId xmlns:a16="http://schemas.microsoft.com/office/drawing/2014/main" id="{11061285-6EB1-73E9-572F-C879F927C9F7}"/>
              </a:ext>
            </a:extLst>
          </p:cNvPr>
          <p:cNvSpPr/>
          <p:nvPr/>
        </p:nvSpPr>
        <p:spPr>
          <a:xfrm>
            <a:off x="9017116" y="1031721"/>
            <a:ext cx="1173892" cy="321012"/>
          </a:xfrm>
          <a:prstGeom prst="rect">
            <a:avLst/>
          </a:prstGeom>
          <a:solidFill>
            <a:srgbClr val="F3F5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1100" b="1" dirty="0">
                <a:solidFill>
                  <a:srgbClr val="C44B38"/>
                </a:solidFill>
                <a:latin typeface="Open Sans (Corpo)"/>
              </a:rPr>
              <a:t>Comentários</a:t>
            </a:r>
            <a:endParaRPr lang="pt-BR" sz="1000" dirty="0">
              <a:solidFill>
                <a:srgbClr val="C44B38"/>
              </a:solidFill>
              <a:latin typeface="Open Sans (Corpo)"/>
            </a:endParaRPr>
          </a:p>
        </p:txBody>
      </p:sp>
      <p:sp>
        <p:nvSpPr>
          <p:cNvPr id="8" name="Retângulo 7">
            <a:extLst>
              <a:ext uri="{FF2B5EF4-FFF2-40B4-BE49-F238E27FC236}">
                <a16:creationId xmlns:a16="http://schemas.microsoft.com/office/drawing/2014/main" id="{D886969E-A1C3-580E-82B0-EBA44CFC6C17}"/>
              </a:ext>
            </a:extLst>
          </p:cNvPr>
          <p:cNvSpPr/>
          <p:nvPr/>
        </p:nvSpPr>
        <p:spPr>
          <a:xfrm>
            <a:off x="8707438" y="1353067"/>
            <a:ext cx="2971501" cy="518056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>
              <a:spcAft>
                <a:spcPts val="300"/>
              </a:spcAft>
            </a:pPr>
            <a:r>
              <a:rPr kumimoji="0" lang="pt-BR" sz="900" b="1" i="0" u="none" strike="noStrike" kern="1200" cap="none" spc="0" normalizeH="0" baseline="0" noProof="0" dirty="0" err="1">
                <a:ln>
                  <a:noFill/>
                </a:ln>
                <a:solidFill>
                  <a:srgbClr val="2D3D70"/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Arial"/>
              </a:rPr>
              <a:t>xxxxxxxxxxxxxxx</a:t>
            </a:r>
            <a:endParaRPr kumimoji="0" lang="pt-BR" sz="900" b="1" i="0" u="none" strike="noStrike" kern="1200" cap="none" spc="0" normalizeH="0" baseline="0" noProof="0" dirty="0">
              <a:ln>
                <a:noFill/>
              </a:ln>
              <a:solidFill>
                <a:srgbClr val="2D3D70"/>
              </a:solidFill>
              <a:effectLst/>
              <a:uLnTx/>
              <a:uFillTx/>
              <a:latin typeface="Open Sans"/>
              <a:ea typeface="Open Sans"/>
              <a:cs typeface="Open Sans"/>
              <a:sym typeface="Arial"/>
            </a:endParaRPr>
          </a:p>
          <a:p>
            <a:pPr marL="0" lvl="1" algn="ctr">
              <a:spcAft>
                <a:spcPts val="300"/>
              </a:spcAft>
            </a:pPr>
            <a:endParaRPr lang="pt-BR" sz="900" b="1" dirty="0">
              <a:solidFill>
                <a:srgbClr val="2D3D70"/>
              </a:solidFill>
              <a:latin typeface="Open Sans"/>
              <a:ea typeface="Open Sans"/>
              <a:cs typeface="Open Sans"/>
            </a:endParaRPr>
          </a:p>
          <a:p>
            <a:pPr marL="0" lvl="1" algn="ctr">
              <a:spcAft>
                <a:spcPts val="300"/>
              </a:spcAft>
            </a:pPr>
            <a:r>
              <a:rPr lang="pt-BR" sz="900" dirty="0" err="1">
                <a:solidFill>
                  <a:srgbClr val="2D3D70"/>
                </a:solidFill>
                <a:latin typeface="Open Sans"/>
                <a:ea typeface="Open Sans"/>
                <a:cs typeface="Open Sans"/>
              </a:rPr>
              <a:t>xxxxxxxxxxxxxxxxxxx</a:t>
            </a:r>
            <a:endParaRPr lang="pt-BR" sz="900" dirty="0">
              <a:solidFill>
                <a:srgbClr val="2D3D70"/>
              </a:solidFill>
              <a:latin typeface="Open Sans"/>
              <a:ea typeface="Open Sans"/>
              <a:cs typeface="Open Sans"/>
            </a:endParaRPr>
          </a:p>
          <a:p>
            <a:pPr marL="0" lvl="1" algn="ctr">
              <a:spcAft>
                <a:spcPts val="300"/>
              </a:spcAft>
            </a:pPr>
            <a:endParaRPr lang="pt-BR" sz="900" dirty="0">
              <a:solidFill>
                <a:srgbClr val="2D3D70"/>
              </a:solidFill>
              <a:latin typeface="Open Sans"/>
              <a:ea typeface="Open Sans"/>
              <a:cs typeface="Open Sans"/>
            </a:endParaRPr>
          </a:p>
          <a:p>
            <a:pPr marL="0" lvl="1" algn="ctr">
              <a:spcAft>
                <a:spcPts val="300"/>
              </a:spcAft>
            </a:pPr>
            <a:r>
              <a:rPr lang="pt-BR" sz="900" dirty="0">
                <a:solidFill>
                  <a:srgbClr val="2D3D70"/>
                </a:solidFill>
                <a:latin typeface="Open Sans"/>
                <a:ea typeface="Open Sans"/>
                <a:cs typeface="Open Sans"/>
              </a:rPr>
              <a:t> </a:t>
            </a:r>
          </a:p>
          <a:p>
            <a:pPr marL="0" lvl="1">
              <a:spcAft>
                <a:spcPts val="300"/>
              </a:spcAft>
            </a:pPr>
            <a:r>
              <a:rPr kumimoji="0" lang="pt-BR" sz="900" b="1" i="0" u="none" strike="noStrike" kern="1200" cap="none" spc="0" normalizeH="0" baseline="0" noProof="0" dirty="0">
                <a:ln>
                  <a:noFill/>
                </a:ln>
                <a:solidFill>
                  <a:srgbClr val="2D3D70"/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Arial"/>
              </a:rPr>
              <a:t>  </a:t>
            </a:r>
          </a:p>
          <a:p>
            <a:pPr marL="171450" lvl="1" indent="-171450">
              <a:spcAft>
                <a:spcPts val="300"/>
              </a:spcAft>
              <a:buFont typeface="Arial" panose="020B0604020202020204" pitchFamily="34" charset="0"/>
              <a:buChar char="•"/>
            </a:pPr>
            <a:endParaRPr lang="pt-BR" sz="900" dirty="0">
              <a:solidFill>
                <a:srgbClr val="2D3D70"/>
              </a:solidFill>
              <a:latin typeface="Open Sans"/>
              <a:ea typeface="Open Sans"/>
              <a:cs typeface="Open Sans"/>
            </a:endParaRPr>
          </a:p>
          <a:p>
            <a:pPr marL="171450" lvl="1" indent="-171450">
              <a:spcAft>
                <a:spcPts val="300"/>
              </a:spcAft>
              <a:buFont typeface="Arial" panose="020B0604020202020204" pitchFamily="34" charset="0"/>
              <a:buChar char="•"/>
            </a:pPr>
            <a:endParaRPr lang="pt-BR" sz="900" dirty="0">
              <a:solidFill>
                <a:srgbClr val="2D3D70"/>
              </a:solidFill>
              <a:latin typeface="Open Sans"/>
              <a:ea typeface="Open Sans"/>
              <a:cs typeface="Open Sans"/>
            </a:endParaRPr>
          </a:p>
          <a:p>
            <a:pPr marL="171450" lvl="1" indent="-171450">
              <a:spcAft>
                <a:spcPts val="300"/>
              </a:spcAft>
              <a:buFont typeface="Arial" panose="020B0604020202020204" pitchFamily="34" charset="0"/>
              <a:buChar char="•"/>
            </a:pPr>
            <a:endParaRPr lang="pt-BR" sz="900" dirty="0">
              <a:solidFill>
                <a:srgbClr val="2D3D70"/>
              </a:solidFill>
              <a:latin typeface="Open Sans"/>
              <a:ea typeface="Open Sans"/>
              <a:cs typeface="Open Sans"/>
            </a:endParaRPr>
          </a:p>
          <a:p>
            <a:pPr marL="171450" lvl="1" indent="-171450">
              <a:spcAft>
                <a:spcPts val="300"/>
              </a:spcAft>
              <a:buFont typeface="Arial" panose="020B0604020202020204" pitchFamily="34" charset="0"/>
              <a:buChar char="•"/>
            </a:pPr>
            <a:endParaRPr kumimoji="0" lang="pt-BR" sz="900" i="0" u="none" strike="noStrike" kern="1200" cap="none" spc="0" normalizeH="0" baseline="0" noProof="0" dirty="0">
              <a:ln>
                <a:noFill/>
              </a:ln>
              <a:solidFill>
                <a:srgbClr val="2D3D70"/>
              </a:solidFill>
              <a:effectLst/>
              <a:uLnTx/>
              <a:uFillTx/>
              <a:latin typeface="Open Sans"/>
              <a:ea typeface="Open Sans"/>
              <a:cs typeface="Open Sans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69184409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526F976-EF6E-6E5E-BE81-5BCB9AD4735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5F2F59E7-D444-A086-5323-AE898F4D96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4" imgW="425" imgH="424" progId="TCLayout.ActiveDocument.1">
                  <p:embed/>
                </p:oleObj>
              </mc:Choice>
              <mc:Fallback>
                <p:oleObj name="Slide do think-cell" r:id="rId4" imgW="425" imgH="42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F2F59E7-D444-A086-5323-AE898F4D96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ítulo 2">
            <a:extLst>
              <a:ext uri="{FF2B5EF4-FFF2-40B4-BE49-F238E27FC236}">
                <a16:creationId xmlns:a16="http://schemas.microsoft.com/office/drawing/2014/main" id="{2F437AE3-8D15-38B1-92F2-C13F0E1762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9828" y="291607"/>
            <a:ext cx="10401589" cy="477548"/>
          </a:xfrm>
        </p:spPr>
        <p:txBody>
          <a:bodyPr vert="horz"/>
          <a:lstStyle/>
          <a:p>
            <a:r>
              <a:rPr lang="pt-BR" dirty="0"/>
              <a:t>INCIDENTES | </a:t>
            </a:r>
            <a:r>
              <a:rPr lang="pt-BR" sz="3200" dirty="0">
                <a:solidFill>
                  <a:schemeClr val="accent2"/>
                </a:solidFill>
              </a:rPr>
              <a:t>STATUS INVESTIGAÇÕES</a:t>
            </a:r>
            <a:endParaRPr lang="pt-BR" dirty="0">
              <a:solidFill>
                <a:schemeClr val="accent2"/>
              </a:solidFill>
            </a:endParaRPr>
          </a:p>
        </p:txBody>
      </p:sp>
      <p:graphicFrame>
        <p:nvGraphicFramePr>
          <p:cNvPr id="9" name="Tabela 8">
            <a:extLst>
              <a:ext uri="{FF2B5EF4-FFF2-40B4-BE49-F238E27FC236}">
                <a16:creationId xmlns:a16="http://schemas.microsoft.com/office/drawing/2014/main" id="{6113143D-5212-E0C6-2CB0-F80A7405047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10310068"/>
              </p:ext>
            </p:extLst>
          </p:nvPr>
        </p:nvGraphicFramePr>
        <p:xfrm>
          <a:off x="152401" y="1382651"/>
          <a:ext cx="11379200" cy="482837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265015">
                  <a:extLst>
                    <a:ext uri="{9D8B030D-6E8A-4147-A177-3AD203B41FA5}">
                      <a16:colId xmlns:a16="http://schemas.microsoft.com/office/drawing/2014/main" val="1055030787"/>
                    </a:ext>
                  </a:extLst>
                </a:gridCol>
                <a:gridCol w="1666294">
                  <a:extLst>
                    <a:ext uri="{9D8B030D-6E8A-4147-A177-3AD203B41FA5}">
                      <a16:colId xmlns:a16="http://schemas.microsoft.com/office/drawing/2014/main" val="1159618014"/>
                    </a:ext>
                  </a:extLst>
                </a:gridCol>
                <a:gridCol w="2447891">
                  <a:extLst>
                    <a:ext uri="{9D8B030D-6E8A-4147-A177-3AD203B41FA5}">
                      <a16:colId xmlns:a16="http://schemas.microsoft.com/office/drawing/2014/main" val="921077246"/>
                    </a:ext>
                  </a:extLst>
                </a:gridCol>
              </a:tblGrid>
              <a:tr h="508000">
                <a:tc>
                  <a:txBody>
                    <a:bodyPr/>
                    <a:lstStyle/>
                    <a:p>
                      <a:pPr marL="0" marR="0" lvl="0" indent="0" algn="ctr" defTabSz="13716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700" b="0" dirty="0"/>
                        <a:t>DESCRIÇÃO RESUMID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700" b="0" dirty="0"/>
                        <a:t>DAT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700" b="0" dirty="0"/>
                        <a:t>STATUS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46476612"/>
                  </a:ext>
                </a:extLst>
              </a:tr>
              <a:tr h="944646">
                <a:tc>
                  <a:txBody>
                    <a:bodyPr/>
                    <a:lstStyle/>
                    <a:p>
                      <a:pPr marL="0" marR="0" lvl="0" indent="0" algn="l" defTabSz="13716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700" dirty="0" err="1">
                          <a:solidFill>
                            <a:schemeClr val="tx1"/>
                          </a:solidFill>
                        </a:rPr>
                        <a:t>Não</a:t>
                      </a:r>
                      <a:r>
                        <a:rPr lang="en-US" sz="27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sz="2700" dirty="0" err="1">
                          <a:solidFill>
                            <a:schemeClr val="tx1"/>
                          </a:solidFill>
                        </a:rPr>
                        <a:t>houveram</a:t>
                      </a:r>
                      <a:r>
                        <a:rPr lang="en-US" sz="27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sz="2700" dirty="0" err="1">
                          <a:solidFill>
                            <a:schemeClr val="tx1"/>
                          </a:solidFill>
                        </a:rPr>
                        <a:t>incidentes</a:t>
                      </a:r>
                      <a:r>
                        <a:rPr lang="en-US" sz="2700" dirty="0">
                          <a:solidFill>
                            <a:schemeClr val="tx1"/>
                          </a:solidFill>
                        </a:rPr>
                        <a:t> no </a:t>
                      </a:r>
                      <a:r>
                        <a:rPr lang="en-US" sz="2700" dirty="0" err="1">
                          <a:solidFill>
                            <a:schemeClr val="tx1"/>
                          </a:solidFill>
                        </a:rPr>
                        <a:t>mês</a:t>
                      </a:r>
                      <a:r>
                        <a:rPr lang="en-US" sz="2700" dirty="0">
                          <a:solidFill>
                            <a:schemeClr val="tx1"/>
                          </a:solidFill>
                        </a:rPr>
                        <a:t> XXX</a:t>
                      </a:r>
                    </a:p>
                    <a:p>
                      <a:endParaRPr lang="en-US" sz="2700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2000" dirty="0">
                          <a:solidFill>
                            <a:schemeClr val="tx1"/>
                          </a:solidFill>
                        </a:rPr>
                        <a:t>xx/xx/</a:t>
                      </a:r>
                      <a:r>
                        <a:rPr lang="en-US" sz="2000" dirty="0" err="1">
                          <a:solidFill>
                            <a:schemeClr val="tx1"/>
                          </a:solidFill>
                        </a:rPr>
                        <a:t>xxxx</a:t>
                      </a:r>
                      <a:endParaRPr lang="en-US" sz="2000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2000" dirty="0" err="1">
                          <a:solidFill>
                            <a:schemeClr val="tx1"/>
                          </a:solidFill>
                        </a:rPr>
                        <a:t>Não</a:t>
                      </a:r>
                      <a:r>
                        <a:rPr lang="en-US" sz="20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sz="2000" dirty="0" err="1">
                          <a:solidFill>
                            <a:schemeClr val="tx1"/>
                          </a:solidFill>
                        </a:rPr>
                        <a:t>iniciado</a:t>
                      </a:r>
                      <a:endParaRPr lang="en-US" sz="2000" dirty="0">
                        <a:solidFill>
                          <a:schemeClr val="tx1"/>
                        </a:solidFill>
                      </a:endParaRPr>
                    </a:p>
                    <a:p>
                      <a:r>
                        <a:rPr lang="en-US" sz="2000" dirty="0">
                          <a:solidFill>
                            <a:schemeClr val="tx1"/>
                          </a:solidFill>
                        </a:rPr>
                        <a:t>Em </a:t>
                      </a:r>
                      <a:r>
                        <a:rPr lang="en-US" sz="2000" dirty="0" err="1">
                          <a:solidFill>
                            <a:schemeClr val="tx1"/>
                          </a:solidFill>
                        </a:rPr>
                        <a:t>andamento</a:t>
                      </a:r>
                      <a:endParaRPr lang="en-US" sz="2000" dirty="0">
                        <a:solidFill>
                          <a:schemeClr val="tx1"/>
                        </a:solidFill>
                      </a:endParaRPr>
                    </a:p>
                    <a:p>
                      <a:r>
                        <a:rPr lang="en-US" sz="2000" dirty="0" err="1">
                          <a:solidFill>
                            <a:schemeClr val="tx1"/>
                          </a:solidFill>
                        </a:rPr>
                        <a:t>Concluído</a:t>
                      </a:r>
                      <a:endParaRPr lang="en-US" sz="2000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323248548"/>
                  </a:ext>
                </a:extLst>
              </a:tr>
              <a:tr h="817036">
                <a:tc>
                  <a:txBody>
                    <a:bodyPr/>
                    <a:lstStyle/>
                    <a:p>
                      <a:endParaRPr lang="en-US" sz="2700" dirty="0">
                        <a:solidFill>
                          <a:schemeClr val="bg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2700" dirty="0">
                        <a:solidFill>
                          <a:schemeClr val="bg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2700" dirty="0">
                        <a:solidFill>
                          <a:schemeClr val="bg1"/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050183954"/>
                  </a:ext>
                </a:extLst>
              </a:tr>
              <a:tr h="863428">
                <a:tc>
                  <a:txBody>
                    <a:bodyPr/>
                    <a:lstStyle/>
                    <a:p>
                      <a:endParaRPr lang="en-US" sz="2700" dirty="0">
                        <a:solidFill>
                          <a:schemeClr val="bg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2700" dirty="0">
                        <a:solidFill>
                          <a:schemeClr val="bg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2700" dirty="0">
                        <a:solidFill>
                          <a:schemeClr val="bg1"/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421128359"/>
                  </a:ext>
                </a:extLst>
              </a:tr>
              <a:tr h="817036">
                <a:tc>
                  <a:txBody>
                    <a:bodyPr/>
                    <a:lstStyle/>
                    <a:p>
                      <a:endParaRPr lang="en-US" sz="2700" dirty="0">
                        <a:solidFill>
                          <a:schemeClr val="bg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2700" dirty="0">
                        <a:solidFill>
                          <a:schemeClr val="bg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2700" dirty="0">
                        <a:solidFill>
                          <a:schemeClr val="bg1"/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850919528"/>
                  </a:ext>
                </a:extLst>
              </a:tr>
              <a:tr h="817036">
                <a:tc>
                  <a:txBody>
                    <a:bodyPr/>
                    <a:lstStyle/>
                    <a:p>
                      <a:endParaRPr lang="en-US" sz="2700">
                        <a:solidFill>
                          <a:schemeClr val="bg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2700" dirty="0">
                        <a:solidFill>
                          <a:schemeClr val="bg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2700" dirty="0">
                        <a:solidFill>
                          <a:schemeClr val="bg1"/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53060324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3593130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84DB645-9A75-4C48-9959-1B48C25C940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think-cell data - do not delete" hidden="1">
            <a:extLst>
              <a:ext uri="{FF2B5EF4-FFF2-40B4-BE49-F238E27FC236}">
                <a16:creationId xmlns:a16="http://schemas.microsoft.com/office/drawing/2014/main" id="{377A8604-31A6-BEE1-99E6-824A0277796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4" imgW="425" imgH="424" progId="TCLayout.ActiveDocument.1">
                  <p:embed/>
                </p:oleObj>
              </mc:Choice>
              <mc:Fallback>
                <p:oleObj name="Slide do think-cell" r:id="rId4" imgW="425" imgH="424" progId="TCLayout.ActiveDocument.1">
                  <p:embed/>
                  <p:pic>
                    <p:nvPicPr>
                      <p:cNvPr id="2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77A8604-31A6-BEE1-99E6-824A0277796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ítulo 2">
            <a:extLst>
              <a:ext uri="{FF2B5EF4-FFF2-40B4-BE49-F238E27FC236}">
                <a16:creationId xmlns:a16="http://schemas.microsoft.com/office/drawing/2014/main" id="{69AF7EE0-9708-6F66-E8C3-7E19E658CD22}"/>
              </a:ext>
            </a:extLst>
          </p:cNvPr>
          <p:cNvSpPr txBox="1">
            <a:spLocks/>
          </p:cNvSpPr>
          <p:nvPr/>
        </p:nvSpPr>
        <p:spPr>
          <a:xfrm>
            <a:off x="411279" y="522581"/>
            <a:ext cx="9667218" cy="47619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 spc="-4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buClrTx/>
              <a:buFontTx/>
              <a:defRPr/>
            </a:pPr>
            <a:r>
              <a:rPr lang="pt-BR" sz="2400" dirty="0">
                <a:solidFill>
                  <a:srgbClr val="2D3D70"/>
                </a:solidFill>
                <a:latin typeface="Montserrat"/>
              </a:rPr>
              <a:t>GESTÃO DE CONTRATADAS </a:t>
            </a:r>
          </a:p>
          <a:p>
            <a:pPr>
              <a:buClrTx/>
              <a:buFontTx/>
              <a:defRPr/>
            </a:pPr>
            <a:r>
              <a:rPr lang="pt-BR" sz="2400" dirty="0">
                <a:solidFill>
                  <a:srgbClr val="F4614D"/>
                </a:solidFill>
                <a:latin typeface="Montserrat"/>
                <a:sym typeface="Arial"/>
              </a:rPr>
              <a:t>IN</a:t>
            </a:r>
            <a:r>
              <a:rPr lang="pt-BR" sz="2400" dirty="0">
                <a:solidFill>
                  <a:srgbClr val="F4614D"/>
                </a:solidFill>
                <a:latin typeface="Montserrat"/>
              </a:rPr>
              <a:t>DICADORES SSMAC – SAÚDE </a:t>
            </a:r>
            <a:endParaRPr lang="pt-BR" sz="2400" dirty="0">
              <a:solidFill>
                <a:srgbClr val="F4614D"/>
              </a:solidFill>
              <a:latin typeface="Montserrat"/>
              <a:sym typeface="Arial"/>
            </a:endParaRPr>
          </a:p>
        </p:txBody>
      </p:sp>
      <p:sp>
        <p:nvSpPr>
          <p:cNvPr id="10" name="Espaço Reservado para Texto 61">
            <a:extLst>
              <a:ext uri="{FF2B5EF4-FFF2-40B4-BE49-F238E27FC236}">
                <a16:creationId xmlns:a16="http://schemas.microsoft.com/office/drawing/2014/main" id="{3CE64D5D-C9F3-0862-1AD5-5FE4C35322D9}"/>
              </a:ext>
            </a:extLst>
          </p:cNvPr>
          <p:cNvSpPr txBox="1">
            <a:spLocks/>
          </p:cNvSpPr>
          <p:nvPr/>
        </p:nvSpPr>
        <p:spPr>
          <a:xfrm>
            <a:off x="411279" y="278512"/>
            <a:ext cx="4984686" cy="354597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2000"/>
              </a:spcBef>
              <a:spcAft>
                <a:spcPts val="500"/>
              </a:spcAft>
              <a:buFont typeface="Arial" panose="020B0604020202020204" pitchFamily="34" charset="0"/>
              <a:buNone/>
              <a:defRPr sz="17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285750" indent="-28575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6000" indent="288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lang="pt-BR" sz="16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145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2000"/>
              </a:spcBef>
              <a:spcAft>
                <a:spcPts val="5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BR" sz="1050" b="0" dirty="0">
                <a:solidFill>
                  <a:srgbClr val="666666"/>
                </a:solidFill>
                <a:latin typeface="Open Sans (Corpo)"/>
              </a:rPr>
              <a:t>SSMAC</a:t>
            </a:r>
            <a:r>
              <a:rPr kumimoji="0" lang="pt-BR" sz="1050" b="0" i="0" u="none" strike="noStrike" kern="1200" cap="none" spc="0" normalizeH="0" baseline="0" noProof="0" dirty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  <a:latin typeface="Open Sans (Corpo)"/>
                <a:ea typeface="+mn-ea"/>
                <a:cs typeface="+mn-cs"/>
                <a:sym typeface="Arial"/>
              </a:rPr>
              <a:t>| ALMAS</a:t>
            </a:r>
          </a:p>
        </p:txBody>
      </p:sp>
      <p:sp>
        <p:nvSpPr>
          <p:cNvPr id="1099" name="Retângulo 1098">
            <a:extLst>
              <a:ext uri="{FF2B5EF4-FFF2-40B4-BE49-F238E27FC236}">
                <a16:creationId xmlns:a16="http://schemas.microsoft.com/office/drawing/2014/main" id="{47A2237D-3D21-E009-74FF-02EFA6681B6F}"/>
              </a:ext>
            </a:extLst>
          </p:cNvPr>
          <p:cNvSpPr/>
          <p:nvPr/>
        </p:nvSpPr>
        <p:spPr>
          <a:xfrm>
            <a:off x="7859214" y="1123816"/>
            <a:ext cx="1173892" cy="170661"/>
          </a:xfrm>
          <a:prstGeom prst="rect">
            <a:avLst/>
          </a:prstGeom>
          <a:solidFill>
            <a:srgbClr val="F3F5F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2" name="Retângulo 1">
            <a:extLst>
              <a:ext uri="{FF2B5EF4-FFF2-40B4-BE49-F238E27FC236}">
                <a16:creationId xmlns:a16="http://schemas.microsoft.com/office/drawing/2014/main" id="{CEA5CF4F-143C-4504-A556-6F2B1D5C9234}"/>
              </a:ext>
            </a:extLst>
          </p:cNvPr>
          <p:cNvSpPr/>
          <p:nvPr/>
        </p:nvSpPr>
        <p:spPr>
          <a:xfrm>
            <a:off x="7859214" y="1123816"/>
            <a:ext cx="1173892" cy="170661"/>
          </a:xfrm>
          <a:prstGeom prst="rect">
            <a:avLst/>
          </a:prstGeom>
          <a:solidFill>
            <a:srgbClr val="F3F5F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3" name="Retângulo: Cantos Arredondados 2">
            <a:extLst>
              <a:ext uri="{FF2B5EF4-FFF2-40B4-BE49-F238E27FC236}">
                <a16:creationId xmlns:a16="http://schemas.microsoft.com/office/drawing/2014/main" id="{B218F255-16F5-C8D2-ACDD-70791870AE0E}"/>
              </a:ext>
            </a:extLst>
          </p:cNvPr>
          <p:cNvSpPr/>
          <p:nvPr/>
        </p:nvSpPr>
        <p:spPr>
          <a:xfrm>
            <a:off x="8665535" y="1204914"/>
            <a:ext cx="3077827" cy="5316407"/>
          </a:xfrm>
          <a:prstGeom prst="roundRect">
            <a:avLst>
              <a:gd name="adj" fmla="val 3200"/>
            </a:avLst>
          </a:prstGeom>
          <a:noFill/>
          <a:ln w="6350">
            <a:solidFill>
              <a:srgbClr val="C44B38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tângulo 3">
            <a:extLst>
              <a:ext uri="{FF2B5EF4-FFF2-40B4-BE49-F238E27FC236}">
                <a16:creationId xmlns:a16="http://schemas.microsoft.com/office/drawing/2014/main" id="{99BB3C35-F576-D131-295C-158AB844C6D1}"/>
              </a:ext>
            </a:extLst>
          </p:cNvPr>
          <p:cNvSpPr/>
          <p:nvPr/>
        </p:nvSpPr>
        <p:spPr>
          <a:xfrm>
            <a:off x="9017116" y="1031721"/>
            <a:ext cx="1173892" cy="321012"/>
          </a:xfrm>
          <a:prstGeom prst="rect">
            <a:avLst/>
          </a:prstGeom>
          <a:solidFill>
            <a:srgbClr val="F3F5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1100" b="1" dirty="0">
                <a:solidFill>
                  <a:srgbClr val="C44B38"/>
                </a:solidFill>
                <a:latin typeface="Open Sans (Corpo)"/>
              </a:rPr>
              <a:t>Comentários</a:t>
            </a:r>
            <a:endParaRPr lang="pt-BR" sz="1000" dirty="0">
              <a:solidFill>
                <a:srgbClr val="C44B38"/>
              </a:solidFill>
              <a:latin typeface="Open Sans (Corpo)"/>
            </a:endParaRPr>
          </a:p>
        </p:txBody>
      </p:sp>
      <p:sp>
        <p:nvSpPr>
          <p:cNvPr id="5" name="Retângulo 4">
            <a:extLst>
              <a:ext uri="{FF2B5EF4-FFF2-40B4-BE49-F238E27FC236}">
                <a16:creationId xmlns:a16="http://schemas.microsoft.com/office/drawing/2014/main" id="{141C3D12-C682-561F-8432-07A3133A697B}"/>
              </a:ext>
            </a:extLst>
          </p:cNvPr>
          <p:cNvSpPr/>
          <p:nvPr/>
        </p:nvSpPr>
        <p:spPr>
          <a:xfrm>
            <a:off x="8707438" y="1353067"/>
            <a:ext cx="2971501" cy="518056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>
              <a:spcAft>
                <a:spcPts val="300"/>
              </a:spcAft>
            </a:pPr>
            <a:r>
              <a:rPr kumimoji="0" lang="pt-BR" sz="900" b="1" i="0" u="none" strike="noStrike" kern="1200" cap="none" spc="0" normalizeH="0" baseline="0" noProof="0" dirty="0" err="1">
                <a:ln>
                  <a:noFill/>
                </a:ln>
                <a:solidFill>
                  <a:srgbClr val="2D3D70"/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Arial"/>
              </a:rPr>
              <a:t>xxxxxxxxxxxxxxx</a:t>
            </a:r>
            <a:endParaRPr kumimoji="0" lang="pt-BR" sz="900" b="1" i="0" u="none" strike="noStrike" kern="1200" cap="none" spc="0" normalizeH="0" baseline="0" noProof="0" dirty="0">
              <a:ln>
                <a:noFill/>
              </a:ln>
              <a:solidFill>
                <a:srgbClr val="2D3D70"/>
              </a:solidFill>
              <a:effectLst/>
              <a:uLnTx/>
              <a:uFillTx/>
              <a:latin typeface="Open Sans"/>
              <a:ea typeface="Open Sans"/>
              <a:cs typeface="Open Sans"/>
              <a:sym typeface="Arial"/>
            </a:endParaRPr>
          </a:p>
          <a:p>
            <a:pPr marL="0" lvl="1" algn="ctr">
              <a:spcAft>
                <a:spcPts val="300"/>
              </a:spcAft>
            </a:pPr>
            <a:endParaRPr lang="pt-BR" sz="900" b="1" dirty="0">
              <a:solidFill>
                <a:srgbClr val="2D3D70"/>
              </a:solidFill>
              <a:latin typeface="Open Sans"/>
              <a:ea typeface="Open Sans"/>
              <a:cs typeface="Open Sans"/>
            </a:endParaRPr>
          </a:p>
          <a:p>
            <a:pPr marL="0" lvl="1" algn="ctr">
              <a:spcAft>
                <a:spcPts val="300"/>
              </a:spcAft>
            </a:pPr>
            <a:r>
              <a:rPr lang="pt-BR" sz="900" dirty="0" err="1">
                <a:solidFill>
                  <a:srgbClr val="2D3D70"/>
                </a:solidFill>
                <a:latin typeface="Open Sans"/>
                <a:ea typeface="Open Sans"/>
                <a:cs typeface="Open Sans"/>
              </a:rPr>
              <a:t>xxxxxxxxxxxxxxxxxxx</a:t>
            </a:r>
            <a:endParaRPr lang="pt-BR" sz="900" dirty="0">
              <a:solidFill>
                <a:srgbClr val="2D3D70"/>
              </a:solidFill>
              <a:latin typeface="Open Sans"/>
              <a:ea typeface="Open Sans"/>
              <a:cs typeface="Open Sans"/>
            </a:endParaRPr>
          </a:p>
          <a:p>
            <a:pPr marL="0" lvl="1" algn="ctr">
              <a:spcAft>
                <a:spcPts val="300"/>
              </a:spcAft>
            </a:pPr>
            <a:endParaRPr lang="pt-BR" sz="900" dirty="0">
              <a:solidFill>
                <a:srgbClr val="2D3D70"/>
              </a:solidFill>
              <a:latin typeface="Open Sans"/>
              <a:ea typeface="Open Sans"/>
              <a:cs typeface="Open Sans"/>
            </a:endParaRPr>
          </a:p>
          <a:p>
            <a:pPr marL="0" lvl="1" algn="ctr">
              <a:spcAft>
                <a:spcPts val="300"/>
              </a:spcAft>
            </a:pPr>
            <a:r>
              <a:rPr lang="pt-BR" sz="900" dirty="0">
                <a:solidFill>
                  <a:srgbClr val="2D3D70"/>
                </a:solidFill>
                <a:latin typeface="Open Sans"/>
                <a:ea typeface="Open Sans"/>
                <a:cs typeface="Open Sans"/>
              </a:rPr>
              <a:t> </a:t>
            </a:r>
          </a:p>
          <a:p>
            <a:pPr marL="0" lvl="1">
              <a:spcAft>
                <a:spcPts val="300"/>
              </a:spcAft>
            </a:pPr>
            <a:r>
              <a:rPr kumimoji="0" lang="pt-BR" sz="900" b="1" i="0" u="none" strike="noStrike" kern="1200" cap="none" spc="0" normalizeH="0" baseline="0" noProof="0" dirty="0">
                <a:ln>
                  <a:noFill/>
                </a:ln>
                <a:solidFill>
                  <a:srgbClr val="2D3D70"/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Arial"/>
              </a:rPr>
              <a:t>  </a:t>
            </a:r>
          </a:p>
          <a:p>
            <a:pPr marL="171450" lvl="1" indent="-171450">
              <a:spcAft>
                <a:spcPts val="300"/>
              </a:spcAft>
              <a:buFont typeface="Arial" panose="020B0604020202020204" pitchFamily="34" charset="0"/>
              <a:buChar char="•"/>
            </a:pPr>
            <a:endParaRPr lang="pt-BR" sz="900" dirty="0">
              <a:solidFill>
                <a:srgbClr val="2D3D70"/>
              </a:solidFill>
              <a:latin typeface="Open Sans"/>
              <a:ea typeface="Open Sans"/>
              <a:cs typeface="Open Sans"/>
            </a:endParaRPr>
          </a:p>
          <a:p>
            <a:pPr marL="171450" lvl="1" indent="-171450">
              <a:spcAft>
                <a:spcPts val="300"/>
              </a:spcAft>
              <a:buFont typeface="Arial" panose="020B0604020202020204" pitchFamily="34" charset="0"/>
              <a:buChar char="•"/>
            </a:pPr>
            <a:endParaRPr lang="pt-BR" sz="900" dirty="0">
              <a:solidFill>
                <a:srgbClr val="2D3D70"/>
              </a:solidFill>
              <a:latin typeface="Open Sans"/>
              <a:ea typeface="Open Sans"/>
              <a:cs typeface="Open Sans"/>
            </a:endParaRPr>
          </a:p>
          <a:p>
            <a:pPr marL="171450" lvl="1" indent="-171450">
              <a:spcAft>
                <a:spcPts val="300"/>
              </a:spcAft>
              <a:buFont typeface="Arial" panose="020B0604020202020204" pitchFamily="34" charset="0"/>
              <a:buChar char="•"/>
            </a:pPr>
            <a:endParaRPr lang="pt-BR" sz="900" dirty="0">
              <a:solidFill>
                <a:srgbClr val="2D3D70"/>
              </a:solidFill>
              <a:latin typeface="Open Sans"/>
              <a:ea typeface="Open Sans"/>
              <a:cs typeface="Open Sans"/>
            </a:endParaRPr>
          </a:p>
          <a:p>
            <a:pPr marL="171450" lvl="1" indent="-171450">
              <a:spcAft>
                <a:spcPts val="300"/>
              </a:spcAft>
              <a:buFont typeface="Arial" panose="020B0604020202020204" pitchFamily="34" charset="0"/>
              <a:buChar char="•"/>
            </a:pPr>
            <a:endParaRPr kumimoji="0" lang="pt-BR" sz="900" i="0" u="none" strike="noStrike" kern="1200" cap="none" spc="0" normalizeH="0" baseline="0" noProof="0" dirty="0">
              <a:ln>
                <a:noFill/>
              </a:ln>
              <a:solidFill>
                <a:srgbClr val="2D3D70"/>
              </a:solidFill>
              <a:effectLst/>
              <a:uLnTx/>
              <a:uFillTx/>
              <a:latin typeface="Open Sans"/>
              <a:ea typeface="Open Sans"/>
              <a:cs typeface="Open Sans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55188444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0BA0B27-6CD2-B88B-9FEC-9F7656F1A17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E6320DB1-21AE-456F-CD88-16D1CE92CB2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4" imgW="592" imgH="591" progId="TCLayout.ActiveDocument.1">
                  <p:embed/>
                </p:oleObj>
              </mc:Choice>
              <mc:Fallback>
                <p:oleObj name="Slide do think-cell" r:id="rId4" imgW="592" imgH="591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6320DB1-21AE-456F-CD88-16D1CE92CB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6" name="Table 44">
            <a:extLst>
              <a:ext uri="{FF2B5EF4-FFF2-40B4-BE49-F238E27FC236}">
                <a16:creationId xmlns:a16="http://schemas.microsoft.com/office/drawing/2014/main" id="{2C1BBC35-EB2A-BA46-580E-98C38A8D9A0F}"/>
              </a:ext>
            </a:extLst>
          </p:cNvPr>
          <p:cNvGraphicFramePr>
            <a:graphicFrameLocks noGrp="1"/>
          </p:cNvGraphicFramePr>
          <p:nvPr/>
        </p:nvGraphicFramePr>
        <p:xfrm>
          <a:off x="151309" y="1700022"/>
          <a:ext cx="5874920" cy="2987040"/>
        </p:xfrm>
        <a:graphic>
          <a:graphicData uri="http://schemas.openxmlformats.org/drawingml/2006/table">
            <a:tbl>
              <a:tblPr firstRow="1" bandRow="1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tblPr>
              <a:tblGrid>
                <a:gridCol w="587492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927334">
                <a:tc>
                  <a:txBody>
                    <a:bodyPr/>
                    <a:lstStyle>
                      <a:lvl1pPr marL="0" marR="0" indent="0" algn="ctr" defTabSz="41075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200" b="0" i="0" u="none" strike="noStrike" kern="1200" cap="none" spc="0" baseline="0">
                          <a:solidFill>
                            <a:schemeClr val="dk1"/>
                          </a:solidFill>
                          <a:uFillTx/>
                          <a:latin typeface="Calibri" panose="020F0502020204030204"/>
                          <a:ea typeface="Helvetica Light"/>
                          <a:cs typeface="Helvetica Light"/>
                          <a:sym typeface="Helvetica Light"/>
                        </a:defRPr>
                      </a:lvl1pPr>
                      <a:lvl2pPr marL="0" marR="0" indent="114297" algn="ctr" defTabSz="41075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200" b="0" i="0" u="none" strike="noStrike" kern="1200" cap="none" spc="0" baseline="0">
                          <a:solidFill>
                            <a:schemeClr val="dk1"/>
                          </a:solidFill>
                          <a:uFillTx/>
                          <a:latin typeface="Calibri" panose="020F0502020204030204"/>
                          <a:ea typeface="Helvetica Light"/>
                          <a:cs typeface="Helvetica Light"/>
                          <a:sym typeface="Helvetica Light"/>
                        </a:defRPr>
                      </a:lvl2pPr>
                      <a:lvl3pPr marL="0" marR="0" indent="228594" algn="ctr" defTabSz="41075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200" b="0" i="0" u="none" strike="noStrike" kern="1200" cap="none" spc="0" baseline="0">
                          <a:solidFill>
                            <a:schemeClr val="dk1"/>
                          </a:solidFill>
                          <a:uFillTx/>
                          <a:latin typeface="Calibri" panose="020F0502020204030204"/>
                          <a:ea typeface="Helvetica Light"/>
                          <a:cs typeface="Helvetica Light"/>
                          <a:sym typeface="Helvetica Light"/>
                        </a:defRPr>
                      </a:lvl3pPr>
                      <a:lvl4pPr marL="0" marR="0" indent="342891" algn="ctr" defTabSz="41075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200" b="0" i="0" u="none" strike="noStrike" kern="1200" cap="none" spc="0" baseline="0">
                          <a:solidFill>
                            <a:schemeClr val="dk1"/>
                          </a:solidFill>
                          <a:uFillTx/>
                          <a:latin typeface="Calibri" panose="020F0502020204030204"/>
                          <a:ea typeface="Helvetica Light"/>
                          <a:cs typeface="Helvetica Light"/>
                          <a:sym typeface="Helvetica Light"/>
                        </a:defRPr>
                      </a:lvl4pPr>
                      <a:lvl5pPr marL="0" marR="0" indent="457189" algn="ctr" defTabSz="41075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200" b="0" i="0" u="none" strike="noStrike" kern="1200" cap="none" spc="0" baseline="0">
                          <a:solidFill>
                            <a:schemeClr val="dk1"/>
                          </a:solidFill>
                          <a:uFillTx/>
                          <a:latin typeface="Calibri" panose="020F0502020204030204"/>
                          <a:ea typeface="Helvetica Light"/>
                          <a:cs typeface="Helvetica Light"/>
                          <a:sym typeface="Helvetica Light"/>
                        </a:defRPr>
                      </a:lvl5pPr>
                      <a:lvl6pPr marL="0" marR="0" indent="571486" algn="ctr" defTabSz="41075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200" b="0" i="0" u="none" strike="noStrike" kern="1200" cap="none" spc="0" baseline="0">
                          <a:solidFill>
                            <a:schemeClr val="dk1"/>
                          </a:solidFill>
                          <a:uFillTx/>
                          <a:latin typeface="Calibri" panose="020F0502020204030204"/>
                          <a:ea typeface="Helvetica Light"/>
                          <a:cs typeface="Helvetica Light"/>
                          <a:sym typeface="Helvetica Light"/>
                        </a:defRPr>
                      </a:lvl6pPr>
                      <a:lvl7pPr marL="0" marR="0" indent="685783" algn="ctr" defTabSz="41075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200" b="0" i="0" u="none" strike="noStrike" kern="1200" cap="none" spc="0" baseline="0">
                          <a:solidFill>
                            <a:schemeClr val="dk1"/>
                          </a:solidFill>
                          <a:uFillTx/>
                          <a:latin typeface="Calibri" panose="020F0502020204030204"/>
                          <a:ea typeface="Helvetica Light"/>
                          <a:cs typeface="Helvetica Light"/>
                          <a:sym typeface="Helvetica Light"/>
                        </a:defRPr>
                      </a:lvl7pPr>
                      <a:lvl8pPr marL="0" marR="0" indent="800080" algn="ctr" defTabSz="41075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200" b="0" i="0" u="none" strike="noStrike" kern="1200" cap="none" spc="0" baseline="0">
                          <a:solidFill>
                            <a:schemeClr val="dk1"/>
                          </a:solidFill>
                          <a:uFillTx/>
                          <a:latin typeface="Calibri" panose="020F0502020204030204"/>
                          <a:ea typeface="Helvetica Light"/>
                          <a:cs typeface="Helvetica Light"/>
                          <a:sym typeface="Helvetica Light"/>
                        </a:defRPr>
                      </a:lvl8pPr>
                      <a:lvl9pPr marL="0" marR="0" indent="914377" algn="ctr" defTabSz="41075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200" b="0" i="0" u="none" strike="noStrike" kern="1200" cap="none" spc="0" baseline="0">
                          <a:solidFill>
                            <a:schemeClr val="dk1"/>
                          </a:solidFill>
                          <a:uFillTx/>
                          <a:latin typeface="Calibri" panose="020F0502020204030204"/>
                          <a:ea typeface="Helvetica Light"/>
                          <a:cs typeface="Helvetica Light"/>
                          <a:sym typeface="Helvetica Light"/>
                        </a:defRPr>
                      </a:lvl9pPr>
                    </a:lstStyle>
                    <a:p>
                      <a:pPr marL="0" marR="0" lvl="0" indent="0" algn="just" defTabSz="41075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pt-BR" sz="1000" b="0" i="0" u="none" strike="noStrike" kern="1200" cap="none" spc="0" baseline="0" dirty="0">
                        <a:solidFill>
                          <a:schemeClr val="dk1"/>
                        </a:solidFill>
                        <a:effectLst/>
                        <a:uFillTx/>
                        <a:latin typeface="+mn-lt"/>
                        <a:ea typeface="Helvetica Light"/>
                        <a:cs typeface="Helvetica Light"/>
                        <a:sym typeface="Helvetica Light"/>
                      </a:endParaRPr>
                    </a:p>
                    <a:p>
                      <a:pPr marL="0" marR="0" lvl="0" indent="0" algn="just" defTabSz="41075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pt-BR" sz="1000" b="0" i="0" u="none" strike="noStrike" kern="1200" cap="none" spc="0" baseline="0" dirty="0">
                        <a:solidFill>
                          <a:schemeClr val="dk1"/>
                        </a:solidFill>
                        <a:effectLst/>
                        <a:uFillTx/>
                        <a:latin typeface="+mn-lt"/>
                        <a:ea typeface="Helvetica Light"/>
                        <a:cs typeface="Helvetica Light"/>
                        <a:sym typeface="Helvetica Light"/>
                      </a:endParaRPr>
                    </a:p>
                    <a:p>
                      <a:pPr marL="0" marR="0" lvl="0" indent="0" algn="just" defTabSz="41075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pt-BR" sz="1000" b="0" i="0" u="none" strike="noStrike" kern="1200" cap="none" spc="0" baseline="0" dirty="0">
                        <a:solidFill>
                          <a:schemeClr val="dk1"/>
                        </a:solidFill>
                        <a:effectLst/>
                        <a:uFillTx/>
                        <a:latin typeface="+mn-lt"/>
                        <a:ea typeface="Helvetica Light"/>
                        <a:cs typeface="Helvetica Light"/>
                        <a:sym typeface="Helvetica Light"/>
                      </a:endParaRPr>
                    </a:p>
                    <a:p>
                      <a:pPr marL="0" marR="0" lvl="0" indent="0" algn="just" defTabSz="41075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pt-BR" sz="1000" b="0" i="0" u="none" strike="noStrike" kern="1200" cap="none" spc="0" baseline="0" dirty="0">
                        <a:solidFill>
                          <a:schemeClr val="dk1"/>
                        </a:solidFill>
                        <a:effectLst/>
                        <a:uFillTx/>
                        <a:latin typeface="+mn-lt"/>
                        <a:ea typeface="Helvetica Light"/>
                        <a:cs typeface="Helvetica Light"/>
                        <a:sym typeface="Helvetica Light"/>
                      </a:endParaRPr>
                    </a:p>
                    <a:p>
                      <a:pPr marL="0" marR="0" lvl="0" indent="0" algn="just" defTabSz="41075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pt-BR" sz="1000" b="0" i="0" u="none" strike="noStrike" kern="1200" cap="none" spc="0" baseline="0" dirty="0">
                        <a:solidFill>
                          <a:schemeClr val="dk1"/>
                        </a:solidFill>
                        <a:effectLst/>
                        <a:uFillTx/>
                        <a:latin typeface="+mn-lt"/>
                        <a:ea typeface="Helvetica Light"/>
                        <a:cs typeface="Helvetica Light"/>
                        <a:sym typeface="Helvetica Light"/>
                      </a:endParaRPr>
                    </a:p>
                    <a:p>
                      <a:pPr marL="0" marR="0" lvl="0" indent="0" algn="just" defTabSz="41075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pt-BR" sz="1000" b="0" i="0" u="none" strike="noStrike" kern="1200" cap="none" spc="0" baseline="0" dirty="0">
                        <a:solidFill>
                          <a:schemeClr val="dk1"/>
                        </a:solidFill>
                        <a:effectLst/>
                        <a:uFillTx/>
                        <a:latin typeface="+mn-lt"/>
                        <a:ea typeface="Helvetica Light"/>
                        <a:cs typeface="Helvetica Light"/>
                        <a:sym typeface="Helvetica Light"/>
                      </a:endParaRPr>
                    </a:p>
                    <a:p>
                      <a:pPr marL="0" marR="0" lvl="0" indent="0" algn="just" defTabSz="41075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pt-BR" sz="1000" b="0" i="0" u="none" strike="noStrike" kern="1200" cap="none" spc="0" baseline="0" dirty="0">
                        <a:solidFill>
                          <a:schemeClr val="dk1"/>
                        </a:solidFill>
                        <a:effectLst/>
                        <a:uFillTx/>
                        <a:latin typeface="+mn-lt"/>
                        <a:ea typeface="Helvetica Light"/>
                        <a:cs typeface="Helvetica Light"/>
                        <a:sym typeface="Helvetica Light"/>
                      </a:endParaRPr>
                    </a:p>
                    <a:p>
                      <a:pPr marL="0" marR="0" lvl="0" indent="0" algn="just" defTabSz="41075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pt-BR" sz="1000" b="0" i="0" u="none" strike="noStrike" kern="1200" cap="none" spc="0" baseline="0" dirty="0">
                        <a:solidFill>
                          <a:schemeClr val="dk1"/>
                        </a:solidFill>
                        <a:effectLst/>
                        <a:uFillTx/>
                        <a:latin typeface="+mn-lt"/>
                        <a:ea typeface="Helvetica Light"/>
                        <a:cs typeface="Helvetica Light"/>
                        <a:sym typeface="Helvetica Light"/>
                      </a:endParaRPr>
                    </a:p>
                    <a:p>
                      <a:pPr marL="0" marR="0" lvl="0" indent="0" algn="just" defTabSz="41075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pt-BR" sz="1000" b="0" i="0" u="none" strike="noStrike" kern="1200" cap="none" spc="0" baseline="0" dirty="0">
                        <a:solidFill>
                          <a:schemeClr val="dk1"/>
                        </a:solidFill>
                        <a:effectLst/>
                        <a:uFillTx/>
                        <a:latin typeface="+mn-lt"/>
                        <a:ea typeface="Helvetica Light"/>
                        <a:cs typeface="Helvetica Light"/>
                        <a:sym typeface="Helvetica Light"/>
                      </a:endParaRPr>
                    </a:p>
                    <a:p>
                      <a:pPr marL="0" marR="0" lvl="0" indent="0" algn="just" defTabSz="41075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pt-BR" sz="1000" b="0" i="0" u="none" strike="noStrike" kern="1200" cap="none" spc="0" baseline="0" dirty="0">
                        <a:solidFill>
                          <a:schemeClr val="dk1"/>
                        </a:solidFill>
                        <a:effectLst/>
                        <a:uFillTx/>
                        <a:latin typeface="+mn-lt"/>
                        <a:ea typeface="Helvetica Light"/>
                        <a:cs typeface="Helvetica Light"/>
                        <a:sym typeface="Helvetica Light"/>
                      </a:endParaRPr>
                    </a:p>
                    <a:p>
                      <a:pPr marL="0" marR="0" lvl="0" indent="0" algn="just" defTabSz="41075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pt-BR" sz="1000" b="0" i="0" u="none" strike="noStrike" kern="1200" cap="none" spc="0" baseline="0" dirty="0">
                        <a:solidFill>
                          <a:schemeClr val="dk1"/>
                        </a:solidFill>
                        <a:effectLst/>
                        <a:uFillTx/>
                        <a:latin typeface="+mn-lt"/>
                        <a:ea typeface="Helvetica Light"/>
                        <a:cs typeface="Helvetica Light"/>
                        <a:sym typeface="Helvetica Light"/>
                      </a:endParaRPr>
                    </a:p>
                    <a:p>
                      <a:pPr marL="0" marR="0" lvl="0" indent="0" algn="just" defTabSz="41075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pt-BR" sz="1000" b="0" i="0" u="none" strike="noStrike" kern="1200" cap="none" spc="0" baseline="0" dirty="0">
                        <a:solidFill>
                          <a:schemeClr val="dk1"/>
                        </a:solidFill>
                        <a:effectLst/>
                        <a:uFillTx/>
                        <a:latin typeface="+mn-lt"/>
                        <a:ea typeface="Helvetica Light"/>
                        <a:cs typeface="Helvetica Light"/>
                        <a:sym typeface="Helvetica Light"/>
                      </a:endParaRPr>
                    </a:p>
                    <a:p>
                      <a:pPr marL="0" marR="0" lvl="0" indent="0" algn="just" defTabSz="41075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pt-BR" sz="1000" b="0" i="0" u="none" strike="noStrike" kern="1200" cap="none" spc="0" baseline="0" dirty="0">
                        <a:solidFill>
                          <a:schemeClr val="dk1"/>
                        </a:solidFill>
                        <a:effectLst/>
                        <a:uFillTx/>
                        <a:latin typeface="+mn-lt"/>
                        <a:ea typeface="Helvetica Light"/>
                        <a:cs typeface="Helvetica Light"/>
                        <a:sym typeface="Helvetica Light"/>
                      </a:endParaRPr>
                    </a:p>
                    <a:p>
                      <a:pPr marL="0" marR="0" lvl="0" indent="0" algn="just" defTabSz="41075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pt-BR" sz="1000" b="0" i="0" u="none" strike="noStrike" kern="1200" cap="none" spc="0" baseline="0" dirty="0">
                        <a:solidFill>
                          <a:schemeClr val="dk1"/>
                        </a:solidFill>
                        <a:effectLst/>
                        <a:uFillTx/>
                        <a:latin typeface="+mn-lt"/>
                        <a:ea typeface="Helvetica Light"/>
                        <a:cs typeface="Helvetica Light"/>
                        <a:sym typeface="Helvetica Light"/>
                      </a:endParaRPr>
                    </a:p>
                    <a:p>
                      <a:pPr marL="0" marR="0" lvl="0" indent="0" algn="just" defTabSz="41075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pt-BR" sz="1000" b="0" i="0" u="none" strike="noStrike" kern="1200" cap="none" spc="0" baseline="0" dirty="0">
                        <a:solidFill>
                          <a:schemeClr val="dk1"/>
                        </a:solidFill>
                        <a:effectLst/>
                        <a:uFillTx/>
                        <a:latin typeface="+mn-lt"/>
                        <a:ea typeface="Helvetica Light"/>
                        <a:cs typeface="Helvetica Light"/>
                        <a:sym typeface="Helvetica Light"/>
                      </a:endParaRPr>
                    </a:p>
                    <a:p>
                      <a:pPr marL="0" marR="0" lvl="0" indent="0" algn="just" defTabSz="41075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pt-BR" sz="1000" b="0" i="0" u="none" strike="noStrike" kern="1200" cap="none" spc="0" baseline="0" dirty="0">
                        <a:solidFill>
                          <a:schemeClr val="dk1"/>
                        </a:solidFill>
                        <a:effectLst/>
                        <a:uFillTx/>
                        <a:latin typeface="+mn-lt"/>
                        <a:ea typeface="Helvetica Light"/>
                        <a:cs typeface="Helvetica Light"/>
                        <a:sym typeface="Helvetica Light"/>
                      </a:endParaRPr>
                    </a:p>
                    <a:p>
                      <a:pPr marL="0" marR="0" lvl="0" indent="0" algn="just" defTabSz="41075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pt-BR" sz="1000" b="0" i="0" u="none" strike="noStrike" kern="1200" cap="none" spc="0" baseline="0" dirty="0">
                        <a:solidFill>
                          <a:schemeClr val="dk1"/>
                        </a:solidFill>
                        <a:effectLst/>
                        <a:uFillTx/>
                        <a:latin typeface="+mn-lt"/>
                        <a:ea typeface="Helvetica Light"/>
                        <a:cs typeface="Helvetica Light"/>
                        <a:sym typeface="Helvetica Light"/>
                      </a:endParaRPr>
                    </a:p>
                    <a:p>
                      <a:pPr marL="0" marR="0" lvl="0" indent="0" algn="just" defTabSz="41075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pt-BR" sz="1000" b="0" i="0" u="none" strike="noStrike" kern="1200" cap="none" spc="0" baseline="0" dirty="0">
                        <a:solidFill>
                          <a:schemeClr val="dk1"/>
                        </a:solidFill>
                        <a:effectLst/>
                        <a:uFillTx/>
                        <a:latin typeface="+mn-lt"/>
                        <a:ea typeface="Helvetica Light"/>
                        <a:cs typeface="Helvetica Light"/>
                        <a:sym typeface="Helvetica Light"/>
                      </a:endParaRPr>
                    </a:p>
                    <a:p>
                      <a:pPr marL="0" marR="0" lvl="0" indent="0" algn="just" defTabSz="41075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000" b="0" i="0" u="none" strike="noStrike" kern="1200" cap="none" spc="0" baseline="0" dirty="0">
                          <a:solidFill>
                            <a:schemeClr val="dk1"/>
                          </a:solidFill>
                          <a:effectLst/>
                          <a:uFillTx/>
                          <a:latin typeface="+mn-lt"/>
                          <a:ea typeface="Helvetica Light"/>
                          <a:cs typeface="Helvetica Light"/>
                          <a:sym typeface="Helvetica Light"/>
                        </a:rPr>
                        <a:t>Informações dos resíduos gerados diferentes dos resíduos de gestão Aura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5" name="Retângulo Arredondado 16">
            <a:extLst>
              <a:ext uri="{FF2B5EF4-FFF2-40B4-BE49-F238E27FC236}">
                <a16:creationId xmlns:a16="http://schemas.microsoft.com/office/drawing/2014/main" id="{22202EA4-18E4-3F70-ABF3-D69459B58700}"/>
              </a:ext>
            </a:extLst>
          </p:cNvPr>
          <p:cNvSpPr/>
          <p:nvPr/>
        </p:nvSpPr>
        <p:spPr>
          <a:xfrm>
            <a:off x="105104" y="1344508"/>
            <a:ext cx="5974255" cy="397980"/>
          </a:xfrm>
          <a:prstGeom prst="roundRect">
            <a:avLst/>
          </a:prstGeom>
          <a:solidFill>
            <a:srgbClr val="2D3D70"/>
          </a:solidFill>
          <a:ln w="12700" cap="flat">
            <a:noFill/>
            <a:miter lim="400000"/>
          </a:ln>
          <a:effectLst/>
          <a:sp3d/>
        </p:spPr>
        <p:txBody>
          <a:bodyPr rot="0" spcFirstLastPara="1" vertOverflow="overflow" horzOverflow="overflow" vert="horz" wrap="square" lIns="71437" tIns="71437" rIns="71437" bIns="71437" numCol="1" spcCol="38100" rtlCol="0" anchor="ctr">
            <a:spAutoFit/>
          </a:bodyPr>
          <a:lstStyle/>
          <a:p>
            <a:pPr marL="0" marR="0" lvl="0" indent="0" algn="l" defTabSz="821531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>
                  <a:outerShdw blurRad="25400" dist="23998" dir="2700000" rotWithShape="0">
                    <a:srgbClr val="000000">
                      <a:alpha val="31034"/>
                    </a:srgbClr>
                  </a:outerShdw>
                </a:effectLst>
                <a:uLnTx/>
                <a:uFillTx/>
                <a:latin typeface="+mn-lt"/>
                <a:sym typeface="Helvetica Light"/>
              </a:rPr>
              <a:t>GERAÇÃO DE RESÍDUOS</a:t>
            </a:r>
          </a:p>
        </p:txBody>
      </p:sp>
      <p:sp>
        <p:nvSpPr>
          <p:cNvPr id="19" name="Rectangle 10">
            <a:extLst>
              <a:ext uri="{FF2B5EF4-FFF2-40B4-BE49-F238E27FC236}">
                <a16:creationId xmlns:a16="http://schemas.microsoft.com/office/drawing/2014/main" id="{E62BB2AC-69BC-9ED5-0A65-D905946F1D65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7673" y="3506800"/>
            <a:ext cx="12192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pt-BR"/>
          </a:p>
        </p:txBody>
      </p:sp>
      <p:graphicFrame>
        <p:nvGraphicFramePr>
          <p:cNvPr id="21" name="Table 44">
            <a:extLst>
              <a:ext uri="{FF2B5EF4-FFF2-40B4-BE49-F238E27FC236}">
                <a16:creationId xmlns:a16="http://schemas.microsoft.com/office/drawing/2014/main" id="{76E50680-5742-FADC-5C8C-13EB9BCAFFED}"/>
              </a:ext>
            </a:extLst>
          </p:cNvPr>
          <p:cNvGraphicFramePr>
            <a:graphicFrameLocks noGrp="1"/>
          </p:cNvGraphicFramePr>
          <p:nvPr/>
        </p:nvGraphicFramePr>
        <p:xfrm>
          <a:off x="151309" y="4841845"/>
          <a:ext cx="2905823" cy="1881103"/>
        </p:xfrm>
        <a:graphic>
          <a:graphicData uri="http://schemas.openxmlformats.org/drawingml/2006/table">
            <a:tbl>
              <a:tblPr firstRow="1" bandRow="1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tblPr>
              <a:tblGrid>
                <a:gridCol w="290582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85985">
                <a:tc>
                  <a:txBody>
                    <a:bodyPr/>
                    <a:lstStyle>
                      <a:lvl1pPr marL="0" marR="0" indent="0" algn="ctr" defTabSz="410755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2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Calibri"/>
                          <a:sym typeface="Helvetica Light"/>
                        </a:defRPr>
                      </a:lvl1pPr>
                      <a:lvl2pPr marL="0" marR="0" indent="114297" algn="ctr" defTabSz="410755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2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Calibri"/>
                          <a:sym typeface="Helvetica Light"/>
                        </a:defRPr>
                      </a:lvl2pPr>
                      <a:lvl3pPr marL="0" marR="0" indent="228594" algn="ctr" defTabSz="410755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2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Calibri"/>
                          <a:sym typeface="Helvetica Light"/>
                        </a:defRPr>
                      </a:lvl3pPr>
                      <a:lvl4pPr marL="0" marR="0" indent="342891" algn="ctr" defTabSz="410755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2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Calibri"/>
                          <a:sym typeface="Helvetica Light"/>
                        </a:defRPr>
                      </a:lvl4pPr>
                      <a:lvl5pPr marL="0" marR="0" indent="457189" algn="ctr" defTabSz="410755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2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Calibri"/>
                          <a:sym typeface="Helvetica Light"/>
                        </a:defRPr>
                      </a:lvl5pPr>
                      <a:lvl6pPr marL="0" marR="0" indent="571486" algn="ctr" defTabSz="410755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2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Calibri"/>
                          <a:sym typeface="Helvetica Light"/>
                        </a:defRPr>
                      </a:lvl6pPr>
                      <a:lvl7pPr marL="0" marR="0" indent="685783" algn="ctr" defTabSz="410755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2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Calibri"/>
                          <a:sym typeface="Helvetica Light"/>
                        </a:defRPr>
                      </a:lvl7pPr>
                      <a:lvl8pPr marL="0" marR="0" indent="800080" algn="ctr" defTabSz="410755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2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Calibri"/>
                          <a:sym typeface="Helvetica Light"/>
                        </a:defRPr>
                      </a:lvl8pPr>
                      <a:lvl9pPr marL="0" marR="0" indent="914377" algn="ctr" defTabSz="410755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2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Calibri"/>
                          <a:sym typeface="Helvetica Light"/>
                        </a:defRPr>
                      </a:lvl9pPr>
                    </a:lstStyle>
                    <a:p>
                      <a:pPr marL="0" marR="0" indent="0" algn="l" defTabSz="41075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pt-BR" sz="1000" b="1" i="0" u="none" strike="noStrike" kern="1200" cap="none" spc="0" baseline="0" dirty="0">
                          <a:solidFill>
                            <a:schemeClr val="tx1"/>
                          </a:solidFill>
                          <a:uFillTx/>
                          <a:latin typeface="+mn-lt"/>
                          <a:cs typeface="Arial" pitchFamily="34" charset="0"/>
                          <a:sym typeface="Helvetica Light"/>
                        </a:rPr>
                        <a:t>Nº dos MTRs Emitidos 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0B7C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38078097"/>
                  </a:ext>
                </a:extLst>
              </a:tr>
              <a:tr h="1595118">
                <a:tc>
                  <a:txBody>
                    <a:bodyPr/>
                    <a:lstStyle>
                      <a:lvl1pPr marL="0" marR="0" indent="0" algn="ctr" defTabSz="41075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200" b="0" i="0" u="none" strike="noStrike" kern="1200" cap="none" spc="0" baseline="0">
                          <a:solidFill>
                            <a:schemeClr val="dk1"/>
                          </a:solidFill>
                          <a:uFillTx/>
                          <a:latin typeface="Calibri" panose="020F0502020204030204"/>
                          <a:ea typeface="Helvetica Light"/>
                          <a:cs typeface="Helvetica Light"/>
                          <a:sym typeface="Helvetica Light"/>
                        </a:defRPr>
                      </a:lvl1pPr>
                      <a:lvl2pPr marL="0" marR="0" indent="114297" algn="ctr" defTabSz="41075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200" b="0" i="0" u="none" strike="noStrike" kern="1200" cap="none" spc="0" baseline="0">
                          <a:solidFill>
                            <a:schemeClr val="dk1"/>
                          </a:solidFill>
                          <a:uFillTx/>
                          <a:latin typeface="Calibri" panose="020F0502020204030204"/>
                          <a:ea typeface="Helvetica Light"/>
                          <a:cs typeface="Helvetica Light"/>
                          <a:sym typeface="Helvetica Light"/>
                        </a:defRPr>
                      </a:lvl2pPr>
                      <a:lvl3pPr marL="0" marR="0" indent="228594" algn="ctr" defTabSz="41075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200" b="0" i="0" u="none" strike="noStrike" kern="1200" cap="none" spc="0" baseline="0">
                          <a:solidFill>
                            <a:schemeClr val="dk1"/>
                          </a:solidFill>
                          <a:uFillTx/>
                          <a:latin typeface="Calibri" panose="020F0502020204030204"/>
                          <a:ea typeface="Helvetica Light"/>
                          <a:cs typeface="Helvetica Light"/>
                          <a:sym typeface="Helvetica Light"/>
                        </a:defRPr>
                      </a:lvl3pPr>
                      <a:lvl4pPr marL="0" marR="0" indent="342891" algn="ctr" defTabSz="41075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200" b="0" i="0" u="none" strike="noStrike" kern="1200" cap="none" spc="0" baseline="0">
                          <a:solidFill>
                            <a:schemeClr val="dk1"/>
                          </a:solidFill>
                          <a:uFillTx/>
                          <a:latin typeface="Calibri" panose="020F0502020204030204"/>
                          <a:ea typeface="Helvetica Light"/>
                          <a:cs typeface="Helvetica Light"/>
                          <a:sym typeface="Helvetica Light"/>
                        </a:defRPr>
                      </a:lvl4pPr>
                      <a:lvl5pPr marL="0" marR="0" indent="457189" algn="ctr" defTabSz="41075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200" b="0" i="0" u="none" strike="noStrike" kern="1200" cap="none" spc="0" baseline="0">
                          <a:solidFill>
                            <a:schemeClr val="dk1"/>
                          </a:solidFill>
                          <a:uFillTx/>
                          <a:latin typeface="Calibri" panose="020F0502020204030204"/>
                          <a:ea typeface="Helvetica Light"/>
                          <a:cs typeface="Helvetica Light"/>
                          <a:sym typeface="Helvetica Light"/>
                        </a:defRPr>
                      </a:lvl5pPr>
                      <a:lvl6pPr marL="0" marR="0" indent="571486" algn="ctr" defTabSz="41075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200" b="0" i="0" u="none" strike="noStrike" kern="1200" cap="none" spc="0" baseline="0">
                          <a:solidFill>
                            <a:schemeClr val="dk1"/>
                          </a:solidFill>
                          <a:uFillTx/>
                          <a:latin typeface="Calibri" panose="020F0502020204030204"/>
                          <a:ea typeface="Helvetica Light"/>
                          <a:cs typeface="Helvetica Light"/>
                          <a:sym typeface="Helvetica Light"/>
                        </a:defRPr>
                      </a:lvl6pPr>
                      <a:lvl7pPr marL="0" marR="0" indent="685783" algn="ctr" defTabSz="41075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200" b="0" i="0" u="none" strike="noStrike" kern="1200" cap="none" spc="0" baseline="0">
                          <a:solidFill>
                            <a:schemeClr val="dk1"/>
                          </a:solidFill>
                          <a:uFillTx/>
                          <a:latin typeface="Calibri" panose="020F0502020204030204"/>
                          <a:ea typeface="Helvetica Light"/>
                          <a:cs typeface="Helvetica Light"/>
                          <a:sym typeface="Helvetica Light"/>
                        </a:defRPr>
                      </a:lvl7pPr>
                      <a:lvl8pPr marL="0" marR="0" indent="800080" algn="ctr" defTabSz="41075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200" b="0" i="0" u="none" strike="noStrike" kern="1200" cap="none" spc="0" baseline="0">
                          <a:solidFill>
                            <a:schemeClr val="dk1"/>
                          </a:solidFill>
                          <a:uFillTx/>
                          <a:latin typeface="Calibri" panose="020F0502020204030204"/>
                          <a:ea typeface="Helvetica Light"/>
                          <a:cs typeface="Helvetica Light"/>
                          <a:sym typeface="Helvetica Light"/>
                        </a:defRPr>
                      </a:lvl8pPr>
                      <a:lvl9pPr marL="0" marR="0" indent="914377" algn="ctr" defTabSz="41075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200" b="0" i="0" u="none" strike="noStrike" kern="1200" cap="none" spc="0" baseline="0">
                          <a:solidFill>
                            <a:schemeClr val="dk1"/>
                          </a:solidFill>
                          <a:uFillTx/>
                          <a:latin typeface="Calibri" panose="020F0502020204030204"/>
                          <a:ea typeface="Helvetica Light"/>
                          <a:cs typeface="Helvetica Light"/>
                          <a:sym typeface="Helvetica Light"/>
                        </a:defRPr>
                      </a:lvl9pPr>
                    </a:lstStyle>
                    <a:p>
                      <a:pPr marL="234900" indent="-171450" algn="l">
                        <a:buFont typeface="Arial" panose="020B0604020202020204" pitchFamily="34" charset="0"/>
                        <a:buChar char="•"/>
                      </a:pPr>
                      <a:endParaRPr lang="pt-BR" sz="1200" b="0" i="0" u="none" strike="noStrike" kern="1200" cap="none" spc="0" baseline="0" dirty="0">
                        <a:solidFill>
                          <a:schemeClr val="tx1"/>
                        </a:solidFill>
                        <a:uFillTx/>
                        <a:latin typeface="Calibri" panose="020F0502020204030204"/>
                        <a:ea typeface="Helvetica Light"/>
                        <a:cs typeface="Calibri" panose="020F0502020204030204" pitchFamily="34" charset="0"/>
                        <a:sym typeface="Helvetica Light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15" name="Gráfico 14">
            <a:extLst>
              <a:ext uri="{FF2B5EF4-FFF2-40B4-BE49-F238E27FC236}">
                <a16:creationId xmlns:a16="http://schemas.microsoft.com/office/drawing/2014/main" id="{9CAB53EA-A6A9-E28D-2782-BD221BC3332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102556346"/>
              </p:ext>
            </p:extLst>
          </p:nvPr>
        </p:nvGraphicFramePr>
        <p:xfrm>
          <a:off x="244644" y="1813111"/>
          <a:ext cx="5695174" cy="252582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pic>
        <p:nvPicPr>
          <p:cNvPr id="1028" name="Picture 4" descr="emocional humor escala emoji. cliente satisfação indicador emoticons  isolado vetor. 40368827 Vetor no Vecteezy">
            <a:extLst>
              <a:ext uri="{FF2B5EF4-FFF2-40B4-BE49-F238E27FC236}">
                <a16:creationId xmlns:a16="http://schemas.microsoft.com/office/drawing/2014/main" id="{F91333C7-C588-CF1F-ADDB-C2E3745A108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ackgroundRemoval t="10000" b="90000" l="10000" r="90000">
                        <a14:foregroundMark x1="12624" y1="45600" x2="12129" y2="60000"/>
                        <a14:foregroundMark x1="29455" y1="46400" x2="30198" y2="56800"/>
                        <a14:foregroundMark x1="45792" y1="51200" x2="45545" y2="56800"/>
                        <a14:foregroundMark x1="77970" y1="44000" x2="75495" y2="55200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8999" t="23627" r="73353" b="19759"/>
          <a:stretch>
            <a:fillRect/>
          </a:stretch>
        </p:blipFill>
        <p:spPr bwMode="auto">
          <a:xfrm>
            <a:off x="445340" y="-609651"/>
            <a:ext cx="679134" cy="6740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4" descr="emocional humor escala emoji. cliente satisfação indicador emoticons  isolado vetor. 40368827 Vetor no Vecteezy">
            <a:extLst>
              <a:ext uri="{FF2B5EF4-FFF2-40B4-BE49-F238E27FC236}">
                <a16:creationId xmlns:a16="http://schemas.microsoft.com/office/drawing/2014/main" id="{28715535-6C71-34BD-8E29-EBAB9604A01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ackgroundRemoval t="10000" b="90000" l="10000" r="90000">
                        <a14:foregroundMark x1="12624" y1="45600" x2="12129" y2="60000"/>
                        <a14:foregroundMark x1="29455" y1="46400" x2="30198" y2="56800"/>
                        <a14:foregroundMark x1="45792" y1="51200" x2="45545" y2="56800"/>
                        <a14:foregroundMark x1="77970" y1="44000" x2="75495" y2="55200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41127" t="17645" r="41224" b="21881"/>
          <a:stretch>
            <a:fillRect/>
          </a:stretch>
        </p:blipFill>
        <p:spPr bwMode="auto">
          <a:xfrm>
            <a:off x="1040258" y="-681868"/>
            <a:ext cx="679134" cy="7200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" name="Picture 4" descr="emocional humor escala emoji. cliente satisfação indicador emoticons  isolado vetor. 40368827 Vetor no Vecteezy">
            <a:extLst>
              <a:ext uri="{FF2B5EF4-FFF2-40B4-BE49-F238E27FC236}">
                <a16:creationId xmlns:a16="http://schemas.microsoft.com/office/drawing/2014/main" id="{37ECEE25-C837-3A82-BFB4-B28EF22DA33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ackgroundRemoval t="10000" b="90000" l="10000" r="90000">
                        <a14:foregroundMark x1="12624" y1="45600" x2="12129" y2="60000"/>
                        <a14:foregroundMark x1="29455" y1="46400" x2="30198" y2="56800"/>
                        <a14:foregroundMark x1="45792" y1="51200" x2="45545" y2="56800"/>
                        <a14:foregroundMark x1="77970" y1="44000" x2="75495" y2="55200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73850" t="20889" r="8501" b="22498"/>
          <a:stretch>
            <a:fillRect/>
          </a:stretch>
        </p:blipFill>
        <p:spPr bwMode="auto">
          <a:xfrm>
            <a:off x="1719392" y="-642194"/>
            <a:ext cx="679134" cy="6740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CaixaDeTexto 24">
            <a:extLst>
              <a:ext uri="{FF2B5EF4-FFF2-40B4-BE49-F238E27FC236}">
                <a16:creationId xmlns:a16="http://schemas.microsoft.com/office/drawing/2014/main" id="{91F9B325-089B-0A34-38A6-BF3AE1B9368A}"/>
              </a:ext>
            </a:extLst>
          </p:cNvPr>
          <p:cNvSpPr txBox="1"/>
          <p:nvPr/>
        </p:nvSpPr>
        <p:spPr>
          <a:xfrm>
            <a:off x="-375744" y="-1008931"/>
            <a:ext cx="7972096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kumimoji="0" lang="pt-BR" sz="1400" b="0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FillTx/>
                <a:latin typeface="+mn-lt"/>
                <a:ea typeface="Calibri" panose="020F0502020204030204" pitchFamily="34" charset="0"/>
                <a:cs typeface="Calibri" panose="020F0502020204030204" pitchFamily="34" charset="0"/>
                <a:sym typeface="Helvetica Light"/>
              </a:rPr>
              <a:t>separação de resíduos </a:t>
            </a:r>
            <a:endParaRPr lang="en-US" dirty="0"/>
          </a:p>
        </p:txBody>
      </p:sp>
      <p:graphicFrame>
        <p:nvGraphicFramePr>
          <p:cNvPr id="28" name="Table 44">
            <a:extLst>
              <a:ext uri="{FF2B5EF4-FFF2-40B4-BE49-F238E27FC236}">
                <a16:creationId xmlns:a16="http://schemas.microsoft.com/office/drawing/2014/main" id="{E36185AF-6302-F189-08FD-22AEFCBA46B8}"/>
              </a:ext>
            </a:extLst>
          </p:cNvPr>
          <p:cNvGraphicFramePr>
            <a:graphicFrameLocks noGrp="1"/>
          </p:cNvGraphicFramePr>
          <p:nvPr/>
        </p:nvGraphicFramePr>
        <p:xfrm>
          <a:off x="3133476" y="4841845"/>
          <a:ext cx="2892753" cy="1881103"/>
        </p:xfrm>
        <a:graphic>
          <a:graphicData uri="http://schemas.openxmlformats.org/drawingml/2006/table">
            <a:tbl>
              <a:tblPr firstRow="1" bandRow="1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tblPr>
              <a:tblGrid>
                <a:gridCol w="289275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85985">
                <a:tc>
                  <a:txBody>
                    <a:bodyPr/>
                    <a:lstStyle>
                      <a:lvl1pPr marL="0" marR="0" indent="0" algn="ctr" defTabSz="410755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2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Calibri"/>
                          <a:sym typeface="Helvetica Light"/>
                        </a:defRPr>
                      </a:lvl1pPr>
                      <a:lvl2pPr marL="0" marR="0" indent="114297" algn="ctr" defTabSz="410755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2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Calibri"/>
                          <a:sym typeface="Helvetica Light"/>
                        </a:defRPr>
                      </a:lvl2pPr>
                      <a:lvl3pPr marL="0" marR="0" indent="228594" algn="ctr" defTabSz="410755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2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Calibri"/>
                          <a:sym typeface="Helvetica Light"/>
                        </a:defRPr>
                      </a:lvl3pPr>
                      <a:lvl4pPr marL="0" marR="0" indent="342891" algn="ctr" defTabSz="410755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2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Calibri"/>
                          <a:sym typeface="Helvetica Light"/>
                        </a:defRPr>
                      </a:lvl4pPr>
                      <a:lvl5pPr marL="0" marR="0" indent="457189" algn="ctr" defTabSz="410755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2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Calibri"/>
                          <a:sym typeface="Helvetica Light"/>
                        </a:defRPr>
                      </a:lvl5pPr>
                      <a:lvl6pPr marL="0" marR="0" indent="571486" algn="ctr" defTabSz="410755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2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Calibri"/>
                          <a:sym typeface="Helvetica Light"/>
                        </a:defRPr>
                      </a:lvl6pPr>
                      <a:lvl7pPr marL="0" marR="0" indent="685783" algn="ctr" defTabSz="410755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2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Calibri"/>
                          <a:sym typeface="Helvetica Light"/>
                        </a:defRPr>
                      </a:lvl7pPr>
                      <a:lvl8pPr marL="0" marR="0" indent="800080" algn="ctr" defTabSz="410755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2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Calibri"/>
                          <a:sym typeface="Helvetica Light"/>
                        </a:defRPr>
                      </a:lvl8pPr>
                      <a:lvl9pPr marL="0" marR="0" indent="914377" algn="ctr" defTabSz="410755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2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Calibri"/>
                          <a:sym typeface="Helvetica Light"/>
                        </a:defRPr>
                      </a:lvl9pPr>
                    </a:lstStyle>
                    <a:p>
                      <a:pPr marL="0" marR="0" indent="0" algn="l" defTabSz="41075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pt-BR" sz="1000" b="1" i="0" u="none" strike="noStrike" kern="1200" cap="none" spc="0" baseline="0" dirty="0">
                          <a:solidFill>
                            <a:schemeClr val="tx1"/>
                          </a:solidFill>
                          <a:uFillTx/>
                          <a:latin typeface="+mn-lt"/>
                          <a:cs typeface="Arial" pitchFamily="34" charset="0"/>
                          <a:sym typeface="Helvetica Light"/>
                        </a:rPr>
                        <a:t>Nível de Satisfação 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0B7C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38078097"/>
                  </a:ext>
                </a:extLst>
              </a:tr>
              <a:tr h="1595118">
                <a:tc>
                  <a:txBody>
                    <a:bodyPr/>
                    <a:lstStyle>
                      <a:lvl1pPr marL="0" marR="0" indent="0" algn="ctr" defTabSz="41075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200" b="0" i="0" u="none" strike="noStrike" kern="1200" cap="none" spc="0" baseline="0">
                          <a:solidFill>
                            <a:schemeClr val="dk1"/>
                          </a:solidFill>
                          <a:uFillTx/>
                          <a:latin typeface="Calibri" panose="020F0502020204030204"/>
                          <a:ea typeface="Helvetica Light"/>
                          <a:cs typeface="Helvetica Light"/>
                          <a:sym typeface="Helvetica Light"/>
                        </a:defRPr>
                      </a:lvl1pPr>
                      <a:lvl2pPr marL="0" marR="0" indent="114297" algn="ctr" defTabSz="41075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200" b="0" i="0" u="none" strike="noStrike" kern="1200" cap="none" spc="0" baseline="0">
                          <a:solidFill>
                            <a:schemeClr val="dk1"/>
                          </a:solidFill>
                          <a:uFillTx/>
                          <a:latin typeface="Calibri" panose="020F0502020204030204"/>
                          <a:ea typeface="Helvetica Light"/>
                          <a:cs typeface="Helvetica Light"/>
                          <a:sym typeface="Helvetica Light"/>
                        </a:defRPr>
                      </a:lvl2pPr>
                      <a:lvl3pPr marL="0" marR="0" indent="228594" algn="ctr" defTabSz="41075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200" b="0" i="0" u="none" strike="noStrike" kern="1200" cap="none" spc="0" baseline="0">
                          <a:solidFill>
                            <a:schemeClr val="dk1"/>
                          </a:solidFill>
                          <a:uFillTx/>
                          <a:latin typeface="Calibri" panose="020F0502020204030204"/>
                          <a:ea typeface="Helvetica Light"/>
                          <a:cs typeface="Helvetica Light"/>
                          <a:sym typeface="Helvetica Light"/>
                        </a:defRPr>
                      </a:lvl3pPr>
                      <a:lvl4pPr marL="0" marR="0" indent="342891" algn="ctr" defTabSz="41075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200" b="0" i="0" u="none" strike="noStrike" kern="1200" cap="none" spc="0" baseline="0">
                          <a:solidFill>
                            <a:schemeClr val="dk1"/>
                          </a:solidFill>
                          <a:uFillTx/>
                          <a:latin typeface="Calibri" panose="020F0502020204030204"/>
                          <a:ea typeface="Helvetica Light"/>
                          <a:cs typeface="Helvetica Light"/>
                          <a:sym typeface="Helvetica Light"/>
                        </a:defRPr>
                      </a:lvl4pPr>
                      <a:lvl5pPr marL="0" marR="0" indent="457189" algn="ctr" defTabSz="41075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200" b="0" i="0" u="none" strike="noStrike" kern="1200" cap="none" spc="0" baseline="0">
                          <a:solidFill>
                            <a:schemeClr val="dk1"/>
                          </a:solidFill>
                          <a:uFillTx/>
                          <a:latin typeface="Calibri" panose="020F0502020204030204"/>
                          <a:ea typeface="Helvetica Light"/>
                          <a:cs typeface="Helvetica Light"/>
                          <a:sym typeface="Helvetica Light"/>
                        </a:defRPr>
                      </a:lvl5pPr>
                      <a:lvl6pPr marL="0" marR="0" indent="571486" algn="ctr" defTabSz="41075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200" b="0" i="0" u="none" strike="noStrike" kern="1200" cap="none" spc="0" baseline="0">
                          <a:solidFill>
                            <a:schemeClr val="dk1"/>
                          </a:solidFill>
                          <a:uFillTx/>
                          <a:latin typeface="Calibri" panose="020F0502020204030204"/>
                          <a:ea typeface="Helvetica Light"/>
                          <a:cs typeface="Helvetica Light"/>
                          <a:sym typeface="Helvetica Light"/>
                        </a:defRPr>
                      </a:lvl6pPr>
                      <a:lvl7pPr marL="0" marR="0" indent="685783" algn="ctr" defTabSz="41075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200" b="0" i="0" u="none" strike="noStrike" kern="1200" cap="none" spc="0" baseline="0">
                          <a:solidFill>
                            <a:schemeClr val="dk1"/>
                          </a:solidFill>
                          <a:uFillTx/>
                          <a:latin typeface="Calibri" panose="020F0502020204030204"/>
                          <a:ea typeface="Helvetica Light"/>
                          <a:cs typeface="Helvetica Light"/>
                          <a:sym typeface="Helvetica Light"/>
                        </a:defRPr>
                      </a:lvl7pPr>
                      <a:lvl8pPr marL="0" marR="0" indent="800080" algn="ctr" defTabSz="41075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200" b="0" i="0" u="none" strike="noStrike" kern="1200" cap="none" spc="0" baseline="0">
                          <a:solidFill>
                            <a:schemeClr val="dk1"/>
                          </a:solidFill>
                          <a:uFillTx/>
                          <a:latin typeface="Calibri" panose="020F0502020204030204"/>
                          <a:ea typeface="Helvetica Light"/>
                          <a:cs typeface="Helvetica Light"/>
                          <a:sym typeface="Helvetica Light"/>
                        </a:defRPr>
                      </a:lvl8pPr>
                      <a:lvl9pPr marL="0" marR="0" indent="914377" algn="ctr" defTabSz="41075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200" b="0" i="0" u="none" strike="noStrike" kern="1200" cap="none" spc="0" baseline="0">
                          <a:solidFill>
                            <a:schemeClr val="dk1"/>
                          </a:solidFill>
                          <a:uFillTx/>
                          <a:latin typeface="Calibri" panose="020F0502020204030204"/>
                          <a:ea typeface="Helvetica Light"/>
                          <a:cs typeface="Helvetica Light"/>
                          <a:sym typeface="Helvetica Light"/>
                        </a:defRPr>
                      </a:lvl9pPr>
                    </a:lstStyle>
                    <a:p>
                      <a:pPr marL="63450" indent="0" algn="l">
                        <a:buFont typeface="Arial" panose="020B0604020202020204" pitchFamily="34" charset="0"/>
                        <a:buNone/>
                      </a:pPr>
                      <a:r>
                        <a:rPr kumimoji="0" lang="pt-BR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FillTx/>
                          <a:latin typeface="Calibri" panose="020F0502020204030204"/>
                          <a:ea typeface="Calibri" panose="020F0502020204030204" pitchFamily="34" charset="0"/>
                          <a:cs typeface="Calibri" panose="020F0502020204030204" pitchFamily="34" charset="0"/>
                          <a:sym typeface="Helvetica Light"/>
                        </a:rPr>
                        <a:t>Como está o nível de satisfação de separação de resíduos ?</a:t>
                      </a:r>
                    </a:p>
                    <a:p>
                      <a:pPr marL="63450" indent="0" algn="l">
                        <a:buFont typeface="Arial" panose="020B0604020202020204" pitchFamily="34" charset="0"/>
                        <a:buNone/>
                      </a:pPr>
                      <a:endParaRPr kumimoji="0" lang="pt-BR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FillTx/>
                        <a:latin typeface="Calibri" panose="020F0502020204030204"/>
                        <a:ea typeface="Calibri" panose="020F0502020204030204" pitchFamily="34" charset="0"/>
                        <a:cs typeface="Calibri" panose="020F0502020204030204" pitchFamily="34" charset="0"/>
                        <a:sym typeface="Helvetica Light"/>
                      </a:endParaRPr>
                    </a:p>
                    <a:p>
                      <a:pPr marL="234900" indent="-171450" algn="l">
                        <a:buFont typeface="Arial" panose="020B0604020202020204" pitchFamily="34" charset="0"/>
                        <a:buChar char="•"/>
                      </a:pPr>
                      <a:r>
                        <a:rPr kumimoji="0" lang="pt-BR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FillTx/>
                          <a:latin typeface="Calibri" panose="020F0502020204030204"/>
                          <a:ea typeface="Helvetica Light"/>
                          <a:cs typeface="Calibri" panose="020F0502020204030204" pitchFamily="34" charset="0"/>
                          <a:sym typeface="Helvetica Light"/>
                        </a:rPr>
                        <a:t>Ótimo </a:t>
                      </a:r>
                    </a:p>
                    <a:p>
                      <a:pPr marL="234900" indent="-171450" algn="l">
                        <a:buFont typeface="Arial" panose="020B0604020202020204" pitchFamily="34" charset="0"/>
                        <a:buChar char="•"/>
                      </a:pPr>
                      <a:r>
                        <a:rPr kumimoji="0" lang="pt-BR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FillTx/>
                          <a:latin typeface="Calibri" panose="020F0502020204030204"/>
                          <a:ea typeface="Helvetica Light"/>
                          <a:cs typeface="Calibri" panose="020F0502020204030204" pitchFamily="34" charset="0"/>
                          <a:sym typeface="Helvetica Light"/>
                        </a:rPr>
                        <a:t>Bom </a:t>
                      </a:r>
                    </a:p>
                    <a:p>
                      <a:pPr marL="234900" indent="-171450" algn="l">
                        <a:buFont typeface="Arial" panose="020B0604020202020204" pitchFamily="34" charset="0"/>
                        <a:buChar char="•"/>
                      </a:pPr>
                      <a:r>
                        <a:rPr kumimoji="0" lang="pt-BR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FillTx/>
                          <a:latin typeface="Calibri" panose="020F0502020204030204"/>
                          <a:ea typeface="Helvetica Light"/>
                          <a:cs typeface="Calibri" panose="020F0502020204030204" pitchFamily="34" charset="0"/>
                          <a:sym typeface="Helvetica Light"/>
                        </a:rPr>
                        <a:t>Regular </a:t>
                      </a:r>
                      <a:endParaRPr lang="pt-BR" sz="1200" b="0" i="0" u="none" strike="noStrike" kern="1200" cap="none" spc="0" baseline="0" dirty="0">
                        <a:solidFill>
                          <a:schemeClr val="tx1"/>
                        </a:solidFill>
                        <a:uFillTx/>
                        <a:latin typeface="Calibri" panose="020F0502020204030204"/>
                        <a:ea typeface="Helvetica Light"/>
                        <a:cs typeface="Calibri" panose="020F0502020204030204" pitchFamily="34" charset="0"/>
                        <a:sym typeface="Helvetica Light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34" name="Table 44">
            <a:extLst>
              <a:ext uri="{FF2B5EF4-FFF2-40B4-BE49-F238E27FC236}">
                <a16:creationId xmlns:a16="http://schemas.microsoft.com/office/drawing/2014/main" id="{56FB2F00-CB91-7C4A-F2F6-99F5F0469D7D}"/>
              </a:ext>
            </a:extLst>
          </p:cNvPr>
          <p:cNvGraphicFramePr>
            <a:graphicFrameLocks noGrp="1"/>
          </p:cNvGraphicFramePr>
          <p:nvPr/>
        </p:nvGraphicFramePr>
        <p:xfrm>
          <a:off x="6194252" y="1642252"/>
          <a:ext cx="5929983" cy="3044810"/>
        </p:xfrm>
        <a:graphic>
          <a:graphicData uri="http://schemas.openxmlformats.org/drawingml/2006/table">
            <a:tbl>
              <a:tblPr firstRow="1" bandRow="1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tblPr>
              <a:tblGrid>
                <a:gridCol w="592998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044810">
                <a:tc>
                  <a:txBody>
                    <a:bodyPr/>
                    <a:lstStyle>
                      <a:lvl1pPr marL="0" marR="0" indent="0" algn="ctr" defTabSz="41075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200" b="0" i="0" u="none" strike="noStrike" kern="1200" cap="none" spc="0" baseline="0">
                          <a:solidFill>
                            <a:schemeClr val="dk1"/>
                          </a:solidFill>
                          <a:uFillTx/>
                          <a:latin typeface="Calibri" panose="020F0502020204030204"/>
                          <a:ea typeface="Helvetica Light"/>
                          <a:cs typeface="Helvetica Light"/>
                          <a:sym typeface="Helvetica Light"/>
                        </a:defRPr>
                      </a:lvl1pPr>
                      <a:lvl2pPr marL="0" marR="0" indent="114297" algn="ctr" defTabSz="41075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200" b="0" i="0" u="none" strike="noStrike" kern="1200" cap="none" spc="0" baseline="0">
                          <a:solidFill>
                            <a:schemeClr val="dk1"/>
                          </a:solidFill>
                          <a:uFillTx/>
                          <a:latin typeface="Calibri" panose="020F0502020204030204"/>
                          <a:ea typeface="Helvetica Light"/>
                          <a:cs typeface="Helvetica Light"/>
                          <a:sym typeface="Helvetica Light"/>
                        </a:defRPr>
                      </a:lvl2pPr>
                      <a:lvl3pPr marL="0" marR="0" indent="228594" algn="ctr" defTabSz="41075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200" b="0" i="0" u="none" strike="noStrike" kern="1200" cap="none" spc="0" baseline="0">
                          <a:solidFill>
                            <a:schemeClr val="dk1"/>
                          </a:solidFill>
                          <a:uFillTx/>
                          <a:latin typeface="Calibri" panose="020F0502020204030204"/>
                          <a:ea typeface="Helvetica Light"/>
                          <a:cs typeface="Helvetica Light"/>
                          <a:sym typeface="Helvetica Light"/>
                        </a:defRPr>
                      </a:lvl3pPr>
                      <a:lvl4pPr marL="0" marR="0" indent="342891" algn="ctr" defTabSz="41075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200" b="0" i="0" u="none" strike="noStrike" kern="1200" cap="none" spc="0" baseline="0">
                          <a:solidFill>
                            <a:schemeClr val="dk1"/>
                          </a:solidFill>
                          <a:uFillTx/>
                          <a:latin typeface="Calibri" panose="020F0502020204030204"/>
                          <a:ea typeface="Helvetica Light"/>
                          <a:cs typeface="Helvetica Light"/>
                          <a:sym typeface="Helvetica Light"/>
                        </a:defRPr>
                      </a:lvl4pPr>
                      <a:lvl5pPr marL="0" marR="0" indent="457189" algn="ctr" defTabSz="41075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200" b="0" i="0" u="none" strike="noStrike" kern="1200" cap="none" spc="0" baseline="0">
                          <a:solidFill>
                            <a:schemeClr val="dk1"/>
                          </a:solidFill>
                          <a:uFillTx/>
                          <a:latin typeface="Calibri" panose="020F0502020204030204"/>
                          <a:ea typeface="Helvetica Light"/>
                          <a:cs typeface="Helvetica Light"/>
                          <a:sym typeface="Helvetica Light"/>
                        </a:defRPr>
                      </a:lvl5pPr>
                      <a:lvl6pPr marL="0" marR="0" indent="571486" algn="ctr" defTabSz="41075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200" b="0" i="0" u="none" strike="noStrike" kern="1200" cap="none" spc="0" baseline="0">
                          <a:solidFill>
                            <a:schemeClr val="dk1"/>
                          </a:solidFill>
                          <a:uFillTx/>
                          <a:latin typeface="Calibri" panose="020F0502020204030204"/>
                          <a:ea typeface="Helvetica Light"/>
                          <a:cs typeface="Helvetica Light"/>
                          <a:sym typeface="Helvetica Light"/>
                        </a:defRPr>
                      </a:lvl6pPr>
                      <a:lvl7pPr marL="0" marR="0" indent="685783" algn="ctr" defTabSz="41075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200" b="0" i="0" u="none" strike="noStrike" kern="1200" cap="none" spc="0" baseline="0">
                          <a:solidFill>
                            <a:schemeClr val="dk1"/>
                          </a:solidFill>
                          <a:uFillTx/>
                          <a:latin typeface="Calibri" panose="020F0502020204030204"/>
                          <a:ea typeface="Helvetica Light"/>
                          <a:cs typeface="Helvetica Light"/>
                          <a:sym typeface="Helvetica Light"/>
                        </a:defRPr>
                      </a:lvl7pPr>
                      <a:lvl8pPr marL="0" marR="0" indent="800080" algn="ctr" defTabSz="41075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200" b="0" i="0" u="none" strike="noStrike" kern="1200" cap="none" spc="0" baseline="0">
                          <a:solidFill>
                            <a:schemeClr val="dk1"/>
                          </a:solidFill>
                          <a:uFillTx/>
                          <a:latin typeface="Calibri" panose="020F0502020204030204"/>
                          <a:ea typeface="Helvetica Light"/>
                          <a:cs typeface="Helvetica Light"/>
                          <a:sym typeface="Helvetica Light"/>
                        </a:defRPr>
                      </a:lvl8pPr>
                      <a:lvl9pPr marL="0" marR="0" indent="914377" algn="ctr" defTabSz="41075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200" b="0" i="0" u="none" strike="noStrike" kern="1200" cap="none" spc="0" baseline="0">
                          <a:solidFill>
                            <a:schemeClr val="dk1"/>
                          </a:solidFill>
                          <a:uFillTx/>
                          <a:latin typeface="Calibri" panose="020F0502020204030204"/>
                          <a:ea typeface="Helvetica Light"/>
                          <a:cs typeface="Helvetica Light"/>
                          <a:sym typeface="Helvetica Light"/>
                        </a:defRPr>
                      </a:lvl9pPr>
                    </a:lstStyle>
                    <a:p>
                      <a:pPr marL="0" marR="0" lvl="0" indent="0" algn="just" defTabSz="41075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pt-BR" sz="1200" b="0" i="0" u="none" strike="noStrike" kern="1200" cap="none" spc="0" baseline="0" dirty="0">
                        <a:solidFill>
                          <a:schemeClr val="tx1"/>
                        </a:solidFill>
                        <a:uFillTx/>
                        <a:latin typeface="Calibri" panose="020F0502020204030204"/>
                        <a:ea typeface="Helvetica Light"/>
                        <a:cs typeface="Calibri" panose="020F0502020204030204" pitchFamily="34" charset="0"/>
                        <a:sym typeface="Helvetica Light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pic>
        <p:nvPicPr>
          <p:cNvPr id="36" name="Imagem 35" descr="Forma&#10;&#10;O conteúdo gerado por IA pode estar incorreto.">
            <a:extLst>
              <a:ext uri="{FF2B5EF4-FFF2-40B4-BE49-F238E27FC236}">
                <a16:creationId xmlns:a16="http://schemas.microsoft.com/office/drawing/2014/main" id="{3B3AFCE6-4237-AA09-A5BB-B0A3CB4F2044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800316" y="1984163"/>
            <a:ext cx="2418759" cy="2418759"/>
          </a:xfrm>
          <a:prstGeom prst="rect">
            <a:avLst/>
          </a:prstGeom>
        </p:spPr>
      </p:pic>
      <p:graphicFrame>
        <p:nvGraphicFramePr>
          <p:cNvPr id="37" name="Table 44">
            <a:extLst>
              <a:ext uri="{FF2B5EF4-FFF2-40B4-BE49-F238E27FC236}">
                <a16:creationId xmlns:a16="http://schemas.microsoft.com/office/drawing/2014/main" id="{85DFD934-7641-EA88-F346-1C7B5E43D6B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72502049"/>
              </p:ext>
            </p:extLst>
          </p:nvPr>
        </p:nvGraphicFramePr>
        <p:xfrm>
          <a:off x="6194253" y="4841845"/>
          <a:ext cx="5894021" cy="1881103"/>
        </p:xfrm>
        <a:graphic>
          <a:graphicData uri="http://schemas.openxmlformats.org/drawingml/2006/table">
            <a:tbl>
              <a:tblPr firstRow="1" bandRow="1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tblPr>
              <a:tblGrid>
                <a:gridCol w="589402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19339">
                <a:tc>
                  <a:txBody>
                    <a:bodyPr/>
                    <a:lstStyle>
                      <a:lvl1pPr marL="0" marR="0" indent="0" algn="ctr" defTabSz="410755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2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Calibri"/>
                          <a:sym typeface="Helvetica Light"/>
                        </a:defRPr>
                      </a:lvl1pPr>
                      <a:lvl2pPr marL="0" marR="0" indent="114297" algn="ctr" defTabSz="410755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2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Calibri"/>
                          <a:sym typeface="Helvetica Light"/>
                        </a:defRPr>
                      </a:lvl2pPr>
                      <a:lvl3pPr marL="0" marR="0" indent="228594" algn="ctr" defTabSz="410755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2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Calibri"/>
                          <a:sym typeface="Helvetica Light"/>
                        </a:defRPr>
                      </a:lvl3pPr>
                      <a:lvl4pPr marL="0" marR="0" indent="342891" algn="ctr" defTabSz="410755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2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Calibri"/>
                          <a:sym typeface="Helvetica Light"/>
                        </a:defRPr>
                      </a:lvl4pPr>
                      <a:lvl5pPr marL="0" marR="0" indent="457189" algn="ctr" defTabSz="410755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2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Calibri"/>
                          <a:sym typeface="Helvetica Light"/>
                        </a:defRPr>
                      </a:lvl5pPr>
                      <a:lvl6pPr marL="0" marR="0" indent="571486" algn="ctr" defTabSz="410755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2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Calibri"/>
                          <a:sym typeface="Helvetica Light"/>
                        </a:defRPr>
                      </a:lvl6pPr>
                      <a:lvl7pPr marL="0" marR="0" indent="685783" algn="ctr" defTabSz="410755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2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Calibri"/>
                          <a:sym typeface="Helvetica Light"/>
                        </a:defRPr>
                      </a:lvl7pPr>
                      <a:lvl8pPr marL="0" marR="0" indent="800080" algn="ctr" defTabSz="410755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2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Calibri"/>
                          <a:sym typeface="Helvetica Light"/>
                        </a:defRPr>
                      </a:lvl8pPr>
                      <a:lvl9pPr marL="0" marR="0" indent="914377" algn="ctr" defTabSz="410755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2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Calibri"/>
                          <a:sym typeface="Helvetica Light"/>
                        </a:defRPr>
                      </a:lvl9pPr>
                    </a:lstStyle>
                    <a:p>
                      <a:pPr marL="0" marR="0" indent="0" algn="l" defTabSz="41075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pt-BR" sz="1000" b="1" i="0" u="none" strike="noStrike" kern="1200" cap="none" spc="0" baseline="0" dirty="0">
                          <a:solidFill>
                            <a:schemeClr val="tx1"/>
                          </a:solidFill>
                          <a:uFillTx/>
                          <a:latin typeface="+mn-lt"/>
                          <a:cs typeface="Arial" pitchFamily="34" charset="0"/>
                          <a:sym typeface="Helvetica Light"/>
                        </a:rPr>
                        <a:t>Observações 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0B7C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38078097"/>
                  </a:ext>
                </a:extLst>
              </a:tr>
              <a:tr h="1637263">
                <a:tc>
                  <a:txBody>
                    <a:bodyPr/>
                    <a:lstStyle>
                      <a:lvl1pPr marL="0" marR="0" indent="0" algn="ctr" defTabSz="41075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200" b="0" i="0" u="none" strike="noStrike" kern="1200" cap="none" spc="0" baseline="0">
                          <a:solidFill>
                            <a:schemeClr val="dk1"/>
                          </a:solidFill>
                          <a:uFillTx/>
                          <a:latin typeface="Calibri" panose="020F0502020204030204"/>
                          <a:ea typeface="Helvetica Light"/>
                          <a:cs typeface="Helvetica Light"/>
                          <a:sym typeface="Helvetica Light"/>
                        </a:defRPr>
                      </a:lvl1pPr>
                      <a:lvl2pPr marL="0" marR="0" indent="114297" algn="ctr" defTabSz="41075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200" b="0" i="0" u="none" strike="noStrike" kern="1200" cap="none" spc="0" baseline="0">
                          <a:solidFill>
                            <a:schemeClr val="dk1"/>
                          </a:solidFill>
                          <a:uFillTx/>
                          <a:latin typeface="Calibri" panose="020F0502020204030204"/>
                          <a:ea typeface="Helvetica Light"/>
                          <a:cs typeface="Helvetica Light"/>
                          <a:sym typeface="Helvetica Light"/>
                        </a:defRPr>
                      </a:lvl2pPr>
                      <a:lvl3pPr marL="0" marR="0" indent="228594" algn="ctr" defTabSz="41075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200" b="0" i="0" u="none" strike="noStrike" kern="1200" cap="none" spc="0" baseline="0">
                          <a:solidFill>
                            <a:schemeClr val="dk1"/>
                          </a:solidFill>
                          <a:uFillTx/>
                          <a:latin typeface="Calibri" panose="020F0502020204030204"/>
                          <a:ea typeface="Helvetica Light"/>
                          <a:cs typeface="Helvetica Light"/>
                          <a:sym typeface="Helvetica Light"/>
                        </a:defRPr>
                      </a:lvl3pPr>
                      <a:lvl4pPr marL="0" marR="0" indent="342891" algn="ctr" defTabSz="41075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200" b="0" i="0" u="none" strike="noStrike" kern="1200" cap="none" spc="0" baseline="0">
                          <a:solidFill>
                            <a:schemeClr val="dk1"/>
                          </a:solidFill>
                          <a:uFillTx/>
                          <a:latin typeface="Calibri" panose="020F0502020204030204"/>
                          <a:ea typeface="Helvetica Light"/>
                          <a:cs typeface="Helvetica Light"/>
                          <a:sym typeface="Helvetica Light"/>
                        </a:defRPr>
                      </a:lvl4pPr>
                      <a:lvl5pPr marL="0" marR="0" indent="457189" algn="ctr" defTabSz="41075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200" b="0" i="0" u="none" strike="noStrike" kern="1200" cap="none" spc="0" baseline="0">
                          <a:solidFill>
                            <a:schemeClr val="dk1"/>
                          </a:solidFill>
                          <a:uFillTx/>
                          <a:latin typeface="Calibri" panose="020F0502020204030204"/>
                          <a:ea typeface="Helvetica Light"/>
                          <a:cs typeface="Helvetica Light"/>
                          <a:sym typeface="Helvetica Light"/>
                        </a:defRPr>
                      </a:lvl5pPr>
                      <a:lvl6pPr marL="0" marR="0" indent="571486" algn="ctr" defTabSz="41075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200" b="0" i="0" u="none" strike="noStrike" kern="1200" cap="none" spc="0" baseline="0">
                          <a:solidFill>
                            <a:schemeClr val="dk1"/>
                          </a:solidFill>
                          <a:uFillTx/>
                          <a:latin typeface="Calibri" panose="020F0502020204030204"/>
                          <a:ea typeface="Helvetica Light"/>
                          <a:cs typeface="Helvetica Light"/>
                          <a:sym typeface="Helvetica Light"/>
                        </a:defRPr>
                      </a:lvl6pPr>
                      <a:lvl7pPr marL="0" marR="0" indent="685783" algn="ctr" defTabSz="41075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200" b="0" i="0" u="none" strike="noStrike" kern="1200" cap="none" spc="0" baseline="0">
                          <a:solidFill>
                            <a:schemeClr val="dk1"/>
                          </a:solidFill>
                          <a:uFillTx/>
                          <a:latin typeface="Calibri" panose="020F0502020204030204"/>
                          <a:ea typeface="Helvetica Light"/>
                          <a:cs typeface="Helvetica Light"/>
                          <a:sym typeface="Helvetica Light"/>
                        </a:defRPr>
                      </a:lvl7pPr>
                      <a:lvl8pPr marL="0" marR="0" indent="800080" algn="ctr" defTabSz="41075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200" b="0" i="0" u="none" strike="noStrike" kern="1200" cap="none" spc="0" baseline="0">
                          <a:solidFill>
                            <a:schemeClr val="dk1"/>
                          </a:solidFill>
                          <a:uFillTx/>
                          <a:latin typeface="Calibri" panose="020F0502020204030204"/>
                          <a:ea typeface="Helvetica Light"/>
                          <a:cs typeface="Helvetica Light"/>
                          <a:sym typeface="Helvetica Light"/>
                        </a:defRPr>
                      </a:lvl8pPr>
                      <a:lvl9pPr marL="0" marR="0" indent="914377" algn="ctr" defTabSz="41075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200" b="0" i="0" u="none" strike="noStrike" kern="1200" cap="none" spc="0" baseline="0">
                          <a:solidFill>
                            <a:schemeClr val="dk1"/>
                          </a:solidFill>
                          <a:uFillTx/>
                          <a:latin typeface="Calibri" panose="020F0502020204030204"/>
                          <a:ea typeface="Helvetica Light"/>
                          <a:cs typeface="Helvetica Light"/>
                          <a:sym typeface="Helvetica Light"/>
                        </a:defRPr>
                      </a:lvl9pPr>
                    </a:lstStyle>
                    <a:p>
                      <a:pPr marL="23490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pt-BR" sz="1200" b="0" i="0" u="none" strike="noStrike" kern="1200" cap="none" spc="0" baseline="0" dirty="0">
                          <a:solidFill>
                            <a:schemeClr val="bg2">
                              <a:lumMod val="50000"/>
                            </a:schemeClr>
                          </a:solidFill>
                          <a:uFillTx/>
                          <a:latin typeface="Calibri" panose="020F0502020204030204"/>
                          <a:ea typeface="Helvetica Light"/>
                          <a:cs typeface="Calibri" panose="020F0502020204030204" pitchFamily="34" charset="0"/>
                          <a:sym typeface="Helvetica Light"/>
                        </a:rPr>
                        <a:t>Vazamento de óleo </a:t>
                      </a:r>
                    </a:p>
                    <a:p>
                      <a:pPr marL="234900" indent="-171450" algn="l">
                        <a:buFont typeface="Arial" panose="020B0604020202020204" pitchFamily="34" charset="0"/>
                        <a:buChar char="•"/>
                      </a:pPr>
                      <a:endParaRPr lang="pt-BR" sz="1200" b="0" i="0" u="none" strike="noStrike" kern="1200" cap="none" spc="0" baseline="0" dirty="0">
                        <a:solidFill>
                          <a:schemeClr val="bg2">
                            <a:lumMod val="50000"/>
                          </a:schemeClr>
                        </a:solidFill>
                        <a:uFillTx/>
                        <a:latin typeface="Calibri" panose="020F0502020204030204"/>
                        <a:ea typeface="Helvetica Light"/>
                        <a:cs typeface="Calibri" panose="020F0502020204030204" pitchFamily="34" charset="0"/>
                        <a:sym typeface="Helvetica Light"/>
                      </a:endParaRPr>
                    </a:p>
                    <a:p>
                      <a:pPr marL="23490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pt-BR" sz="1200" b="0" i="0" u="none" strike="noStrike" kern="1200" cap="none" spc="0" baseline="0" dirty="0">
                          <a:solidFill>
                            <a:schemeClr val="bg2">
                              <a:lumMod val="50000"/>
                            </a:schemeClr>
                          </a:solidFill>
                          <a:uFillTx/>
                          <a:latin typeface="Calibri" panose="020F0502020204030204"/>
                          <a:ea typeface="Helvetica Light"/>
                          <a:cs typeface="Calibri" panose="020F0502020204030204" pitchFamily="34" charset="0"/>
                          <a:sym typeface="Helvetica Light"/>
                        </a:rPr>
                        <a:t>Destinação inadequada de resíduos </a:t>
                      </a:r>
                    </a:p>
                    <a:p>
                      <a:pPr marL="234900" indent="-171450" algn="l">
                        <a:buFont typeface="Arial" panose="020B0604020202020204" pitchFamily="34" charset="0"/>
                        <a:buChar char="•"/>
                      </a:pPr>
                      <a:endParaRPr lang="pt-BR" sz="1200" b="0" i="0" u="none" strike="noStrike" kern="1200" cap="none" spc="0" baseline="0" dirty="0">
                        <a:solidFill>
                          <a:schemeClr val="bg2">
                            <a:lumMod val="50000"/>
                          </a:schemeClr>
                        </a:solidFill>
                        <a:uFillTx/>
                        <a:latin typeface="Calibri" panose="020F0502020204030204"/>
                        <a:ea typeface="Helvetica Light"/>
                        <a:cs typeface="Calibri" panose="020F0502020204030204" pitchFamily="34" charset="0"/>
                        <a:sym typeface="Helvetica Light"/>
                      </a:endParaRPr>
                    </a:p>
                    <a:p>
                      <a:pPr marL="23490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pt-BR" sz="1200" b="0" i="0" u="none" strike="noStrike" kern="1200" cap="none" spc="0" baseline="0" dirty="0">
                          <a:solidFill>
                            <a:schemeClr val="bg2">
                              <a:lumMod val="50000"/>
                            </a:schemeClr>
                          </a:solidFill>
                          <a:uFillTx/>
                          <a:latin typeface="Calibri" panose="020F0502020204030204"/>
                          <a:ea typeface="Helvetica Light"/>
                          <a:cs typeface="Calibri" panose="020F0502020204030204" pitchFamily="34" charset="0"/>
                          <a:sym typeface="Helvetica Light"/>
                        </a:rPr>
                        <a:t>Quantidade de diesel abastecidos fora do site </a:t>
                      </a:r>
                    </a:p>
                    <a:p>
                      <a:pPr marL="234900" indent="-171450" algn="l">
                        <a:buFont typeface="Arial" panose="020B0604020202020204" pitchFamily="34" charset="0"/>
                        <a:buChar char="•"/>
                      </a:pPr>
                      <a:endParaRPr lang="pt-BR" sz="1200" b="0" i="0" u="none" strike="noStrike" kern="1200" cap="none" spc="0" baseline="0" dirty="0">
                        <a:solidFill>
                          <a:schemeClr val="bg2">
                            <a:lumMod val="50000"/>
                          </a:schemeClr>
                        </a:solidFill>
                        <a:uFillTx/>
                        <a:latin typeface="Calibri" panose="020F0502020204030204"/>
                        <a:ea typeface="Helvetica Light"/>
                        <a:cs typeface="Calibri" panose="020F0502020204030204" pitchFamily="34" charset="0"/>
                        <a:sym typeface="Helvetica Light"/>
                      </a:endParaRPr>
                    </a:p>
                    <a:p>
                      <a:pPr marL="23490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pt-BR" sz="1200" b="0" i="0" u="none" strike="noStrike" kern="1200" cap="none" spc="0" baseline="0" dirty="0">
                          <a:solidFill>
                            <a:schemeClr val="bg2">
                              <a:lumMod val="50000"/>
                            </a:schemeClr>
                          </a:solidFill>
                          <a:uFillTx/>
                          <a:latin typeface="Calibri" panose="020F0502020204030204"/>
                          <a:ea typeface="Helvetica Light"/>
                          <a:cs typeface="Calibri" panose="020F0502020204030204" pitchFamily="34" charset="0"/>
                          <a:sym typeface="Helvetica Light"/>
                        </a:rPr>
                        <a:t>Quantidade de água captada pelos pipas</a:t>
                      </a:r>
                    </a:p>
                    <a:p>
                      <a:pPr marL="234900" indent="-171450" algn="l">
                        <a:buFont typeface="Arial" panose="020B0604020202020204" pitchFamily="34" charset="0"/>
                        <a:buChar char="•"/>
                      </a:pPr>
                      <a:endParaRPr lang="pt-BR" sz="1200" b="0" i="0" u="none" strike="noStrike" kern="1200" cap="none" spc="0" baseline="0" dirty="0">
                        <a:solidFill>
                          <a:schemeClr val="tx1"/>
                        </a:solidFill>
                        <a:uFillTx/>
                        <a:latin typeface="Calibri" panose="020F0502020204030204"/>
                        <a:ea typeface="Helvetica Light"/>
                        <a:cs typeface="Calibri" panose="020F0502020204030204" pitchFamily="34" charset="0"/>
                        <a:sym typeface="Helvetica Light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49" name="Título 2">
            <a:extLst>
              <a:ext uri="{FF2B5EF4-FFF2-40B4-BE49-F238E27FC236}">
                <a16:creationId xmlns:a16="http://schemas.microsoft.com/office/drawing/2014/main" id="{AEBBC050-3974-6789-969D-189B5A35B27A}"/>
              </a:ext>
            </a:extLst>
          </p:cNvPr>
          <p:cNvSpPr txBox="1">
            <a:spLocks/>
          </p:cNvSpPr>
          <p:nvPr/>
        </p:nvSpPr>
        <p:spPr>
          <a:xfrm>
            <a:off x="411279" y="522581"/>
            <a:ext cx="9667218" cy="47619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 spc="-4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buClrTx/>
              <a:buFontTx/>
              <a:defRPr/>
            </a:pPr>
            <a:r>
              <a:rPr lang="pt-BR" sz="2400" dirty="0">
                <a:solidFill>
                  <a:srgbClr val="2D3D70"/>
                </a:solidFill>
                <a:latin typeface="Montserrat"/>
              </a:rPr>
              <a:t>GESTÃO DE CONTRATADAS </a:t>
            </a:r>
          </a:p>
          <a:p>
            <a:pPr>
              <a:buClrTx/>
              <a:buFontTx/>
              <a:defRPr/>
            </a:pPr>
            <a:r>
              <a:rPr lang="pt-BR" sz="2400" dirty="0">
                <a:solidFill>
                  <a:srgbClr val="F4614D"/>
                </a:solidFill>
                <a:latin typeface="Montserrat"/>
                <a:sym typeface="Arial"/>
              </a:rPr>
              <a:t>IN</a:t>
            </a:r>
            <a:r>
              <a:rPr lang="pt-BR" sz="2400" dirty="0">
                <a:solidFill>
                  <a:srgbClr val="F4614D"/>
                </a:solidFill>
                <a:latin typeface="Montserrat"/>
              </a:rPr>
              <a:t>DICADORES SSMAC – Meio Ambiente  </a:t>
            </a:r>
            <a:endParaRPr lang="pt-BR" sz="2400" dirty="0">
              <a:solidFill>
                <a:srgbClr val="F4614D"/>
              </a:solidFill>
              <a:latin typeface="Montserrat"/>
              <a:sym typeface="Arial"/>
            </a:endParaRPr>
          </a:p>
        </p:txBody>
      </p:sp>
      <p:sp>
        <p:nvSpPr>
          <p:cNvPr id="51" name="Espaço Reservado para Texto 61">
            <a:extLst>
              <a:ext uri="{FF2B5EF4-FFF2-40B4-BE49-F238E27FC236}">
                <a16:creationId xmlns:a16="http://schemas.microsoft.com/office/drawing/2014/main" id="{2A095959-385B-A52C-EDE2-B32712EDA8F7}"/>
              </a:ext>
            </a:extLst>
          </p:cNvPr>
          <p:cNvSpPr txBox="1">
            <a:spLocks/>
          </p:cNvSpPr>
          <p:nvPr/>
        </p:nvSpPr>
        <p:spPr>
          <a:xfrm>
            <a:off x="411279" y="278512"/>
            <a:ext cx="4984686" cy="354597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2000"/>
              </a:spcBef>
              <a:spcAft>
                <a:spcPts val="500"/>
              </a:spcAft>
              <a:buFont typeface="Arial" panose="020B0604020202020204" pitchFamily="34" charset="0"/>
              <a:buNone/>
              <a:defRPr sz="17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285750" indent="-28575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6000" indent="288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lang="pt-BR" sz="16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145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buClrTx/>
              <a:defRPr/>
            </a:pPr>
            <a:r>
              <a:rPr lang="pt-BR" sz="1050" b="0" dirty="0">
                <a:solidFill>
                  <a:srgbClr val="666666"/>
                </a:solidFill>
                <a:latin typeface="Open Sans (Corpo)"/>
              </a:rPr>
              <a:t>SSMAC| ALMAS</a:t>
            </a:r>
          </a:p>
        </p:txBody>
      </p:sp>
      <p:pic>
        <p:nvPicPr>
          <p:cNvPr id="2" name="Picture 4" descr="emocional humor escala emoji. cliente satisfação indicador emoticons  isolado vetor. 40368827 Vetor no Vecteezy">
            <a:extLst>
              <a:ext uri="{FF2B5EF4-FFF2-40B4-BE49-F238E27FC236}">
                <a16:creationId xmlns:a16="http://schemas.microsoft.com/office/drawing/2014/main" id="{C64190F8-9483-BEAB-B0AE-1268173E30E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ackgroundRemoval t="10000" b="90000" l="10000" r="90000">
                        <a14:foregroundMark x1="12624" y1="45600" x2="12129" y2="60000"/>
                        <a14:foregroundMark x1="29455" y1="46400" x2="30198" y2="56800"/>
                        <a14:foregroundMark x1="45792" y1="51200" x2="45545" y2="56800"/>
                        <a14:foregroundMark x1="77970" y1="44000" x2="75495" y2="55200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8999" t="23627" r="73353" b="19759"/>
          <a:stretch>
            <a:fillRect/>
          </a:stretch>
        </p:blipFill>
        <p:spPr bwMode="auto">
          <a:xfrm>
            <a:off x="4026839" y="5693899"/>
            <a:ext cx="679134" cy="6740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4" descr="emocional humor escala emoji. cliente satisfação indicador emoticons  isolado vetor. 40368827 Vetor no Vecteezy">
            <a:extLst>
              <a:ext uri="{FF2B5EF4-FFF2-40B4-BE49-F238E27FC236}">
                <a16:creationId xmlns:a16="http://schemas.microsoft.com/office/drawing/2014/main" id="{FDEF5431-24E3-F1F2-B5E0-600FADB4B19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ackgroundRemoval t="10000" b="90000" l="10000" r="90000">
                        <a14:foregroundMark x1="12624" y1="45600" x2="12129" y2="60000"/>
                        <a14:foregroundMark x1="29455" y1="46400" x2="30198" y2="56800"/>
                        <a14:foregroundMark x1="45792" y1="51200" x2="45545" y2="56800"/>
                        <a14:foregroundMark x1="77970" y1="44000" x2="75495" y2="55200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41127" t="17645" r="41224" b="21881"/>
          <a:stretch>
            <a:fillRect/>
          </a:stretch>
        </p:blipFill>
        <p:spPr bwMode="auto">
          <a:xfrm>
            <a:off x="4621757" y="5621682"/>
            <a:ext cx="679134" cy="7200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4" descr="emocional humor escala emoji. cliente satisfação indicador emoticons  isolado vetor. 40368827 Vetor no Vecteezy">
            <a:extLst>
              <a:ext uri="{FF2B5EF4-FFF2-40B4-BE49-F238E27FC236}">
                <a16:creationId xmlns:a16="http://schemas.microsoft.com/office/drawing/2014/main" id="{6C695A1F-4FA3-D0C8-53CA-1C1F2D283C4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ackgroundRemoval t="10000" b="90000" l="10000" r="90000">
                        <a14:foregroundMark x1="12624" y1="45600" x2="12129" y2="60000"/>
                        <a14:foregroundMark x1="29455" y1="46400" x2="30198" y2="56800"/>
                        <a14:foregroundMark x1="45792" y1="51200" x2="45545" y2="56800"/>
                        <a14:foregroundMark x1="77970" y1="44000" x2="75495" y2="55200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73850" t="20889" r="8501" b="22498"/>
          <a:stretch>
            <a:fillRect/>
          </a:stretch>
        </p:blipFill>
        <p:spPr bwMode="auto">
          <a:xfrm>
            <a:off x="5300891" y="5661356"/>
            <a:ext cx="679134" cy="6740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Retângulo Arredondado 16">
            <a:extLst>
              <a:ext uri="{FF2B5EF4-FFF2-40B4-BE49-F238E27FC236}">
                <a16:creationId xmlns:a16="http://schemas.microsoft.com/office/drawing/2014/main" id="{AF826485-1550-B9BB-063C-6AD5253E8439}"/>
              </a:ext>
            </a:extLst>
          </p:cNvPr>
          <p:cNvSpPr/>
          <p:nvPr/>
        </p:nvSpPr>
        <p:spPr>
          <a:xfrm>
            <a:off x="6106147" y="1333209"/>
            <a:ext cx="6059511" cy="397980"/>
          </a:xfrm>
          <a:prstGeom prst="roundRect">
            <a:avLst/>
          </a:prstGeom>
          <a:solidFill>
            <a:srgbClr val="F4614D"/>
          </a:solidFill>
          <a:ln w="12700" cap="flat">
            <a:noFill/>
            <a:miter lim="400000"/>
          </a:ln>
          <a:effectLst/>
          <a:sp3d/>
        </p:spPr>
        <p:txBody>
          <a:bodyPr rot="0" spcFirstLastPara="1" vertOverflow="overflow" horzOverflow="overflow" vert="horz" wrap="square" lIns="71437" tIns="71437" rIns="71437" bIns="71437" numCol="1" spcCol="38100" rtlCol="0" anchor="ctr">
            <a:spAutoFit/>
          </a:bodyPr>
          <a:lstStyle/>
          <a:p>
            <a:pPr marL="0" marR="0" lvl="0" indent="0" algn="l" defTabSz="821531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b="1" dirty="0">
                <a:solidFill>
                  <a:srgbClr val="FFFFFF"/>
                </a:solidFill>
                <a:effectLst>
                  <a:outerShdw blurRad="25400" dist="23998" dir="2700000" rotWithShape="0">
                    <a:srgbClr val="000000">
                      <a:alpha val="31034"/>
                    </a:srgbClr>
                  </a:outerShdw>
                </a:effectLst>
                <a:latin typeface="Calibri"/>
                <a:sym typeface="Helvetica Light"/>
              </a:rPr>
              <a:t>AÇÕES DE APROVEITAMENTO DE RESÍDUOS </a:t>
            </a:r>
            <a:endParaRPr kumimoji="0" lang="pt-BR" sz="14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>
                <a:outerShdw blurRad="25400" dist="23998" dir="2700000" rotWithShape="0">
                  <a:srgbClr val="000000">
                    <a:alpha val="31034"/>
                  </a:srgbClr>
                </a:outerShdw>
              </a:effectLst>
              <a:uLnTx/>
              <a:uFillTx/>
              <a:latin typeface="Calibri"/>
              <a:sym typeface="Helvetica Light"/>
            </a:endParaRPr>
          </a:p>
        </p:txBody>
      </p:sp>
    </p:spTree>
    <p:extLst>
      <p:ext uri="{BB962C8B-B14F-4D97-AF65-F5344CB8AC3E}">
        <p14:creationId xmlns:p14="http://schemas.microsoft.com/office/powerpoint/2010/main" val="417310511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866EE71-E618-F2F4-5691-7511FE058DD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8B0C8A3A-5CA7-4186-C13E-FD500E8CFA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4" imgW="425" imgH="424" progId="TCLayout.ActiveDocument.1">
                  <p:embed/>
                </p:oleObj>
              </mc:Choice>
              <mc:Fallback>
                <p:oleObj name="Slide do think-cell" r:id="rId4" imgW="425" imgH="42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B0C8A3A-5CA7-4186-C13E-FD500E8CFA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tângulo 6" hidden="1">
            <a:extLst>
              <a:ext uri="{FF2B5EF4-FFF2-40B4-BE49-F238E27FC236}">
                <a16:creationId xmlns:a16="http://schemas.microsoft.com/office/drawing/2014/main" id="{AE7AD61A-F8FA-4E06-C542-D2526E65BE26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pt-BR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en Sans"/>
              <a:ea typeface="+mn-ea"/>
              <a:cs typeface="+mn-cs"/>
              <a:sym typeface="Arial"/>
            </a:endParaRPr>
          </a:p>
        </p:txBody>
      </p:sp>
      <p:sp>
        <p:nvSpPr>
          <p:cNvPr id="61" name="Título 60">
            <a:extLst>
              <a:ext uri="{FF2B5EF4-FFF2-40B4-BE49-F238E27FC236}">
                <a16:creationId xmlns:a16="http://schemas.microsoft.com/office/drawing/2014/main" id="{C43DCC3E-8309-9F56-18D7-3286827845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70391" y="1668084"/>
            <a:ext cx="6677960" cy="1281113"/>
          </a:xfrm>
        </p:spPr>
        <p:txBody>
          <a:bodyPr vert="horz">
            <a:noAutofit/>
          </a:bodyPr>
          <a:lstStyle/>
          <a:p>
            <a:r>
              <a:rPr lang="pt-BR" sz="2000" dirty="0">
                <a:solidFill>
                  <a:srgbClr val="F4614D"/>
                </a:solidFill>
              </a:rPr>
              <a:t>Reunião mensal</a:t>
            </a:r>
            <a:br>
              <a:rPr lang="pt-BR" sz="2000" dirty="0">
                <a:solidFill>
                  <a:srgbClr val="FF0000"/>
                </a:solidFill>
              </a:rPr>
            </a:br>
            <a:br>
              <a:rPr lang="pt-BR" sz="800" dirty="0">
                <a:solidFill>
                  <a:srgbClr val="FF0000"/>
                </a:solidFill>
              </a:rPr>
            </a:br>
            <a:r>
              <a:rPr lang="pt-BR" sz="1800" dirty="0">
                <a:solidFill>
                  <a:srgbClr val="2D3D70"/>
                </a:solidFill>
              </a:rPr>
              <a:t>GESTÃO DE CONTRATADAS </a:t>
            </a:r>
            <a:endParaRPr lang="pt-BR" sz="2000" dirty="0"/>
          </a:p>
        </p:txBody>
      </p:sp>
      <p:sp>
        <p:nvSpPr>
          <p:cNvPr id="62" name="Espaço Reservado para Texto 61">
            <a:extLst>
              <a:ext uri="{FF2B5EF4-FFF2-40B4-BE49-F238E27FC236}">
                <a16:creationId xmlns:a16="http://schemas.microsoft.com/office/drawing/2014/main" id="{B8A9086B-7987-9AA2-0823-1FE924A2986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pt-BR"/>
              <a:t>Pautas</a:t>
            </a:r>
          </a:p>
        </p:txBody>
      </p:sp>
      <p:sp>
        <p:nvSpPr>
          <p:cNvPr id="63" name="Espaço Reservado para Texto 62">
            <a:extLst>
              <a:ext uri="{FF2B5EF4-FFF2-40B4-BE49-F238E27FC236}">
                <a16:creationId xmlns:a16="http://schemas.microsoft.com/office/drawing/2014/main" id="{C858D987-0971-BB9D-0833-EF2206D514D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546352" y="2624481"/>
            <a:ext cx="654050" cy="656199"/>
          </a:xfrm>
        </p:spPr>
        <p:txBody>
          <a:bodyPr/>
          <a:lstStyle/>
          <a:p>
            <a:r>
              <a:rPr lang="pt-BR"/>
              <a:t>1</a:t>
            </a:r>
          </a:p>
        </p:txBody>
      </p:sp>
      <p:sp>
        <p:nvSpPr>
          <p:cNvPr id="64" name="Espaço Reservado para Texto 63">
            <a:extLst>
              <a:ext uri="{FF2B5EF4-FFF2-40B4-BE49-F238E27FC236}">
                <a16:creationId xmlns:a16="http://schemas.microsoft.com/office/drawing/2014/main" id="{8469B229-3F3B-55D7-55D5-B871C3436ED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546352" y="3603859"/>
            <a:ext cx="654050" cy="656199"/>
          </a:xfrm>
        </p:spPr>
        <p:txBody>
          <a:bodyPr/>
          <a:lstStyle/>
          <a:p>
            <a:r>
              <a:rPr lang="pt-BR"/>
              <a:t>2</a:t>
            </a:r>
          </a:p>
        </p:txBody>
      </p:sp>
      <p:sp>
        <p:nvSpPr>
          <p:cNvPr id="65" name="Espaço Reservado para Texto 64">
            <a:extLst>
              <a:ext uri="{FF2B5EF4-FFF2-40B4-BE49-F238E27FC236}">
                <a16:creationId xmlns:a16="http://schemas.microsoft.com/office/drawing/2014/main" id="{DF6B3CC3-3693-E801-0247-48E4FCA805E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546352" y="4565200"/>
            <a:ext cx="654050" cy="656199"/>
          </a:xfrm>
        </p:spPr>
        <p:txBody>
          <a:bodyPr/>
          <a:lstStyle/>
          <a:p>
            <a:r>
              <a:rPr lang="pt-BR"/>
              <a:t>3</a:t>
            </a:r>
          </a:p>
        </p:txBody>
      </p:sp>
      <p:sp>
        <p:nvSpPr>
          <p:cNvPr id="67" name="Espaço Reservado para Texto 66">
            <a:extLst>
              <a:ext uri="{FF2B5EF4-FFF2-40B4-BE49-F238E27FC236}">
                <a16:creationId xmlns:a16="http://schemas.microsoft.com/office/drawing/2014/main" id="{9C3F353C-E962-A25E-F689-58ACC210C9A2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546352" y="5315668"/>
            <a:ext cx="654050" cy="656199"/>
          </a:xfrm>
        </p:spPr>
        <p:txBody>
          <a:bodyPr/>
          <a:lstStyle/>
          <a:p>
            <a:r>
              <a:rPr lang="pt-BR"/>
              <a:t>4</a:t>
            </a:r>
          </a:p>
        </p:txBody>
      </p:sp>
      <p:sp>
        <p:nvSpPr>
          <p:cNvPr id="68" name="Espaço Reservado para Texto 67">
            <a:extLst>
              <a:ext uri="{FF2B5EF4-FFF2-40B4-BE49-F238E27FC236}">
                <a16:creationId xmlns:a16="http://schemas.microsoft.com/office/drawing/2014/main" id="{920DF8F3-98F6-C77F-FF86-C6442FE77EC9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247924" y="2666137"/>
            <a:ext cx="654050" cy="656199"/>
          </a:xfrm>
        </p:spPr>
        <p:txBody>
          <a:bodyPr/>
          <a:lstStyle/>
          <a:p>
            <a:r>
              <a:rPr lang="pt-BR"/>
              <a:t>5</a:t>
            </a:r>
          </a:p>
        </p:txBody>
      </p:sp>
      <p:sp>
        <p:nvSpPr>
          <p:cNvPr id="71" name="Espaço Reservado para Texto 70">
            <a:extLst>
              <a:ext uri="{FF2B5EF4-FFF2-40B4-BE49-F238E27FC236}">
                <a16:creationId xmlns:a16="http://schemas.microsoft.com/office/drawing/2014/main" id="{E345329D-2FC9-4D63-84E8-49D6EDF7DBD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103564" y="2665038"/>
            <a:ext cx="2744787" cy="625475"/>
          </a:xfr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pt-BR" dirty="0"/>
              <a:t>Indicadores de SSMAC</a:t>
            </a:r>
            <a:endParaRPr lang="pt-BR" dirty="0">
              <a:solidFill>
                <a:srgbClr val="000000"/>
              </a:solidFill>
              <a:ea typeface="Open Sans"/>
              <a:cs typeface="Open Sans"/>
            </a:endParaRPr>
          </a:p>
          <a:p>
            <a:pPr>
              <a:buClrTx/>
            </a:pPr>
            <a:endParaRPr lang="pt-BR" b="1" dirty="0">
              <a:ea typeface="Open Sans"/>
              <a:cs typeface="Open Sans"/>
            </a:endParaRPr>
          </a:p>
        </p:txBody>
      </p:sp>
      <p:sp>
        <p:nvSpPr>
          <p:cNvPr id="72" name="Espaço Reservado para Texto 71">
            <a:extLst>
              <a:ext uri="{FF2B5EF4-FFF2-40B4-BE49-F238E27FC236}">
                <a16:creationId xmlns:a16="http://schemas.microsoft.com/office/drawing/2014/main" id="{7CFE12B6-42CA-F167-9994-3239006FF856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103564" y="3636928"/>
            <a:ext cx="3144360" cy="625475"/>
          </a:xfr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pt-BR" b="1" dirty="0"/>
              <a:t>Indicadores de Treinamentos</a:t>
            </a:r>
            <a:endParaRPr lang="pt-BR" b="1" dirty="0">
              <a:solidFill>
                <a:srgbClr val="000000"/>
              </a:solidFill>
            </a:endParaRPr>
          </a:p>
          <a:p>
            <a:endParaRPr lang="pt-BR" dirty="0">
              <a:ea typeface="Open Sans"/>
              <a:cs typeface="Open Sans"/>
            </a:endParaRPr>
          </a:p>
        </p:txBody>
      </p:sp>
      <p:sp>
        <p:nvSpPr>
          <p:cNvPr id="73" name="Espaço Reservado para Texto 72">
            <a:extLst>
              <a:ext uri="{FF2B5EF4-FFF2-40B4-BE49-F238E27FC236}">
                <a16:creationId xmlns:a16="http://schemas.microsoft.com/office/drawing/2014/main" id="{0FCEB4EE-70E7-ABA2-6348-545518EE5B0D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5103564" y="4591324"/>
            <a:ext cx="3379424" cy="625475"/>
          </a:xfr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pt-BR" dirty="0"/>
              <a:t>Boas Práticas </a:t>
            </a:r>
            <a:endParaRPr lang="en-US" dirty="0">
              <a:solidFill>
                <a:srgbClr val="000000"/>
              </a:solidFill>
              <a:ea typeface="Open Sans"/>
              <a:cs typeface="Open Sans"/>
            </a:endParaRPr>
          </a:p>
          <a:p>
            <a:pPr>
              <a:lnSpc>
                <a:spcPct val="100000"/>
              </a:lnSpc>
              <a:spcAft>
                <a:spcPts val="0"/>
              </a:spcAft>
            </a:pPr>
            <a:endParaRPr lang="pt-BR" dirty="0">
              <a:ea typeface="Open Sans"/>
              <a:cs typeface="Open Sans"/>
            </a:endParaRPr>
          </a:p>
        </p:txBody>
      </p:sp>
      <p:sp>
        <p:nvSpPr>
          <p:cNvPr id="75" name="Espaço Reservado para Texto 74">
            <a:extLst>
              <a:ext uri="{FF2B5EF4-FFF2-40B4-BE49-F238E27FC236}">
                <a16:creationId xmlns:a16="http://schemas.microsoft.com/office/drawing/2014/main" id="{09C76CA9-8506-31FC-4EBA-EEB5C037C3B9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5105152" y="5356225"/>
            <a:ext cx="2516187" cy="625475"/>
          </a:xfr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pt-BR" dirty="0"/>
              <a:t>Outros</a:t>
            </a:r>
            <a:endParaRPr lang="en-US" dirty="0">
              <a:solidFill>
                <a:srgbClr val="000000"/>
              </a:solidFill>
              <a:ea typeface="Open Sans"/>
              <a:cs typeface="Open Sans"/>
            </a:endParaRPr>
          </a:p>
          <a:p>
            <a:endParaRPr lang="pt-BR" dirty="0">
              <a:ea typeface="Open Sans"/>
              <a:cs typeface="Open Sans"/>
            </a:endParaRPr>
          </a:p>
        </p:txBody>
      </p:sp>
      <p:sp>
        <p:nvSpPr>
          <p:cNvPr id="76" name="Espaço Reservado para Texto 75">
            <a:extLst>
              <a:ext uri="{FF2B5EF4-FFF2-40B4-BE49-F238E27FC236}">
                <a16:creationId xmlns:a16="http://schemas.microsoft.com/office/drawing/2014/main" id="{86EE5643-E11E-1D25-B1C8-ED613ECAECD7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8806724" y="2699206"/>
            <a:ext cx="2516187" cy="625475"/>
          </a:xfr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pt-BR" dirty="0"/>
              <a:t>-</a:t>
            </a:r>
            <a:endParaRPr lang="en-US" dirty="0">
              <a:solidFill>
                <a:srgbClr val="000000"/>
              </a:solidFill>
              <a:ea typeface="Open Sans"/>
              <a:cs typeface="Open Sans"/>
            </a:endParaRPr>
          </a:p>
          <a:p>
            <a:pPr>
              <a:buClrTx/>
            </a:pPr>
            <a:endParaRPr lang="en-US" dirty="0">
              <a:ea typeface="Open Sans"/>
              <a:cs typeface="Open Sans"/>
            </a:endParaRPr>
          </a:p>
        </p:txBody>
      </p:sp>
      <p:sp>
        <p:nvSpPr>
          <p:cNvPr id="15" name="Espaço Reservado para Texto 67">
            <a:extLst>
              <a:ext uri="{FF2B5EF4-FFF2-40B4-BE49-F238E27FC236}">
                <a16:creationId xmlns:a16="http://schemas.microsoft.com/office/drawing/2014/main" id="{99051F88-7B5C-918F-5CF9-D11E71596EB9}"/>
              </a:ext>
            </a:extLst>
          </p:cNvPr>
          <p:cNvSpPr txBox="1">
            <a:spLocks/>
          </p:cNvSpPr>
          <p:nvPr/>
        </p:nvSpPr>
        <p:spPr>
          <a:xfrm>
            <a:off x="8247924" y="3653602"/>
            <a:ext cx="654050" cy="65619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110000"/>
              </a:lnSpc>
              <a:spcBef>
                <a:spcPts val="2000"/>
              </a:spcBef>
              <a:spcAft>
                <a:spcPts val="500"/>
              </a:spcAft>
              <a:buFont typeface="Arial" panose="020B0604020202020204" pitchFamily="34" charset="0"/>
              <a:buNone/>
              <a:defRPr sz="3600" b="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285750" indent="-28575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sz="360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2pPr>
            <a:lvl3pPr marL="936000" indent="288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lang="pt-BR" sz="360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360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Tx/>
            </a:pPr>
            <a:r>
              <a:rPr lang="pt-BR"/>
              <a:t>6</a:t>
            </a:r>
          </a:p>
        </p:txBody>
      </p:sp>
      <p:sp>
        <p:nvSpPr>
          <p:cNvPr id="16" name="Espaço Reservado para Texto 75">
            <a:extLst>
              <a:ext uri="{FF2B5EF4-FFF2-40B4-BE49-F238E27FC236}">
                <a16:creationId xmlns:a16="http://schemas.microsoft.com/office/drawing/2014/main" id="{716D959D-AD1A-8909-FE5B-8D01B701892C}"/>
              </a:ext>
            </a:extLst>
          </p:cNvPr>
          <p:cNvSpPr txBox="1">
            <a:spLocks/>
          </p:cNvSpPr>
          <p:nvPr/>
        </p:nvSpPr>
        <p:spPr>
          <a:xfrm>
            <a:off x="8806724" y="3686671"/>
            <a:ext cx="2516187" cy="625475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0" indent="0" algn="l" defTabSz="914400" rtl="0" eaLnBrk="1" latinLnBrk="0" hangingPunct="1">
              <a:lnSpc>
                <a:spcPct val="130000"/>
              </a:lnSpc>
              <a:spcBef>
                <a:spcPts val="2000"/>
              </a:spcBef>
              <a:spcAft>
                <a:spcPts val="500"/>
              </a:spcAft>
              <a:buFont typeface="Arial" panose="020B0604020202020204" pitchFamily="34" charset="0"/>
              <a:buNone/>
              <a:defRPr sz="14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285750" indent="-285750" algn="l" defTabSz="914400" rtl="0" eaLnBrk="1" latinLnBrk="0" hangingPunct="1">
              <a:lnSpc>
                <a:spcPct val="13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sz="13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936000" indent="288000" algn="l" defTabSz="914400" rtl="0" eaLnBrk="1" latinLnBrk="0" hangingPunct="1">
              <a:lnSpc>
                <a:spcPct val="13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lang="pt-BR" sz="13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13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3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130000"/>
              </a:lnSpc>
              <a:spcBef>
                <a:spcPts val="500"/>
              </a:spcBef>
              <a:buFont typeface="Arial" panose="020B0604020202020204" pitchFamily="34" charset="0"/>
              <a:buNone/>
              <a:defRPr sz="13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dirty="0"/>
              <a:t>-</a:t>
            </a:r>
            <a:endParaRPr lang="en-US" dirty="0">
              <a:solidFill>
                <a:srgbClr val="000000"/>
              </a:solidFill>
              <a:ea typeface="Open Sans"/>
              <a:cs typeface="Open Sans"/>
            </a:endParaRPr>
          </a:p>
          <a:p>
            <a:pPr>
              <a:buClrTx/>
            </a:pPr>
            <a:endParaRPr lang="en-US" dirty="0">
              <a:ea typeface="Open Sans"/>
              <a:cs typeface="Open Sans"/>
            </a:endParaRPr>
          </a:p>
        </p:txBody>
      </p:sp>
      <p:sp>
        <p:nvSpPr>
          <p:cNvPr id="17" name="Espaço Reservado para Texto 67">
            <a:extLst>
              <a:ext uri="{FF2B5EF4-FFF2-40B4-BE49-F238E27FC236}">
                <a16:creationId xmlns:a16="http://schemas.microsoft.com/office/drawing/2014/main" id="{0981CD7C-A0A8-0B90-3F8F-76609BDDFD3A}"/>
              </a:ext>
            </a:extLst>
          </p:cNvPr>
          <p:cNvSpPr txBox="1">
            <a:spLocks/>
          </p:cNvSpPr>
          <p:nvPr/>
        </p:nvSpPr>
        <p:spPr>
          <a:xfrm>
            <a:off x="8247924" y="4418503"/>
            <a:ext cx="654050" cy="65619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110000"/>
              </a:lnSpc>
              <a:spcBef>
                <a:spcPts val="2000"/>
              </a:spcBef>
              <a:spcAft>
                <a:spcPts val="500"/>
              </a:spcAft>
              <a:buFont typeface="Arial" panose="020B0604020202020204" pitchFamily="34" charset="0"/>
              <a:buNone/>
              <a:defRPr sz="3600" b="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285750" indent="-28575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sz="360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2pPr>
            <a:lvl3pPr marL="936000" indent="288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lang="pt-BR" sz="360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360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Tx/>
            </a:pPr>
            <a:r>
              <a:rPr lang="pt-BR"/>
              <a:t>7</a:t>
            </a:r>
          </a:p>
        </p:txBody>
      </p:sp>
      <p:sp>
        <p:nvSpPr>
          <p:cNvPr id="3" name="CaixaDeTexto 2">
            <a:extLst>
              <a:ext uri="{FF2B5EF4-FFF2-40B4-BE49-F238E27FC236}">
                <a16:creationId xmlns:a16="http://schemas.microsoft.com/office/drawing/2014/main" id="{0777F1C6-2A17-D6AB-340B-09F5F0F930C7}"/>
              </a:ext>
            </a:extLst>
          </p:cNvPr>
          <p:cNvSpPr txBox="1"/>
          <p:nvPr/>
        </p:nvSpPr>
        <p:spPr>
          <a:xfrm>
            <a:off x="8811491" y="4585855"/>
            <a:ext cx="2743200" cy="30777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pt-BR" dirty="0"/>
              <a:t>-</a:t>
            </a:r>
            <a:endParaRPr lang="en-US" dirty="0">
              <a:ea typeface="Open Sans"/>
              <a:cs typeface="Open Sans"/>
            </a:endParaRPr>
          </a:p>
        </p:txBody>
      </p:sp>
    </p:spTree>
    <p:extLst>
      <p:ext uri="{BB962C8B-B14F-4D97-AF65-F5344CB8AC3E}">
        <p14:creationId xmlns:p14="http://schemas.microsoft.com/office/powerpoint/2010/main" val="24602081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21E3421-4EC4-452C-84D1-701E638DA7C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think-cell data - do not delete" hidden="1">
            <a:extLst>
              <a:ext uri="{FF2B5EF4-FFF2-40B4-BE49-F238E27FC236}">
                <a16:creationId xmlns:a16="http://schemas.microsoft.com/office/drawing/2014/main" id="{2747E3E1-EA48-FBC0-74BA-0D5CCDDCD9D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4" imgW="425" imgH="424" progId="TCLayout.ActiveDocument.1">
                  <p:embed/>
                </p:oleObj>
              </mc:Choice>
              <mc:Fallback>
                <p:oleObj name="Slide do think-cell" r:id="rId4" imgW="425" imgH="424" progId="TCLayout.ActiveDocument.1">
                  <p:embed/>
                  <p:pic>
                    <p:nvPicPr>
                      <p:cNvPr id="2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747E3E1-EA48-FBC0-74BA-0D5CCDDCD9D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ítulo 2">
            <a:extLst>
              <a:ext uri="{FF2B5EF4-FFF2-40B4-BE49-F238E27FC236}">
                <a16:creationId xmlns:a16="http://schemas.microsoft.com/office/drawing/2014/main" id="{ED7B1F93-9026-B2AC-69E3-F128F786FD8B}"/>
              </a:ext>
            </a:extLst>
          </p:cNvPr>
          <p:cNvSpPr txBox="1">
            <a:spLocks/>
          </p:cNvSpPr>
          <p:nvPr/>
        </p:nvSpPr>
        <p:spPr>
          <a:xfrm>
            <a:off x="411279" y="522581"/>
            <a:ext cx="9667218" cy="47619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 spc="-4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buClrTx/>
              <a:buFontTx/>
              <a:defRPr/>
            </a:pPr>
            <a:r>
              <a:rPr lang="pt-BR" sz="2400" dirty="0">
                <a:solidFill>
                  <a:srgbClr val="2D3D70"/>
                </a:solidFill>
                <a:latin typeface="Montserrat"/>
              </a:rPr>
              <a:t>GESTÃO DE CONTRATADAS </a:t>
            </a:r>
          </a:p>
          <a:p>
            <a:pPr>
              <a:buClrTx/>
              <a:buFontTx/>
              <a:defRPr/>
            </a:pPr>
            <a:r>
              <a:rPr lang="pt-BR" sz="2400" dirty="0">
                <a:solidFill>
                  <a:srgbClr val="F4614D"/>
                </a:solidFill>
                <a:latin typeface="Montserrat"/>
                <a:sym typeface="Arial"/>
              </a:rPr>
              <a:t>IN</a:t>
            </a:r>
            <a:r>
              <a:rPr lang="pt-BR" sz="2400" dirty="0">
                <a:solidFill>
                  <a:srgbClr val="F4614D"/>
                </a:solidFill>
                <a:latin typeface="Montserrat"/>
              </a:rPr>
              <a:t>DICADORES TREINAMENTOS</a:t>
            </a:r>
            <a:endParaRPr lang="pt-BR" sz="2400" dirty="0">
              <a:solidFill>
                <a:srgbClr val="F4614D"/>
              </a:solidFill>
              <a:latin typeface="Montserrat"/>
              <a:sym typeface="Arial"/>
            </a:endParaRPr>
          </a:p>
        </p:txBody>
      </p:sp>
      <p:sp>
        <p:nvSpPr>
          <p:cNvPr id="10" name="Espaço Reservado para Texto 61">
            <a:extLst>
              <a:ext uri="{FF2B5EF4-FFF2-40B4-BE49-F238E27FC236}">
                <a16:creationId xmlns:a16="http://schemas.microsoft.com/office/drawing/2014/main" id="{0DB12E94-9400-9A4D-45F4-C60314B5D7A4}"/>
              </a:ext>
            </a:extLst>
          </p:cNvPr>
          <p:cNvSpPr txBox="1">
            <a:spLocks/>
          </p:cNvSpPr>
          <p:nvPr/>
        </p:nvSpPr>
        <p:spPr>
          <a:xfrm>
            <a:off x="411279" y="278512"/>
            <a:ext cx="4984686" cy="354597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2000"/>
              </a:spcBef>
              <a:spcAft>
                <a:spcPts val="500"/>
              </a:spcAft>
              <a:buFont typeface="Arial" panose="020B0604020202020204" pitchFamily="34" charset="0"/>
              <a:buNone/>
              <a:defRPr sz="17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285750" indent="-28575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6000" indent="288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lang="pt-BR" sz="16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145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buClrTx/>
              <a:defRPr/>
            </a:pPr>
            <a:r>
              <a:rPr lang="pt-BR" sz="1050" b="0" dirty="0">
                <a:solidFill>
                  <a:srgbClr val="666666"/>
                </a:solidFill>
                <a:latin typeface="Open Sans (Corpo)"/>
              </a:rPr>
              <a:t>SSMAC| ALMAS</a:t>
            </a:r>
          </a:p>
        </p:txBody>
      </p:sp>
      <p:sp>
        <p:nvSpPr>
          <p:cNvPr id="1099" name="Retângulo 1098">
            <a:extLst>
              <a:ext uri="{FF2B5EF4-FFF2-40B4-BE49-F238E27FC236}">
                <a16:creationId xmlns:a16="http://schemas.microsoft.com/office/drawing/2014/main" id="{F4B7B1BE-CC72-2873-0586-D7B1CA590508}"/>
              </a:ext>
            </a:extLst>
          </p:cNvPr>
          <p:cNvSpPr/>
          <p:nvPr/>
        </p:nvSpPr>
        <p:spPr>
          <a:xfrm>
            <a:off x="7859214" y="1123816"/>
            <a:ext cx="1173892" cy="170661"/>
          </a:xfrm>
          <a:prstGeom prst="rect">
            <a:avLst/>
          </a:prstGeom>
          <a:solidFill>
            <a:srgbClr val="F3F5F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2" name="Retângulo: Cantos Arredondados 1">
            <a:extLst>
              <a:ext uri="{FF2B5EF4-FFF2-40B4-BE49-F238E27FC236}">
                <a16:creationId xmlns:a16="http://schemas.microsoft.com/office/drawing/2014/main" id="{4151881F-809E-6D29-AC92-C10B45E7ACD5}"/>
              </a:ext>
            </a:extLst>
          </p:cNvPr>
          <p:cNvSpPr/>
          <p:nvPr/>
        </p:nvSpPr>
        <p:spPr>
          <a:xfrm>
            <a:off x="8665535" y="1204914"/>
            <a:ext cx="3077827" cy="5316407"/>
          </a:xfrm>
          <a:prstGeom prst="roundRect">
            <a:avLst>
              <a:gd name="adj" fmla="val 3200"/>
            </a:avLst>
          </a:prstGeom>
          <a:noFill/>
          <a:ln w="6350">
            <a:solidFill>
              <a:srgbClr val="C44B38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Retângulo 2">
            <a:extLst>
              <a:ext uri="{FF2B5EF4-FFF2-40B4-BE49-F238E27FC236}">
                <a16:creationId xmlns:a16="http://schemas.microsoft.com/office/drawing/2014/main" id="{12C88EB1-3EB3-CB66-16FB-510AE53717D8}"/>
              </a:ext>
            </a:extLst>
          </p:cNvPr>
          <p:cNvSpPr/>
          <p:nvPr/>
        </p:nvSpPr>
        <p:spPr>
          <a:xfrm>
            <a:off x="9017116" y="1031721"/>
            <a:ext cx="1173892" cy="321012"/>
          </a:xfrm>
          <a:prstGeom prst="rect">
            <a:avLst/>
          </a:prstGeom>
          <a:solidFill>
            <a:srgbClr val="F3F5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1100" b="1" dirty="0">
                <a:solidFill>
                  <a:srgbClr val="C44B38"/>
                </a:solidFill>
                <a:latin typeface="Open Sans (Corpo)"/>
              </a:rPr>
              <a:t>Comentários</a:t>
            </a:r>
            <a:endParaRPr lang="pt-BR" sz="1000" dirty="0">
              <a:solidFill>
                <a:srgbClr val="C44B38"/>
              </a:solidFill>
              <a:latin typeface="Open Sans (Corpo)"/>
            </a:endParaRPr>
          </a:p>
        </p:txBody>
      </p:sp>
      <p:sp>
        <p:nvSpPr>
          <p:cNvPr id="4" name="Retângulo 3">
            <a:extLst>
              <a:ext uri="{FF2B5EF4-FFF2-40B4-BE49-F238E27FC236}">
                <a16:creationId xmlns:a16="http://schemas.microsoft.com/office/drawing/2014/main" id="{9EB305E9-B3D1-3498-48A4-F3518EC7C196}"/>
              </a:ext>
            </a:extLst>
          </p:cNvPr>
          <p:cNvSpPr/>
          <p:nvPr/>
        </p:nvSpPr>
        <p:spPr>
          <a:xfrm>
            <a:off x="8707438" y="1353067"/>
            <a:ext cx="2971501" cy="518056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>
              <a:spcAft>
                <a:spcPts val="300"/>
              </a:spcAft>
            </a:pPr>
            <a:r>
              <a:rPr kumimoji="0" lang="pt-BR" sz="900" b="1" i="0" u="none" strike="noStrike" kern="1200" cap="none" spc="0" normalizeH="0" baseline="0" noProof="0" dirty="0" err="1">
                <a:ln>
                  <a:noFill/>
                </a:ln>
                <a:solidFill>
                  <a:srgbClr val="2D3D70"/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Arial"/>
              </a:rPr>
              <a:t>xxxxxxxxxxxxxxx</a:t>
            </a:r>
            <a:endParaRPr kumimoji="0" lang="pt-BR" sz="900" b="1" i="0" u="none" strike="noStrike" kern="1200" cap="none" spc="0" normalizeH="0" baseline="0" noProof="0" dirty="0">
              <a:ln>
                <a:noFill/>
              </a:ln>
              <a:solidFill>
                <a:srgbClr val="2D3D70"/>
              </a:solidFill>
              <a:effectLst/>
              <a:uLnTx/>
              <a:uFillTx/>
              <a:latin typeface="Open Sans"/>
              <a:ea typeface="Open Sans"/>
              <a:cs typeface="Open Sans"/>
              <a:sym typeface="Arial"/>
            </a:endParaRPr>
          </a:p>
          <a:p>
            <a:pPr marL="0" lvl="1" algn="ctr">
              <a:spcAft>
                <a:spcPts val="300"/>
              </a:spcAft>
            </a:pPr>
            <a:endParaRPr lang="pt-BR" sz="900" b="1" dirty="0">
              <a:solidFill>
                <a:srgbClr val="2D3D70"/>
              </a:solidFill>
              <a:latin typeface="Open Sans"/>
              <a:ea typeface="Open Sans"/>
              <a:cs typeface="Open Sans"/>
            </a:endParaRPr>
          </a:p>
          <a:p>
            <a:pPr marL="0" lvl="1" algn="ctr">
              <a:spcAft>
                <a:spcPts val="300"/>
              </a:spcAft>
            </a:pPr>
            <a:r>
              <a:rPr lang="pt-BR" sz="900" dirty="0" err="1">
                <a:solidFill>
                  <a:srgbClr val="2D3D70"/>
                </a:solidFill>
                <a:latin typeface="Open Sans"/>
                <a:ea typeface="Open Sans"/>
                <a:cs typeface="Open Sans"/>
              </a:rPr>
              <a:t>xxxxxxxxxxxxxxxxxxx</a:t>
            </a:r>
            <a:endParaRPr lang="pt-BR" sz="900" dirty="0">
              <a:solidFill>
                <a:srgbClr val="2D3D70"/>
              </a:solidFill>
              <a:latin typeface="Open Sans"/>
              <a:ea typeface="Open Sans"/>
              <a:cs typeface="Open Sans"/>
            </a:endParaRPr>
          </a:p>
          <a:p>
            <a:pPr marL="0" lvl="1" algn="ctr">
              <a:spcAft>
                <a:spcPts val="300"/>
              </a:spcAft>
            </a:pPr>
            <a:endParaRPr lang="pt-BR" sz="900" dirty="0">
              <a:solidFill>
                <a:srgbClr val="2D3D70"/>
              </a:solidFill>
              <a:latin typeface="Open Sans"/>
              <a:ea typeface="Open Sans"/>
              <a:cs typeface="Open Sans"/>
            </a:endParaRPr>
          </a:p>
          <a:p>
            <a:pPr marL="0" lvl="1" algn="ctr">
              <a:spcAft>
                <a:spcPts val="300"/>
              </a:spcAft>
            </a:pPr>
            <a:r>
              <a:rPr lang="pt-BR" sz="900" dirty="0">
                <a:solidFill>
                  <a:srgbClr val="2D3D70"/>
                </a:solidFill>
                <a:latin typeface="Open Sans"/>
                <a:ea typeface="Open Sans"/>
                <a:cs typeface="Open Sans"/>
              </a:rPr>
              <a:t> </a:t>
            </a:r>
          </a:p>
          <a:p>
            <a:pPr marL="0" lvl="1">
              <a:spcAft>
                <a:spcPts val="300"/>
              </a:spcAft>
            </a:pPr>
            <a:r>
              <a:rPr kumimoji="0" lang="pt-BR" sz="900" b="1" i="0" u="none" strike="noStrike" kern="1200" cap="none" spc="0" normalizeH="0" baseline="0" noProof="0" dirty="0">
                <a:ln>
                  <a:noFill/>
                </a:ln>
                <a:solidFill>
                  <a:srgbClr val="2D3D70"/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Arial"/>
              </a:rPr>
              <a:t>  </a:t>
            </a:r>
          </a:p>
          <a:p>
            <a:pPr marL="171450" lvl="1" indent="-171450">
              <a:spcAft>
                <a:spcPts val="300"/>
              </a:spcAft>
              <a:buFont typeface="Arial" panose="020B0604020202020204" pitchFamily="34" charset="0"/>
              <a:buChar char="•"/>
            </a:pPr>
            <a:endParaRPr lang="pt-BR" sz="900" dirty="0">
              <a:solidFill>
                <a:srgbClr val="2D3D70"/>
              </a:solidFill>
              <a:latin typeface="Open Sans"/>
              <a:ea typeface="Open Sans"/>
              <a:cs typeface="Open Sans"/>
            </a:endParaRPr>
          </a:p>
          <a:p>
            <a:pPr marL="171450" lvl="1" indent="-171450">
              <a:spcAft>
                <a:spcPts val="300"/>
              </a:spcAft>
              <a:buFont typeface="Arial" panose="020B0604020202020204" pitchFamily="34" charset="0"/>
              <a:buChar char="•"/>
            </a:pPr>
            <a:endParaRPr lang="pt-BR" sz="900" dirty="0">
              <a:solidFill>
                <a:srgbClr val="2D3D70"/>
              </a:solidFill>
              <a:latin typeface="Open Sans"/>
              <a:ea typeface="Open Sans"/>
              <a:cs typeface="Open Sans"/>
            </a:endParaRPr>
          </a:p>
          <a:p>
            <a:pPr marL="171450" lvl="1" indent="-171450">
              <a:spcAft>
                <a:spcPts val="300"/>
              </a:spcAft>
              <a:buFont typeface="Arial" panose="020B0604020202020204" pitchFamily="34" charset="0"/>
              <a:buChar char="•"/>
            </a:pPr>
            <a:endParaRPr lang="pt-BR" sz="900" dirty="0">
              <a:solidFill>
                <a:srgbClr val="2D3D70"/>
              </a:solidFill>
              <a:latin typeface="Open Sans"/>
              <a:ea typeface="Open Sans"/>
              <a:cs typeface="Open Sans"/>
            </a:endParaRPr>
          </a:p>
          <a:p>
            <a:pPr marL="171450" lvl="1" indent="-171450">
              <a:spcAft>
                <a:spcPts val="300"/>
              </a:spcAft>
              <a:buFont typeface="Arial" panose="020B0604020202020204" pitchFamily="34" charset="0"/>
              <a:buChar char="•"/>
            </a:pPr>
            <a:endParaRPr kumimoji="0" lang="pt-BR" sz="900" i="0" u="none" strike="noStrike" kern="1200" cap="none" spc="0" normalizeH="0" baseline="0" noProof="0" dirty="0">
              <a:ln>
                <a:noFill/>
              </a:ln>
              <a:solidFill>
                <a:srgbClr val="2D3D70"/>
              </a:solidFill>
              <a:effectLst/>
              <a:uLnTx/>
              <a:uFillTx/>
              <a:latin typeface="Open Sans"/>
              <a:ea typeface="Open Sans"/>
              <a:cs typeface="Open Sans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55163999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THINKCELLPRESENTATIONDONOTDELETE" val="&lt;?xml version=&quot;1.0&quot; encoding=&quot;UTF-16&quot; standalone=&quot;yes&quot;?&gt;&lt;root reqver=&quot;28224&quot;&gt;&lt;version val=&quot;3571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Day&gt;&lt;m_bNumberIsYear val=&quot;0&quot;/&gt;&lt;m_strFormatTime&gt;%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21&quot;&gt;&lt;elem m_fUsage=&quot;2.39705643123446243692E+00&quot;&gt;&lt;m_msothmcolidx val=&quot;0&quot;/&gt;&lt;m_rgb r=&quot;22&quot; g=&quot;8F&quot; b=&quot;89&quot;/&gt;&lt;/elem&gt;&lt;elem m_fUsage=&quot;1.70123119466920913467E+00&quot;&gt;&lt;m_msothmcolidx val=&quot;0&quot;/&gt;&lt;m_rgb r=&quot;7F&quot; g=&quot;7F&quot; b=&quot;7F&quot;/&gt;&lt;/elem&gt;&lt;elem m_fUsage=&quot;1.49049000000000009258E+00&quot;&gt;&lt;m_msothmcolidx val=&quot;0&quot;/&gt;&lt;m_rgb r=&quot;C4&quot; g=&quot;4B&quot; b=&quot;38&quot;/&gt;&lt;/elem&gt;&lt;elem m_fUsage=&quot;8.12465034704958122269E-01&quot;&gt;&lt;m_msothmcolidx val=&quot;0&quot;/&gt;&lt;m_rgb r=&quot;23&quot; g=&quot;8F&quot; b=&quot;89&quot;/&gt;&lt;/elem&gt;&lt;elem m_fUsage=&quot;7.17076212701555304463E-01&quot;&gt;&lt;m_msothmcolidx val=&quot;0&quot;/&gt;&lt;m_rgb r=&quot;9F&quot; g=&quot;89&quot; b=&quot;71&quot;/&gt;&lt;/elem&gt;&lt;elem m_fUsage=&quot;6.61014759935940388047E-01&quot;&gt;&lt;m_msothmcolidx val=&quot;0&quot;/&gt;&lt;m_rgb r=&quot;B1&quot; g=&quot;B8&quot; b=&quot;C2&quot;/&gt;&lt;/elem&gt;&lt;elem m_fUsage=&quot;6.54603830801618435942E-01&quot;&gt;&lt;m_msothmcolidx val=&quot;0&quot;/&gt;&lt;m_rgb r=&quot;6F&quot; g=&quot;7E&quot; b=&quot;C0&quot;/&gt;&lt;/elem&gt;&lt;elem m_fUsage=&quot;4.30467215222689714160E-01&quot;&gt;&lt;m_msothmcolidx val=&quot;0&quot;/&gt;&lt;m_rgb r=&quot;C1&quot; g=&quot;C0&quot; b=&quot;BF&quot;/&gt;&lt;/elem&gt;&lt;elem m_fUsage=&quot;3.21270064918596831571E-01&quot;&gt;&lt;m_msothmcolidx val=&quot;0&quot;/&gt;&lt;m_rgb r=&quot;3C&quot; g=&quot;47&quot; b=&quot;88&quot;/&gt;&lt;/elem&gt;&lt;elem m_fUsage=&quot;2.95732331128291170419E-01&quot;&gt;&lt;m_msothmcolidx val=&quot;0&quot;/&gt;&lt;m_rgb r=&quot;D5&quot; g=&quot;62&quot; b=&quot;62&quot;/&gt;&lt;/elem&gt;&lt;elem m_fUsage=&quot;2.88573629623821881207E-01&quot;&gt;&lt;m_msothmcolidx val=&quot;0&quot;/&gt;&lt;m_rgb r=&quot;F4&quot; g=&quot;61&quot; b=&quot;4D&quot;/&gt;&lt;/elem&gt;&lt;elem m_fUsage=&quot;2.28767924549610118801E-01&quot;&gt;&lt;m_msothmcolidx val=&quot;0&quot;/&gt;&lt;m_rgb r=&quot;BE&quot; g=&quot;BD&quot; b=&quot;BB&quot;/&gt;&lt;/elem&gt;&lt;elem m_fUsage=&quot;1.11987776191529260147E-03&quot;&gt;&lt;m_msothmcolidx val=&quot;0&quot;/&gt;&lt;m_rgb r=&quot;27&quot; g=&quot;2F&quot; b=&quot;5A&quot;/&gt;&lt;/elem&gt;&lt;elem m_fUsage=&quot;7.40580164057993143483E-05&quot;&gt;&lt;m_msothmcolidx val=&quot;0&quot;/&gt;&lt;m_rgb r=&quot;F3&quot; g=&quot;F5&quot; b=&quot;FA&quot;/&gt;&lt;/elem&gt;&lt;elem m_fUsage=&quot;4.49832897852059829485E-05&quot;&gt;&lt;m_msothmcolidx val=&quot;0&quot;/&gt;&lt;m_rgb r=&quot;34&quot; g=&quot;A4&quot; b=&quot;87&quot;/&gt;&lt;/elem&gt;&lt;elem m_fUsage=&quot;7.50172357610830382765E-06&quot;&gt;&lt;m_msothmcolidx val=&quot;0&quot;/&gt;&lt;m_rgb r=&quot;F5&quot; g=&quot;E8&quot; b=&quot;E9&quot;/&gt;&lt;/elem&gt;&lt;elem m_fUsage=&quot;4.92188083828465854476E-06&quot;&gt;&lt;m_msothmcolidx val=&quot;0&quot;/&gt;&lt;m_rgb r=&quot;FF&quot; g=&quot;00&quot; b=&quot;00&quot;/&gt;&lt;/elem&gt;&lt;elem m_fUsage=&quot;2.63342737880263230900E-08&quot;&gt;&lt;m_msothmcolidx val=&quot;0&quot;/&gt;&lt;m_rgb r=&quot;E5&quot; g=&quot;D0&quot; b=&quot;B8&quot;/&gt;&lt;/elem&gt;&lt;elem m_fUsage=&quot;9.67774912024055550857E-10&quot;&gt;&lt;m_msothmcolidx val=&quot;0&quot;/&gt;&lt;m_rgb r=&quot;FF&quot; g=&quot;94&quot; b=&quot;77&quot;/&gt;&lt;/elem&gt;&lt;elem m_fUsage=&quot;1.79330645024488985952E-10&quot;&gt;&lt;m_msothmcolidx val=&quot;0&quot;/&gt;&lt;m_rgb r=&quot;7A&quot; g=&quot;7A&quot; b=&quot;7A&quot;/&gt;&lt;/elem&gt;&lt;elem m_fUsage=&quot;5.62758566123391026129E-11&quot;&gt;&lt;m_msothmcolidx val=&quot;0&quot;/&gt;&lt;m_rgb r=&quot;A8&quot; g=&quot;A8&quot; b=&quot;AA&quot;/&gt;&lt;/elem&gt;&lt;/m_vecMRU&gt;&lt;/m_mruColor&gt;&lt;m_eweekdayFirstOfWeek val=&quot;2&quot;/&gt;&lt;m_eweekdayFirstOfWorkweek val=&quot;2&quot;/&gt;&lt;m_eweekdayFirstOfWeekend val=&quot;7&quot;/&gt;&lt;/CPresentation&gt;&lt;/root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Personalizar design">
  <a:themeElements>
    <a:clrScheme name="Aura Minerals">
      <a:dk1>
        <a:srgbClr val="333333"/>
      </a:dk1>
      <a:lt1>
        <a:sysClr val="window" lastClr="FFFFFF"/>
      </a:lt1>
      <a:dk2>
        <a:srgbClr val="666666"/>
      </a:dk2>
      <a:lt2>
        <a:srgbClr val="E7E6E6"/>
      </a:lt2>
      <a:accent1>
        <a:srgbClr val="2D3D70"/>
      </a:accent1>
      <a:accent2>
        <a:srgbClr val="F4614D"/>
      </a:accent2>
      <a:accent3>
        <a:srgbClr val="B0B7C1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Aura Minerals">
      <a:majorFont>
        <a:latin typeface="Montserrat"/>
        <a:ea typeface=""/>
        <a:cs typeface=""/>
      </a:majorFont>
      <a:minorFont>
        <a:latin typeface="Open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Personalizar design">
  <a:themeElements>
    <a:clrScheme name="Aura Minerals">
      <a:dk1>
        <a:srgbClr val="333333"/>
      </a:dk1>
      <a:lt1>
        <a:sysClr val="window" lastClr="FFFFFF"/>
      </a:lt1>
      <a:dk2>
        <a:srgbClr val="666666"/>
      </a:dk2>
      <a:lt2>
        <a:srgbClr val="E7E6E6"/>
      </a:lt2>
      <a:accent1>
        <a:srgbClr val="2D3D70"/>
      </a:accent1>
      <a:accent2>
        <a:srgbClr val="F4614D"/>
      </a:accent2>
      <a:accent3>
        <a:srgbClr val="B0B7C1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Aura Minerals">
      <a:majorFont>
        <a:latin typeface="Montserrat"/>
        <a:ea typeface=""/>
        <a:cs typeface=""/>
      </a:majorFont>
      <a:minorFont>
        <a:latin typeface="Open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4_Personalizar design">
  <a:themeElements>
    <a:clrScheme name="Aura Minerals">
      <a:dk1>
        <a:srgbClr val="333333"/>
      </a:dk1>
      <a:lt1>
        <a:sysClr val="window" lastClr="FFFFFF"/>
      </a:lt1>
      <a:dk2>
        <a:srgbClr val="666666"/>
      </a:dk2>
      <a:lt2>
        <a:srgbClr val="E7E6E6"/>
      </a:lt2>
      <a:accent1>
        <a:srgbClr val="2D3D70"/>
      </a:accent1>
      <a:accent2>
        <a:srgbClr val="F4614D"/>
      </a:accent2>
      <a:accent3>
        <a:srgbClr val="B0B7C1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Aura Minerals">
      <a:majorFont>
        <a:latin typeface="Montserrat"/>
        <a:ea typeface=""/>
        <a:cs typeface=""/>
      </a:majorFont>
      <a:minorFont>
        <a:latin typeface="Open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2_Personalizar design">
  <a:themeElements>
    <a:clrScheme name="Aura Minerals">
      <a:dk1>
        <a:srgbClr val="333333"/>
      </a:dk1>
      <a:lt1>
        <a:sysClr val="window" lastClr="FFFFFF"/>
      </a:lt1>
      <a:dk2>
        <a:srgbClr val="666666"/>
      </a:dk2>
      <a:lt2>
        <a:srgbClr val="E7E6E6"/>
      </a:lt2>
      <a:accent1>
        <a:srgbClr val="2D3D70"/>
      </a:accent1>
      <a:accent2>
        <a:srgbClr val="F4614D"/>
      </a:accent2>
      <a:accent3>
        <a:srgbClr val="B0B7C1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Aura Minerals">
      <a:majorFont>
        <a:latin typeface="Montserrat"/>
        <a:ea typeface=""/>
        <a:cs typeface=""/>
      </a:majorFont>
      <a:minorFont>
        <a:latin typeface="Open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ed671c1d-a6b6-4311-831b-8a32b5198647">
      <Terms xmlns="http://schemas.microsoft.com/office/infopath/2007/PartnerControls"/>
    </lcf76f155ced4ddcb4097134ff3c332f>
    <MediaLengthInSeconds xmlns="ed671c1d-a6b6-4311-831b-8a32b5198647" xsi:nil="true"/>
    <_ip_UnifiedCompliancePolicyUIAction xmlns="http://schemas.microsoft.com/sharepoint/v3" xsi:nil="true"/>
    <_ip_UnifiedCompliancePolicyProperties xmlns="http://schemas.microsoft.com/sharepoint/v3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2D75FD503F0E64A9089CB39E15BD937" ma:contentTypeVersion="10" ma:contentTypeDescription="Create a new document." ma:contentTypeScope="" ma:versionID="f048c61eac90416261e5a41753a079e1">
  <xsd:schema xmlns:xsd="http://www.w3.org/2001/XMLSchema" xmlns:xs="http://www.w3.org/2001/XMLSchema" xmlns:p="http://schemas.microsoft.com/office/2006/metadata/properties" xmlns:ns1="http://schemas.microsoft.com/sharepoint/v3" xmlns:ns2="ed671c1d-a6b6-4311-831b-8a32b5198647" targetNamespace="http://schemas.microsoft.com/office/2006/metadata/properties" ma:root="true" ma:fieldsID="a2e923e450a10b097cae8d405211f83b" ns1:_="" ns2:_="">
    <xsd:import namespace="http://schemas.microsoft.com/sharepoint/v3"/>
    <xsd:import namespace="ed671c1d-a6b6-4311-831b-8a32b5198647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lcf76f155ced4ddcb4097134ff3c332f" minOccurs="0"/>
                <xsd:element ref="ns1:_ip_UnifiedCompliancePolicyProperties" minOccurs="0"/>
                <xsd:element ref="ns1:_ip_UnifiedCompliancePolicyUIAc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16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17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d671c1d-a6b6-4311-831b-8a32b519864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3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97d53577-06e1-45c7-9147-bc24e59e7422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2532C48C-76AD-4ECA-8D02-084F38CD8371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4195247F-6DD3-42AA-AC0D-7975F9C0FECD}">
  <ds:schemaRefs>
    <ds:schemaRef ds:uri="http://purl.org/dc/elements/1.1/"/>
    <ds:schemaRef ds:uri="http://purl.org/dc/dcmitype/"/>
    <ds:schemaRef ds:uri="http://schemas.openxmlformats.org/package/2006/metadata/core-properties"/>
    <ds:schemaRef ds:uri="http://schemas.microsoft.com/office/2006/metadata/properties"/>
    <ds:schemaRef ds:uri="http://schemas.microsoft.com/office/2006/documentManagement/types"/>
    <ds:schemaRef ds:uri="http://www.w3.org/XML/1998/namespace"/>
    <ds:schemaRef ds:uri="http://schemas.microsoft.com/office/infopath/2007/PartnerControls"/>
    <ds:schemaRef ds:uri="http://purl.org/dc/terms/"/>
    <ds:schemaRef ds:uri="ed671c1d-a6b6-4311-831b-8a32b5198647"/>
    <ds:schemaRef ds:uri="http://schemas.microsoft.com/sharepoint/v3"/>
  </ds:schemaRefs>
</ds:datastoreItem>
</file>

<file path=customXml/itemProps3.xml><?xml version="1.0" encoding="utf-8"?>
<ds:datastoreItem xmlns:ds="http://schemas.openxmlformats.org/officeDocument/2006/customXml" ds:itemID="{61E7DA88-EAA3-4964-8472-5EB749477AE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ed671c1d-a6b6-4311-831b-8a32b519864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09</TotalTime>
  <Words>312</Words>
  <Application>Microsoft Office PowerPoint</Application>
  <PresentationFormat>Widescreen</PresentationFormat>
  <Paragraphs>186</Paragraphs>
  <Slides>14</Slides>
  <Notes>13</Notes>
  <HiddenSlides>0</HiddenSlides>
  <MMClips>0</MMClips>
  <ScaleCrop>false</ScaleCrop>
  <HeadingPairs>
    <vt:vector size="8" baseType="variant">
      <vt:variant>
        <vt:lpstr>Fontes usadas</vt:lpstr>
      </vt:variant>
      <vt:variant>
        <vt:i4>7</vt:i4>
      </vt:variant>
      <vt:variant>
        <vt:lpstr>Tema</vt:lpstr>
      </vt:variant>
      <vt:variant>
        <vt:i4>4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14</vt:i4>
      </vt:variant>
    </vt:vector>
  </HeadingPairs>
  <TitlesOfParts>
    <vt:vector size="26" baseType="lpstr">
      <vt:lpstr>Arial</vt:lpstr>
      <vt:lpstr>Benton Sans Book</vt:lpstr>
      <vt:lpstr>Calibri</vt:lpstr>
      <vt:lpstr>Montserrat</vt:lpstr>
      <vt:lpstr>Open Sans</vt:lpstr>
      <vt:lpstr>Open Sans (Corpo)</vt:lpstr>
      <vt:lpstr>Times New Roman</vt:lpstr>
      <vt:lpstr>Personalizar design</vt:lpstr>
      <vt:lpstr>1_Personalizar design</vt:lpstr>
      <vt:lpstr>4_Personalizar design</vt:lpstr>
      <vt:lpstr>2_Personalizar design</vt:lpstr>
      <vt:lpstr>Slide do think-cell</vt:lpstr>
      <vt:lpstr>GESTÃO DE CONTRATADAS    </vt:lpstr>
      <vt:lpstr>Apresentação do PowerPoint</vt:lpstr>
      <vt:lpstr>Reunião mensal  GESTÃO DE CONTRATADAS </vt:lpstr>
      <vt:lpstr>Apresentação do PowerPoint</vt:lpstr>
      <vt:lpstr>INCIDENTES | STATUS INVESTIGAÇÕES</vt:lpstr>
      <vt:lpstr>Apresentação do PowerPoint</vt:lpstr>
      <vt:lpstr>Apresentação do PowerPoint</vt:lpstr>
      <vt:lpstr>Reunião mensal  GESTÃO DE CONTRATADAS </vt:lpstr>
      <vt:lpstr>Apresentação do PowerPoint</vt:lpstr>
      <vt:lpstr>Reunião mensal  GESTÃO DE CONTRATADAS </vt:lpstr>
      <vt:lpstr>Apresentação do PowerPoint</vt:lpstr>
      <vt:lpstr>Reunião mensal  GESTÃO DE CONTRATADAS </vt:lpstr>
      <vt:lpstr>Apresentação do PowerPoint</vt:lpstr>
      <vt:lpstr>Apresentação do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Tainan Moreira</dc:creator>
  <cp:lastModifiedBy>Luiza Murta Gatti</cp:lastModifiedBy>
  <cp:revision>56</cp:revision>
  <dcterms:created xsi:type="dcterms:W3CDTF">2022-02-08T08:21:46Z</dcterms:created>
  <dcterms:modified xsi:type="dcterms:W3CDTF">2026-01-16T14:29:2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  <property fmtid="{D5CDD505-2E9C-101B-9397-08002B2CF9AE}" pid="3" name="ContentTypeId">
    <vt:lpwstr>0x01010092D75FD503F0E64A9089CB39E15BD937</vt:lpwstr>
  </property>
  <property fmtid="{D5CDD505-2E9C-101B-9397-08002B2CF9AE}" pid="4" name="Order">
    <vt:r8>405600</vt:r8>
  </property>
  <property fmtid="{D5CDD505-2E9C-101B-9397-08002B2CF9AE}" pid="5" name="ComplianceAssetId">
    <vt:lpwstr/>
  </property>
  <property fmtid="{D5CDD505-2E9C-101B-9397-08002B2CF9AE}" pid="6" name="_ExtendedDescription">
    <vt:lpwstr/>
  </property>
  <property fmtid="{D5CDD505-2E9C-101B-9397-08002B2CF9AE}" pid="7" name="TriggerFlowInfo">
    <vt:lpwstr/>
  </property>
  <property fmtid="{D5CDD505-2E9C-101B-9397-08002B2CF9AE}" pid="8" name="xd_ProgID">
    <vt:lpwstr/>
  </property>
  <property fmtid="{D5CDD505-2E9C-101B-9397-08002B2CF9AE}" pid="9" name="TemplateUrl">
    <vt:lpwstr/>
  </property>
  <property fmtid="{D5CDD505-2E9C-101B-9397-08002B2CF9AE}" pid="10" name="xd_Signature">
    <vt:bool>false</vt:bool>
  </property>
  <property fmtid="{D5CDD505-2E9C-101B-9397-08002B2CF9AE}" pid="11" name="GUID">
    <vt:lpwstr>28c6cef3-e8db-4164-9610-5b341891ae13</vt:lpwstr>
  </property>
  <property fmtid="{D5CDD505-2E9C-101B-9397-08002B2CF9AE}" pid="12" name="SharedWithUsers">
    <vt:lpwstr/>
  </property>
</Properties>
</file>